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6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7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8.xml" ContentType="application/vnd.openxmlformats-officedocument.theme+xml"/>
  <Override PartName="/ppt/slideLayouts/slideLayout245.xml" ContentType="application/vnd.openxmlformats-officedocument.presentationml.slideLayout+xml"/>
  <Override PartName="/ppt/theme/theme9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10.xml" ContentType="application/vnd.openxmlformats-officedocument.them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11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12.xml" ContentType="application/vnd.openxmlformats-officedocument.theme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13.xml" ContentType="application/vnd.openxmlformats-officedocument.theme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theme/theme14.xml" ContentType="application/vnd.openxmlformats-officedocument.theme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15.xml" ContentType="application/vnd.openxmlformats-officedocument.theme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16.xml" ContentType="application/vnd.openxmlformats-officedocument.theme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17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theme/theme18.xml" ContentType="application/vnd.openxmlformats-officedocument.them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theme/theme19.xml" ContentType="application/vnd.openxmlformats-officedocument.them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theme/theme20.xml" ContentType="application/vnd.openxmlformats-officedocument.theme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3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4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2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3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4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25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4" r:id="rId4"/>
    <p:sldMasterId id="2147483790" r:id="rId5"/>
    <p:sldMasterId id="2147484274" r:id="rId6"/>
    <p:sldMasterId id="2147483817" r:id="rId7"/>
    <p:sldMasterId id="2147483844" r:id="rId8"/>
    <p:sldMasterId id="2147483907" r:id="rId9"/>
    <p:sldMasterId id="2147483952" r:id="rId10"/>
    <p:sldMasterId id="2147483999" r:id="rId11"/>
    <p:sldMasterId id="2147484018" r:id="rId12"/>
    <p:sldMasterId id="2147484021" r:id="rId13"/>
    <p:sldMasterId id="2147484039" r:id="rId14"/>
    <p:sldMasterId id="2147484073" r:id="rId15"/>
    <p:sldMasterId id="2147484097" r:id="rId16"/>
    <p:sldMasterId id="2147484115" r:id="rId17"/>
    <p:sldMasterId id="2147484143" r:id="rId18"/>
    <p:sldMasterId id="2147484155" r:id="rId19"/>
    <p:sldMasterId id="2147484183" r:id="rId20"/>
    <p:sldMasterId id="2147484213" r:id="rId21"/>
    <p:sldMasterId id="2147484242" r:id="rId22"/>
    <p:sldMasterId id="2147484276" r:id="rId23"/>
  </p:sldMasterIdLst>
  <p:notesMasterIdLst>
    <p:notesMasterId r:id="rId63"/>
  </p:notesMasterIdLst>
  <p:sldIdLst>
    <p:sldId id="2147471575" r:id="rId24"/>
    <p:sldId id="2147471589" r:id="rId25"/>
    <p:sldId id="2147475607" r:id="rId26"/>
    <p:sldId id="2147475609" r:id="rId27"/>
    <p:sldId id="2147475608" r:id="rId28"/>
    <p:sldId id="2147475590" r:id="rId29"/>
    <p:sldId id="2147475583" r:id="rId30"/>
    <p:sldId id="2147475584" r:id="rId31"/>
    <p:sldId id="2147475585" r:id="rId32"/>
    <p:sldId id="2147475611" r:id="rId33"/>
    <p:sldId id="2147475612" r:id="rId34"/>
    <p:sldId id="2147471437" r:id="rId35"/>
    <p:sldId id="2147471535" r:id="rId36"/>
    <p:sldId id="2147475588" r:id="rId37"/>
    <p:sldId id="2147475599" r:id="rId38"/>
    <p:sldId id="2147475614" r:id="rId39"/>
    <p:sldId id="2147475613" r:id="rId40"/>
    <p:sldId id="2147475622" r:id="rId41"/>
    <p:sldId id="2147475606" r:id="rId42"/>
    <p:sldId id="2147475582" r:id="rId43"/>
    <p:sldId id="2147475561" r:id="rId44"/>
    <p:sldId id="2147475562" r:id="rId45"/>
    <p:sldId id="2147471531" r:id="rId46"/>
    <p:sldId id="2147471563" r:id="rId47"/>
    <p:sldId id="2147471565" r:id="rId48"/>
    <p:sldId id="2147475566" r:id="rId49"/>
    <p:sldId id="2147471587" r:id="rId50"/>
    <p:sldId id="2147475617" r:id="rId51"/>
    <p:sldId id="2147475568" r:id="rId52"/>
    <p:sldId id="2147471626" r:id="rId53"/>
    <p:sldId id="2147475569" r:id="rId54"/>
    <p:sldId id="2147475572" r:id="rId55"/>
    <p:sldId id="2147475573" r:id="rId56"/>
    <p:sldId id="2147471600" r:id="rId57"/>
    <p:sldId id="2147475574" r:id="rId58"/>
    <p:sldId id="2147475610" r:id="rId59"/>
    <p:sldId id="2147475577" r:id="rId60"/>
    <p:sldId id="2147475579" r:id="rId61"/>
    <p:sldId id="2147471634" r:id="rId62"/>
  </p:sldIdLst>
  <p:sldSz cx="12192000" cy="6858000"/>
  <p:notesSz cx="7102475" cy="9388475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. fanny" id="{D18A5EEA-0627-4309-B001-64A0739253CC}">
          <p14:sldIdLst>
            <p14:sldId id="2147471575"/>
            <p14:sldId id="2147471589"/>
          </p14:sldIdLst>
        </p14:section>
        <p14:section name="Wendy" id="{432C2565-5720-429D-AD15-1E9A0DD110C6}">
          <p14:sldIdLst>
            <p14:sldId id="2147475607"/>
            <p14:sldId id="2147475609"/>
            <p14:sldId id="2147475608"/>
            <p14:sldId id="2147475590"/>
            <p14:sldId id="2147475583"/>
            <p14:sldId id="2147475584"/>
            <p14:sldId id="2147475585"/>
            <p14:sldId id="2147475611"/>
            <p14:sldId id="2147475612"/>
            <p14:sldId id="2147471437"/>
            <p14:sldId id="2147471535"/>
            <p14:sldId id="2147475588"/>
            <p14:sldId id="2147475599"/>
            <p14:sldId id="2147475614"/>
            <p14:sldId id="2147475613"/>
            <p14:sldId id="2147475622"/>
          </p14:sldIdLst>
        </p14:section>
        <p14:section name="FANNY Belgian trends" id="{38281265-6A7A-49E2-8344-F79E65DDC991}">
          <p14:sldIdLst>
            <p14:sldId id="2147475606"/>
            <p14:sldId id="2147475582"/>
            <p14:sldId id="2147475561"/>
            <p14:sldId id="2147475562"/>
            <p14:sldId id="2147471531"/>
            <p14:sldId id="2147471563"/>
            <p14:sldId id="2147471565"/>
            <p14:sldId id="2147475566"/>
            <p14:sldId id="2147471587"/>
            <p14:sldId id="2147475617"/>
            <p14:sldId id="2147475568"/>
            <p14:sldId id="2147471626"/>
            <p14:sldId id="2147475569"/>
            <p14:sldId id="2147475572"/>
            <p14:sldId id="2147475573"/>
            <p14:sldId id="2147471600"/>
            <p14:sldId id="2147475574"/>
            <p14:sldId id="2147475610"/>
            <p14:sldId id="2147475577"/>
            <p14:sldId id="2147475579"/>
          </p14:sldIdLst>
        </p14:section>
        <p14:section name="Fin" id="{C38C06F5-F60E-46CE-AC4E-C27E98E08A24}">
          <p14:sldIdLst>
            <p14:sldId id="21474716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9" userDrawn="1">
          <p15:clr>
            <a:srgbClr val="A4A3A4"/>
          </p15:clr>
        </p15:guide>
        <p15:guide id="2" pos="1481" userDrawn="1">
          <p15:clr>
            <a:srgbClr val="A4A3A4"/>
          </p15:clr>
        </p15:guide>
        <p15:guide id="3" orient="horz" pos="3792" userDrawn="1">
          <p15:clr>
            <a:srgbClr val="A4A3A4"/>
          </p15:clr>
        </p15:guide>
        <p15:guide id="4" pos="7584" userDrawn="1">
          <p15:clr>
            <a:srgbClr val="A4A3A4"/>
          </p15:clr>
        </p15:guide>
        <p15:guide id="5" pos="1685" userDrawn="1">
          <p15:clr>
            <a:srgbClr val="A4A3A4"/>
          </p15:clr>
        </p15:guide>
        <p15:guide id="6" pos="4597" userDrawn="1">
          <p15:clr>
            <a:srgbClr val="A4A3A4"/>
          </p15:clr>
        </p15:guide>
        <p15:guide id="7" orient="horz" pos="1974" userDrawn="1">
          <p15:clr>
            <a:srgbClr val="A4A3A4"/>
          </p15:clr>
        </p15:guide>
        <p15:guide id="8" orient="horz" pos="54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eur" initials="M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7E9"/>
    <a:srgbClr val="D8E6F3"/>
    <a:srgbClr val="81AAC8"/>
    <a:srgbClr val="D63547"/>
    <a:srgbClr val="F0596A"/>
    <a:srgbClr val="DC2635"/>
    <a:srgbClr val="F65320"/>
    <a:srgbClr val="C8D4DA"/>
    <a:srgbClr val="F1B286"/>
    <a:srgbClr val="F89B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0" autoAdjust="0"/>
    <p:restoredTop sz="87314" autoAdjust="0"/>
  </p:normalViewPr>
  <p:slideViewPr>
    <p:cSldViewPr snapToGrid="0">
      <p:cViewPr varScale="1">
        <p:scale>
          <a:sx n="55" d="100"/>
          <a:sy n="55" d="100"/>
        </p:scale>
        <p:origin x="1028" y="40"/>
      </p:cViewPr>
      <p:guideLst>
        <p:guide orient="horz" pos="99"/>
        <p:guide pos="1481"/>
        <p:guide orient="horz" pos="3792"/>
        <p:guide pos="7584"/>
        <p:guide pos="1685"/>
        <p:guide pos="4597"/>
        <p:guide orient="horz" pos="1974"/>
        <p:guide orient="horz" pos="548"/>
      </p:guideLst>
    </p:cSldViewPr>
  </p:slideViewPr>
  <p:outlineViewPr>
    <p:cViewPr>
      <p:scale>
        <a:sx n="33" d="100"/>
        <a:sy n="33" d="100"/>
      </p:scale>
      <p:origin x="0" y="-561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slide" Target="slides/slide27.xml"/><Relationship Id="rId55" Type="http://schemas.openxmlformats.org/officeDocument/2006/relationships/slide" Target="slides/slide32.xml"/><Relationship Id="rId63" Type="http://schemas.openxmlformats.org/officeDocument/2006/relationships/notesMaster" Target="notesMasters/notesMaster1.xml"/><Relationship Id="rId68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6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slide" Target="slides/slide30.xml"/><Relationship Id="rId58" Type="http://schemas.openxmlformats.org/officeDocument/2006/relationships/slide" Target="slides/slide35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38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slide" Target="slides/slide25.xml"/><Relationship Id="rId56" Type="http://schemas.openxmlformats.org/officeDocument/2006/relationships/slide" Target="slides/slide33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28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59" Type="http://schemas.openxmlformats.org/officeDocument/2006/relationships/slide" Target="slides/slide36.xml"/><Relationship Id="rId67" Type="http://schemas.openxmlformats.org/officeDocument/2006/relationships/tableStyles" Target="tableStyle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8.xml"/><Relationship Id="rId54" Type="http://schemas.openxmlformats.org/officeDocument/2006/relationships/slide" Target="slides/slide31.xml"/><Relationship Id="rId62" Type="http://schemas.openxmlformats.org/officeDocument/2006/relationships/slide" Target="slides/slide3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slide" Target="slides/slide26.xml"/><Relationship Id="rId57" Type="http://schemas.openxmlformats.org/officeDocument/2006/relationships/slide" Target="slides/slide34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slide" Target="slides/slide29.xml"/><Relationship Id="rId60" Type="http://schemas.openxmlformats.org/officeDocument/2006/relationships/slide" Target="slides/slide37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1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1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2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3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bpost.sharepoint.com/sites/mediaexperts/Gedeelde%20documenten/BEX%20Fanny/Transversal/EU%20cross%20border%20event/Background/Donn&#233;e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shade val="7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EB9-4AC9-A85D-D52A884DEE10}"/>
              </c:ext>
            </c:extLst>
          </c:dPt>
          <c:dPt>
            <c:idx val="1"/>
            <c:bubble3D val="0"/>
            <c:spPr>
              <a:solidFill>
                <a:schemeClr val="accent5">
                  <a:tint val="77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EB9-4AC9-A85D-D52A884DEE10}"/>
              </c:ext>
            </c:extLst>
          </c:dPt>
          <c:val>
            <c:numRef>
              <c:f>returns!$A$96:$A$97</c:f>
              <c:numCache>
                <c:formatCode>0%</c:formatCode>
                <c:ptCount val="2"/>
                <c:pt idx="0">
                  <c:v>0.45</c:v>
                </c:pt>
                <c:pt idx="1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B9-4AC9-A85D-D52A884DEE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500000000000002"/>
          <c:y val="9.2592592592592587E-2"/>
          <c:w val="0.53888888888888886"/>
          <c:h val="0.8981481481481481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76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shade val="76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shade val="76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shade val="76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1DE4-4418-98CD-B7BEEFB35CD0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1">
                      <a:tint val="77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1">
                      <a:tint val="77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1">
                      <a:tint val="77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1">
                    <a:tint val="77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1DE4-4418-98CD-B7BEEFB35CD0}"/>
              </c:ext>
            </c:extLst>
          </c:dPt>
          <c:val>
            <c:numRef>
              <c:f>Feuil1!$A$40:$A$41</c:f>
              <c:numCache>
                <c:formatCode>0%</c:formatCode>
                <c:ptCount val="2"/>
                <c:pt idx="0">
                  <c:v>0.28000000000000003</c:v>
                </c:pt>
                <c:pt idx="1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E4-4418-98CD-B7BEEFB35C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22974644804362E-2"/>
          <c:y val="6.1581863124400615E-2"/>
          <c:w val="0.8124861967405812"/>
          <c:h val="0.47940549680336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id a retur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S$1</c:f>
              <c:strCache>
                <c:ptCount val="18"/>
                <c:pt idx="0">
                  <c:v>Shoes</c:v>
                </c:pt>
                <c:pt idx="1">
                  <c:v>Clothes</c:v>
                </c:pt>
                <c:pt idx="2">
                  <c:v>Accessories/jewellery/watches</c:v>
                </c:pt>
                <c:pt idx="3">
                  <c:v>CD/DVD/Blu-Ray/Games</c:v>
                </c:pt>
                <c:pt idx="4">
                  <c:v>Sports products and clothing</c:v>
                </c:pt>
                <c:pt idx="5">
                  <c:v>Large home accessories/ DIY and garden items</c:v>
                </c:pt>
                <c:pt idx="6">
                  <c:v>Toys</c:v>
                </c:pt>
                <c:pt idx="7">
                  <c:v>Books</c:v>
                </c:pt>
                <c:pt idx="8">
                  <c:v>PC/hardware/software/printer cartridges</c:v>
                </c:pt>
                <c:pt idx="9">
                  <c:v>Telecom products</c:v>
                </c:pt>
                <c:pt idx="10">
                  <c:v>Small domestic appliances</c:v>
                </c:pt>
                <c:pt idx="11">
                  <c:v>Small home accessories/ DIY and garden items</c:v>
                </c:pt>
                <c:pt idx="12">
                  <c:v>Food products</c:v>
                </c:pt>
                <c:pt idx="13">
                  <c:v>Personal care and beauty products</c:v>
                </c:pt>
                <c:pt idx="14">
                  <c:v>Electronic devices</c:v>
                </c:pt>
                <c:pt idx="15">
                  <c:v>Pet products and accessories</c:v>
                </c:pt>
                <c:pt idx="16">
                  <c:v>Personalised photo products</c:v>
                </c:pt>
                <c:pt idx="17">
                  <c:v>Pharmaceutical products, OTC medication</c:v>
                </c:pt>
              </c:strCache>
            </c:strRef>
          </c:cat>
          <c:val>
            <c:numRef>
              <c:f>Sheet1!$B$2:$S$2</c:f>
              <c:numCache>
                <c:formatCode>###0%</c:formatCode>
                <c:ptCount val="18"/>
                <c:pt idx="0">
                  <c:v>0.14444448150175135</c:v>
                </c:pt>
                <c:pt idx="1">
                  <c:v>0.11968832534930303</c:v>
                </c:pt>
                <c:pt idx="2">
                  <c:v>9.3803997503425662E-2</c:v>
                </c:pt>
                <c:pt idx="3">
                  <c:v>0.11491590783004396</c:v>
                </c:pt>
                <c:pt idx="4">
                  <c:v>5.2005504667948378E-2</c:v>
                </c:pt>
                <c:pt idx="5">
                  <c:v>7.4467893168064042E-2</c:v>
                </c:pt>
                <c:pt idx="6">
                  <c:v>6.5116497354401615E-2</c:v>
                </c:pt>
                <c:pt idx="7">
                  <c:v>5.4626662561350611E-2</c:v>
                </c:pt>
                <c:pt idx="8">
                  <c:v>6.8068582072311742E-2</c:v>
                </c:pt>
                <c:pt idx="9">
                  <c:v>5.1469286431753275E-2</c:v>
                </c:pt>
                <c:pt idx="10">
                  <c:v>5.3087440903170684E-2</c:v>
                </c:pt>
                <c:pt idx="11">
                  <c:v>3.7888367631571294E-2</c:v>
                </c:pt>
                <c:pt idx="12">
                  <c:v>3.4690598552160237E-2</c:v>
                </c:pt>
                <c:pt idx="13">
                  <c:v>3.225780418533928E-2</c:v>
                </c:pt>
                <c:pt idx="14">
                  <c:v>2.2058001652648786E-2</c:v>
                </c:pt>
                <c:pt idx="15">
                  <c:v>2.1018641869985401E-2</c:v>
                </c:pt>
                <c:pt idx="16">
                  <c:v>5.7540422949796822E-3</c:v>
                </c:pt>
                <c:pt idx="17">
                  <c:v>1.089631909559914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86-45FC-B171-A334B0E4D6A0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plan to d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S$1</c:f>
              <c:strCache>
                <c:ptCount val="18"/>
                <c:pt idx="0">
                  <c:v>Shoes</c:v>
                </c:pt>
                <c:pt idx="1">
                  <c:v>Clothes</c:v>
                </c:pt>
                <c:pt idx="2">
                  <c:v>Accessories/jewellery/watches</c:v>
                </c:pt>
                <c:pt idx="3">
                  <c:v>CD/DVD/Blu-Ray/Games</c:v>
                </c:pt>
                <c:pt idx="4">
                  <c:v>Sports products and clothing</c:v>
                </c:pt>
                <c:pt idx="5">
                  <c:v>Large home accessories/ DIY and garden items</c:v>
                </c:pt>
                <c:pt idx="6">
                  <c:v>Toys</c:v>
                </c:pt>
                <c:pt idx="7">
                  <c:v>Books</c:v>
                </c:pt>
                <c:pt idx="8">
                  <c:v>PC/hardware/software/printer cartridges</c:v>
                </c:pt>
                <c:pt idx="9">
                  <c:v>Telecom products</c:v>
                </c:pt>
                <c:pt idx="10">
                  <c:v>Small domestic appliances</c:v>
                </c:pt>
                <c:pt idx="11">
                  <c:v>Small home accessories/ DIY and garden items</c:v>
                </c:pt>
                <c:pt idx="12">
                  <c:v>Food products</c:v>
                </c:pt>
                <c:pt idx="13">
                  <c:v>Personal care and beauty products</c:v>
                </c:pt>
                <c:pt idx="14">
                  <c:v>Electronic devices</c:v>
                </c:pt>
                <c:pt idx="15">
                  <c:v>Pet products and accessories</c:v>
                </c:pt>
                <c:pt idx="16">
                  <c:v>Personalised photo products</c:v>
                </c:pt>
                <c:pt idx="17">
                  <c:v>Pharmaceutical products, OTC medication</c:v>
                </c:pt>
              </c:strCache>
            </c:strRef>
          </c:cat>
          <c:val>
            <c:numRef>
              <c:f>Sheet1!$B$3:$S$3</c:f>
              <c:numCache>
                <c:formatCode>###0%</c:formatCode>
                <c:ptCount val="18"/>
                <c:pt idx="0">
                  <c:v>0.13915412774638758</c:v>
                </c:pt>
                <c:pt idx="1">
                  <c:v>8.6987555339539335E-2</c:v>
                </c:pt>
                <c:pt idx="2">
                  <c:v>9.0806524114128331E-2</c:v>
                </c:pt>
                <c:pt idx="3">
                  <c:v>2.2776019972940466E-2</c:v>
                </c:pt>
                <c:pt idx="4">
                  <c:v>6.6609166159359981E-2</c:v>
                </c:pt>
                <c:pt idx="5">
                  <c:v>2.4742515905921178E-2</c:v>
                </c:pt>
                <c:pt idx="6">
                  <c:v>2.7431904740477849E-2</c:v>
                </c:pt>
                <c:pt idx="7">
                  <c:v>3.5567235051961694E-2</c:v>
                </c:pt>
                <c:pt idx="8">
                  <c:v>2.1373575929270562E-2</c:v>
                </c:pt>
                <c:pt idx="9">
                  <c:v>1.9790096268314829E-2</c:v>
                </c:pt>
                <c:pt idx="10">
                  <c:v>1.6203512380844207E-2</c:v>
                </c:pt>
                <c:pt idx="11">
                  <c:v>2.2342426456228782E-2</c:v>
                </c:pt>
                <c:pt idx="12">
                  <c:v>1.9244409435684683E-2</c:v>
                </c:pt>
                <c:pt idx="13">
                  <c:v>2.157099457422483E-2</c:v>
                </c:pt>
                <c:pt idx="14">
                  <c:v>2.144876263940252E-2</c:v>
                </c:pt>
                <c:pt idx="15">
                  <c:v>2.1312061343621288E-2</c:v>
                </c:pt>
                <c:pt idx="16">
                  <c:v>2.7670744693739646E-2</c:v>
                </c:pt>
                <c:pt idx="17">
                  <c:v>1.202201301595172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86-45FC-B171-A334B0E4D6A0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S$1</c:f>
              <c:strCache>
                <c:ptCount val="18"/>
                <c:pt idx="0">
                  <c:v>Shoes</c:v>
                </c:pt>
                <c:pt idx="1">
                  <c:v>Clothes</c:v>
                </c:pt>
                <c:pt idx="2">
                  <c:v>Accessories/jewellery/watches</c:v>
                </c:pt>
                <c:pt idx="3">
                  <c:v>CD/DVD/Blu-Ray/Games</c:v>
                </c:pt>
                <c:pt idx="4">
                  <c:v>Sports products and clothing</c:v>
                </c:pt>
                <c:pt idx="5">
                  <c:v>Large home accessories/ DIY and garden items</c:v>
                </c:pt>
                <c:pt idx="6">
                  <c:v>Toys</c:v>
                </c:pt>
                <c:pt idx="7">
                  <c:v>Books</c:v>
                </c:pt>
                <c:pt idx="8">
                  <c:v>PC/hardware/software/printer cartridges</c:v>
                </c:pt>
                <c:pt idx="9">
                  <c:v>Telecom products</c:v>
                </c:pt>
                <c:pt idx="10">
                  <c:v>Small domestic appliances</c:v>
                </c:pt>
                <c:pt idx="11">
                  <c:v>Small home accessories/ DIY and garden items</c:v>
                </c:pt>
                <c:pt idx="12">
                  <c:v>Food products</c:v>
                </c:pt>
                <c:pt idx="13">
                  <c:v>Personal care and beauty products</c:v>
                </c:pt>
                <c:pt idx="14">
                  <c:v>Electronic devices</c:v>
                </c:pt>
                <c:pt idx="15">
                  <c:v>Pet products and accessories</c:v>
                </c:pt>
                <c:pt idx="16">
                  <c:v>Personalised photo products</c:v>
                </c:pt>
                <c:pt idx="17">
                  <c:v>Pharmaceutical products, OTC medication</c:v>
                </c:pt>
              </c:strCache>
            </c:strRef>
          </c:cat>
          <c:val>
            <c:numRef>
              <c:f>Sheet1!$B$4:$S$4</c:f>
              <c:numCache>
                <c:formatCode>###0%</c:formatCode>
                <c:ptCount val="18"/>
                <c:pt idx="0">
                  <c:v>0.28359860924813896</c:v>
                </c:pt>
                <c:pt idx="1">
                  <c:v>0.20667588068884235</c:v>
                </c:pt>
                <c:pt idx="2">
                  <c:v>0.18461052161755398</c:v>
                </c:pt>
                <c:pt idx="3">
                  <c:v>0.13769192780298442</c:v>
                </c:pt>
                <c:pt idx="4">
                  <c:v>0.11861467082730837</c:v>
                </c:pt>
                <c:pt idx="5">
                  <c:v>9.921040907398522E-2</c:v>
                </c:pt>
                <c:pt idx="6">
                  <c:v>9.2548402094879467E-2</c:v>
                </c:pt>
                <c:pt idx="7">
                  <c:v>9.0193897613312313E-2</c:v>
                </c:pt>
                <c:pt idx="8">
                  <c:v>8.9442158001582311E-2</c:v>
                </c:pt>
                <c:pt idx="9">
                  <c:v>7.1259382700068097E-2</c:v>
                </c:pt>
                <c:pt idx="10">
                  <c:v>6.9290953284014883E-2</c:v>
                </c:pt>
                <c:pt idx="11">
                  <c:v>6.0230794087800077E-2</c:v>
                </c:pt>
                <c:pt idx="12">
                  <c:v>5.3935007987844924E-2</c:v>
                </c:pt>
                <c:pt idx="13">
                  <c:v>5.382879875956411E-2</c:v>
                </c:pt>
                <c:pt idx="14">
                  <c:v>4.3506764292051303E-2</c:v>
                </c:pt>
                <c:pt idx="15">
                  <c:v>4.2330703213606685E-2</c:v>
                </c:pt>
                <c:pt idx="16">
                  <c:v>3.3424786988719327E-2</c:v>
                </c:pt>
                <c:pt idx="17">
                  <c:v>2.291833211155087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86-45FC-B171-A334B0E4D6A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596041600"/>
        <c:axId val="596041992"/>
      </c:barChart>
      <c:catAx>
        <c:axId val="5960416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216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6041992"/>
        <c:crosses val="autoZero"/>
        <c:auto val="1"/>
        <c:lblAlgn val="ctr"/>
        <c:lblOffset val="100"/>
        <c:noMultiLvlLbl val="0"/>
      </c:catAx>
      <c:valAx>
        <c:axId val="596041992"/>
        <c:scaling>
          <c:orientation val="minMax"/>
          <c:max val="0.4"/>
          <c:min val="0"/>
        </c:scaling>
        <c:delete val="1"/>
        <c:axPos val="l"/>
        <c:numFmt formatCode="0%" sourceLinked="0"/>
        <c:majorTickMark val="out"/>
        <c:minorTickMark val="none"/>
        <c:tickLblPos val="nextTo"/>
        <c:crossAx val="59604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836284732203536"/>
          <c:y val="0.72731427385398428"/>
          <c:w val="0.11989705486269114"/>
          <c:h val="0.233210667876630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468318619199224"/>
          <c:y val="3.9160809364507242E-2"/>
          <c:w val="0.36315506820338678"/>
          <c:h val="0.921678381270985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8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79-48CD-AD1D-2089FFFDD15D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The size was wrong</c:v>
                </c:pt>
                <c:pt idx="1">
                  <c:v>The wrong product was delivered</c:v>
                </c:pt>
                <c:pt idx="2">
                  <c:v>It didn’t match expectations</c:v>
                </c:pt>
                <c:pt idx="3">
                  <c:v>The products I ordered were faulty</c:v>
                </c:pt>
                <c:pt idx="4">
                  <c:v>The product looked different online</c:v>
                </c:pt>
                <c:pt idx="5">
                  <c:v>The product went wrong after a few weeks</c:v>
                </c:pt>
                <c:pt idx="6">
                  <c:v>I changed my mind and didn’t want the product anymore</c:v>
                </c:pt>
                <c:pt idx="7">
                  <c:v>No real reason, just because returns were free</c:v>
                </c:pt>
                <c:pt idx="8">
                  <c:v>Other reasons</c:v>
                </c:pt>
              </c:strCache>
            </c:strRef>
          </c:cat>
          <c:val>
            <c:numRef>
              <c:f>Sheet1!$B$2:$B$10</c:f>
              <c:numCache>
                <c:formatCode>###0%</c:formatCode>
                <c:ptCount val="9"/>
                <c:pt idx="0">
                  <c:v>0.43368463574013377</c:v>
                </c:pt>
                <c:pt idx="1">
                  <c:v>0.18175928343632894</c:v>
                </c:pt>
                <c:pt idx="2">
                  <c:v>0.15247296970704499</c:v>
                </c:pt>
                <c:pt idx="3">
                  <c:v>0.14148837201451139</c:v>
                </c:pt>
                <c:pt idx="4">
                  <c:v>0.11068202612331098</c:v>
                </c:pt>
                <c:pt idx="5">
                  <c:v>5.7376519368517648E-2</c:v>
                </c:pt>
                <c:pt idx="6">
                  <c:v>5.5108028503116448E-2</c:v>
                </c:pt>
                <c:pt idx="7">
                  <c:v>1.126305863294368E-2</c:v>
                </c:pt>
                <c:pt idx="8">
                  <c:v>1.69485919978957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79-48CD-AD1D-2089FFFDD1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5398328"/>
        <c:axId val="525394720"/>
      </c:barChart>
      <c:catAx>
        <c:axId val="525398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394720"/>
        <c:crosses val="autoZero"/>
        <c:auto val="1"/>
        <c:lblAlgn val="ctr"/>
        <c:lblOffset val="100"/>
        <c:noMultiLvlLbl val="0"/>
      </c:catAx>
      <c:valAx>
        <c:axId val="525394720"/>
        <c:scaling>
          <c:orientation val="minMax"/>
          <c:max val="0.8"/>
        </c:scaling>
        <c:delete val="0"/>
        <c:axPos val="t"/>
        <c:numFmt formatCode="###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3983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560805350167481E-2"/>
          <c:y val="2.4258344948803086E-2"/>
          <c:w val="0.94887838929966506"/>
          <c:h val="0.589788087641910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euil1!$B$62</c:f>
              <c:strCache>
                <c:ptCount val="1"/>
                <c:pt idx="0">
                  <c:v>Yes, you’ve already returned part or all of the order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63:$A$64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Feuil1!$B$63:$B$64</c:f>
              <c:numCache>
                <c:formatCode>###0%</c:formatCode>
                <c:ptCount val="2"/>
                <c:pt idx="0">
                  <c:v>0.11084764999979788</c:v>
                </c:pt>
                <c:pt idx="1">
                  <c:v>7.19999999999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0F-4500-AFE0-34F4CC82FD0F}"/>
            </c:ext>
          </c:extLst>
        </c:ser>
        <c:ser>
          <c:idx val="1"/>
          <c:order val="1"/>
          <c:tx>
            <c:strRef>
              <c:f>Feuil1!$C$62</c:f>
              <c:strCache>
                <c:ptCount val="1"/>
                <c:pt idx="0">
                  <c:v>Yes, you plan to return part or all of the order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6BF6F90-BDA1-450D-9CF7-8A689D65D594}" type="VALUE">
                      <a:rPr lang="en-US" sz="1600"/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4C4-4FC6-93DE-53B728A51F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63:$A$64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Feuil1!$C$63:$C$64</c:f>
              <c:numCache>
                <c:formatCode>###0%</c:formatCode>
                <c:ptCount val="2"/>
                <c:pt idx="0">
                  <c:v>7.1999999999999995E-2</c:v>
                </c:pt>
                <c:pt idx="1">
                  <c:v>4.2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0F-4500-AFE0-34F4CC82FD0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72493616"/>
        <c:axId val="572496856"/>
      </c:barChart>
      <c:catAx>
        <c:axId val="572493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2496856"/>
        <c:crosses val="autoZero"/>
        <c:auto val="1"/>
        <c:lblAlgn val="ctr"/>
        <c:lblOffset val="100"/>
        <c:noMultiLvlLbl val="0"/>
      </c:catAx>
      <c:valAx>
        <c:axId val="57249685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%" sourceLinked="1"/>
        <c:majorTickMark val="none"/>
        <c:minorTickMark val="none"/>
        <c:tickLblPos val="nextTo"/>
        <c:crossAx val="572493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5017533903945632"/>
          <c:w val="1"/>
          <c:h val="0.132943544389037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A$84</c:f>
              <c:strCache>
                <c:ptCount val="1"/>
                <c:pt idx="0">
                  <c:v>Yes, you’ve already returned part or all of the order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83:$D$83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Feuil1!$B$84:$D$84</c:f>
              <c:numCache>
                <c:formatCode>###0.0%</c:formatCode>
                <c:ptCount val="3"/>
                <c:pt idx="0">
                  <c:v>0.14176052958004084</c:v>
                </c:pt>
                <c:pt idx="1">
                  <c:v>7.6320230521795651E-2</c:v>
                </c:pt>
                <c:pt idx="2">
                  <c:v>4.04522445921685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B2-4149-86CD-4F708BED9126}"/>
            </c:ext>
          </c:extLst>
        </c:ser>
        <c:ser>
          <c:idx val="1"/>
          <c:order val="1"/>
          <c:tx>
            <c:strRef>
              <c:f>Feuil1!$A$85</c:f>
              <c:strCache>
                <c:ptCount val="1"/>
                <c:pt idx="0">
                  <c:v>Yes, you plan to return part or all of the order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83:$D$83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Feuil1!$B$85:$D$85</c:f>
              <c:numCache>
                <c:formatCode>###0.0%</c:formatCode>
                <c:ptCount val="3"/>
                <c:pt idx="0">
                  <c:v>9.9019153301320273E-2</c:v>
                </c:pt>
                <c:pt idx="1">
                  <c:v>4.6621926502653427E-2</c:v>
                </c:pt>
                <c:pt idx="2">
                  <c:v>1.2808211389453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B2-4149-86CD-4F708BED912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872034376"/>
        <c:axId val="872032576"/>
      </c:barChart>
      <c:catAx>
        <c:axId val="872034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2032576"/>
        <c:crosses val="autoZero"/>
        <c:auto val="1"/>
        <c:lblAlgn val="ctr"/>
        <c:lblOffset val="100"/>
        <c:noMultiLvlLbl val="0"/>
      </c:catAx>
      <c:valAx>
        <c:axId val="87203257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.0%" sourceLinked="1"/>
        <c:majorTickMark val="none"/>
        <c:minorTickMark val="none"/>
        <c:tickLblPos val="nextTo"/>
        <c:crossAx val="8720343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1.3360185819528671E-2"/>
          <c:y val="0.84590659580029615"/>
          <c:w val="0.96298583760324719"/>
          <c:h val="0.107064563910429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turns!$A$113:$A$118</c:f>
              <c:strCache>
                <c:ptCount val="6"/>
                <c:pt idx="0">
                  <c:v>Less than 5%</c:v>
                </c:pt>
                <c:pt idx="1">
                  <c:v>5-10%</c:v>
                </c:pt>
                <c:pt idx="2">
                  <c:v>11-25%</c:v>
                </c:pt>
                <c:pt idx="3">
                  <c:v>26-50%</c:v>
                </c:pt>
                <c:pt idx="4">
                  <c:v>More than 50%</c:v>
                </c:pt>
                <c:pt idx="5">
                  <c:v>Don't know </c:v>
                </c:pt>
              </c:strCache>
            </c:strRef>
          </c:cat>
          <c:val>
            <c:numRef>
              <c:f>returns!$B$113:$B$118</c:f>
              <c:numCache>
                <c:formatCode>0%</c:formatCode>
                <c:ptCount val="6"/>
                <c:pt idx="0">
                  <c:v>0.19</c:v>
                </c:pt>
                <c:pt idx="1">
                  <c:v>0.1</c:v>
                </c:pt>
                <c:pt idx="2">
                  <c:v>0.09</c:v>
                </c:pt>
                <c:pt idx="3">
                  <c:v>0.05</c:v>
                </c:pt>
                <c:pt idx="4">
                  <c:v>0.01</c:v>
                </c:pt>
                <c:pt idx="5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E0A-4672-897F-B0AAD4F5D38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68353296"/>
        <c:axId val="768346816"/>
      </c:barChart>
      <c:catAx>
        <c:axId val="76835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8346816"/>
        <c:crosses val="autoZero"/>
        <c:auto val="1"/>
        <c:lblAlgn val="ctr"/>
        <c:lblOffset val="100"/>
        <c:noMultiLvlLbl val="0"/>
      </c:catAx>
      <c:valAx>
        <c:axId val="76834681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768353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BE" sz="1800" b="1" i="1" dirty="0" err="1"/>
              <a:t>Which</a:t>
            </a:r>
            <a:r>
              <a:rPr lang="fr-BE" sz="1800" b="1" i="1" baseline="0" dirty="0"/>
              <a:t> one </a:t>
            </a:r>
            <a:r>
              <a:rPr lang="fr-BE" sz="1800" b="1" i="1" baseline="0" dirty="0" err="1"/>
              <a:t>is</a:t>
            </a:r>
            <a:r>
              <a:rPr lang="fr-BE" sz="1800" b="1" i="1" baseline="0" dirty="0"/>
              <a:t> </a:t>
            </a:r>
            <a:r>
              <a:rPr lang="fr-BE" sz="1800" b="1" i="1" baseline="0" dirty="0" err="1"/>
              <a:t>your</a:t>
            </a:r>
            <a:r>
              <a:rPr lang="fr-BE" sz="1800" b="1" i="1" baseline="0" dirty="0"/>
              <a:t> </a:t>
            </a:r>
            <a:r>
              <a:rPr lang="fr-BE" sz="1800" b="1" i="1" baseline="0" dirty="0" err="1"/>
              <a:t>prefered</a:t>
            </a:r>
            <a:r>
              <a:rPr lang="fr-BE" sz="1800" b="1" i="1" baseline="0" dirty="0"/>
              <a:t> </a:t>
            </a:r>
            <a:r>
              <a:rPr lang="fr-BE" sz="1800" b="1" i="1" baseline="0" dirty="0" err="1"/>
              <a:t>method</a:t>
            </a:r>
            <a:r>
              <a:rPr lang="fr-BE" sz="1800" b="1" i="1" baseline="0" dirty="0"/>
              <a:t> to return items ?</a:t>
            </a:r>
            <a:endParaRPr lang="fr-BE" sz="1800" b="1" i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returns!$I$158:$I$164</c:f>
              <c:strCache>
                <c:ptCount val="7"/>
                <c:pt idx="0">
                  <c:v>Other &amp; don't know</c:v>
                </c:pt>
                <c:pt idx="1">
                  <c:v>Delivery provider pick-up from office/workplace</c:v>
                </c:pt>
                <c:pt idx="2">
                  <c:v>Drop off at collection point in e-retailer's physical store</c:v>
                </c:pt>
                <c:pt idx="3">
                  <c:v>Drop off at parcel locker station </c:v>
                </c:pt>
                <c:pt idx="4">
                  <c:v>Drop off at courier's parcel shop / postal service point</c:v>
                </c:pt>
                <c:pt idx="5">
                  <c:v>Drop off at the Post office</c:v>
                </c:pt>
                <c:pt idx="6">
                  <c:v>Delivery provider pick-up from home</c:v>
                </c:pt>
              </c:strCache>
            </c:strRef>
          </c:cat>
          <c:val>
            <c:numRef>
              <c:f>returns!$J$158:$J$164</c:f>
              <c:numCache>
                <c:formatCode>0%</c:formatCode>
                <c:ptCount val="7"/>
                <c:pt idx="0">
                  <c:v>0.04</c:v>
                </c:pt>
                <c:pt idx="1">
                  <c:v>0.06</c:v>
                </c:pt>
                <c:pt idx="2">
                  <c:v>7.0000000000000007E-2</c:v>
                </c:pt>
                <c:pt idx="3">
                  <c:v>0.12</c:v>
                </c:pt>
                <c:pt idx="4">
                  <c:v>0.19</c:v>
                </c:pt>
                <c:pt idx="5">
                  <c:v>0.25</c:v>
                </c:pt>
                <c:pt idx="6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384-49D9-B970-1511BE0D5F7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581978472"/>
        <c:axId val="581978832"/>
      </c:barChart>
      <c:catAx>
        <c:axId val="581978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1978832"/>
        <c:crosses val="autoZero"/>
        <c:auto val="1"/>
        <c:lblAlgn val="ctr"/>
        <c:lblOffset val="100"/>
        <c:noMultiLvlLbl val="0"/>
      </c:catAx>
      <c:valAx>
        <c:axId val="58197883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581978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DC4-4DA1-9B4A-4385B3D0423B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DC4-4DA1-9B4A-4385B3D0423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8</c:v>
                </c:pt>
                <c:pt idx="1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C4-4DA1-9B4A-4385B3D042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42-4C06-91B5-7BD5FBD1090A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42-4C06-91B5-7BD5FBD1090A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6</c:v>
                </c:pt>
                <c:pt idx="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42-4C06-91B5-7BD5FBD10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7A-40E6-BE3A-43FC188C5723}"/>
              </c:ext>
            </c:extLst>
          </c:dPt>
          <c:dPt>
            <c:idx val="1"/>
            <c:bubble3D val="0"/>
            <c:explosion val="0"/>
            <c:spPr>
              <a:solidFill>
                <a:schemeClr val="accent4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7A-40E6-BE3A-43FC188C572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7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77A-40E6-BE3A-43FC188C57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dk1" tx1="lt1" bg2="dk2" tx2="lt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B69-4D4D-86CC-E0366516CF65}"/>
              </c:ext>
            </c:extLst>
          </c:dPt>
          <c:dPt>
            <c:idx val="1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B69-4D4D-86CC-E0366516CF6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2</c:v>
                </c:pt>
                <c:pt idx="1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B69-4D4D-86CC-E0366516C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2">
                      <a:shade val="76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shade val="76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shade val="76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2">
                    <a:shade val="76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1AF-4900-A2AE-B036910D1C8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77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2">
                      <a:tint val="77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2">
                      <a:tint val="77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2">
                    <a:tint val="77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1AF-4900-A2AE-B036910D1C88}"/>
              </c:ext>
            </c:extLst>
          </c:dPt>
          <c:val>
            <c:numRef>
              <c:f>Feuil1!$A$4:$A$5</c:f>
              <c:numCache>
                <c:formatCode>0%</c:formatCode>
                <c:ptCount val="2"/>
                <c:pt idx="0">
                  <c:v>0.48</c:v>
                </c:pt>
                <c:pt idx="1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AF-4900-A2AE-B036910D1C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hade val="76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shade val="76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>
                      <a:shade val="76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6">
                    <a:shade val="76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1C8C-4DDC-9931-5B9A518AAD4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6">
                      <a:tint val="77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6">
                      <a:tint val="77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6">
                      <a:tint val="77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accent6">
                    <a:tint val="77000"/>
                    <a:shade val="95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1C8C-4DDC-9931-5B9A518AAD45}"/>
              </c:ext>
            </c:extLst>
          </c:dPt>
          <c:val>
            <c:numRef>
              <c:f>Feuil1!$A$22:$A$23</c:f>
              <c:numCache>
                <c:formatCode>0.00%</c:formatCode>
                <c:ptCount val="2"/>
                <c:pt idx="0">
                  <c:v>0.14599999999999999</c:v>
                </c:pt>
                <c:pt idx="1">
                  <c:v>0.853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8C-4DDC-9931-5B9A518AAD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0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14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9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AD367E07-6FAE-4E7A-81ED-8F20C630E94E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BBE06ED7-BA23-4CF3-B546-6AF3A98BECB5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40825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886621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1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621835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BE" b="0" i="1" u="none" strike="noStrike" dirty="0">
              <a:solidFill>
                <a:srgbClr val="0070F0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1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68606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2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847823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490" lvl="1"/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3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230378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4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824314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5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598559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1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116687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1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70472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1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7445057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19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01260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133541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b="0" i="0" dirty="0">
              <a:solidFill>
                <a:srgbClr val="4D5156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0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9379629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2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699094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2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452437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b="0" i="0" dirty="0">
              <a:solidFill>
                <a:srgbClr val="222222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3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9807874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b="0" i="0" u="none" strike="noStrike" dirty="0">
              <a:solidFill>
                <a:srgbClr val="0070F0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4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1653772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2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215590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26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1036199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b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7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5860357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28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6827326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29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56666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3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473894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30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447255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31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3656717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3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5501550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en-US" sz="1900" dirty="0">
              <a:latin typeface="Segoe UI Light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33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250113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34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47262858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nl-BE" dirty="0">
              <a:solidFill>
                <a:srgbClr val="5A5A5F"/>
              </a:solidFill>
              <a:latin typeface="Segoe UI Ligh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35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141204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2289">
              <a:spcBef>
                <a:spcPts val="1237"/>
              </a:spcBef>
              <a:defRPr/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36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3223973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37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3943551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A16CFAD1-D197-4A88-B173-A6412E995EE5}" type="slidenum">
              <a:rPr lang="en-GB" sz="1000">
                <a:solidFill>
                  <a:prstClr val="black"/>
                </a:solidFill>
                <a:latin typeface="Arial"/>
              </a:rPr>
              <a:pPr defTabSz="942289">
                <a:defRPr/>
              </a:pPr>
              <a:t>38</a:t>
            </a:fld>
            <a:endParaRPr lang="en-GB" sz="10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377547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24"/>
              </a:spcAft>
            </a:pPr>
            <a:endParaRPr lang="fr-BE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39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74968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4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370822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618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5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93010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i="1" dirty="0">
              <a:cs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6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591421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7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276015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nl-BE" dirty="0"/>
              <a:t> </a:t>
            </a:r>
            <a:endParaRPr lang="nl-BE" dirty="0">
              <a:cs typeface="Calibri"/>
            </a:endParaRPr>
          </a:p>
          <a:p>
            <a:pPr algn="l"/>
            <a:endParaRPr lang="fr-BE" i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2289">
              <a:defRPr/>
            </a:pPr>
            <a:fld id="{BBE06ED7-BA23-4CF3-B546-6AF3A98BECB5}" type="slidenum">
              <a:rPr lang="nl-BE">
                <a:solidFill>
                  <a:prstClr val="black"/>
                </a:solidFill>
                <a:latin typeface="Calibri" panose="020F0502020204030204"/>
              </a:rPr>
              <a:pPr defTabSz="942289">
                <a:defRPr/>
              </a:pPr>
              <a:t>8</a:t>
            </a:fld>
            <a:endParaRPr lang="nl-B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08783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E06ED7-BA23-4CF3-B546-6AF3A98BECB5}" type="slidenum">
              <a:rPr lang="nl-BE" smtClean="0"/>
              <a:t>9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53406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7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1.xml"/><Relationship Id="rId4" Type="http://schemas.openxmlformats.org/officeDocument/2006/relationships/image" Target="../media/image4.emf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.bin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6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8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9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0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1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2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6.sv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2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3.bin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4.bin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7.png"/></Relationships>
</file>

<file path=ppt/slideLayouts/_rels/slideLayout17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post.media/" TargetMode="External"/><Relationship Id="rId13" Type="http://schemas.openxmlformats.org/officeDocument/2006/relationships/image" Target="../media/image36.png"/><Relationship Id="rId3" Type="http://schemas.openxmlformats.org/officeDocument/2006/relationships/image" Target="../media/image32.jpeg"/><Relationship Id="rId7" Type="http://schemas.openxmlformats.org/officeDocument/2006/relationships/image" Target="../media/image34.svg"/><Relationship Id="rId12" Type="http://schemas.openxmlformats.org/officeDocument/2006/relationships/hyperlink" Target="https://www.linkedin.com/showcase/bpost-media/" TargetMode="External"/><Relationship Id="rId2" Type="http://schemas.openxmlformats.org/officeDocument/2006/relationships/slideMaster" Target="../slideMasters/slideMaster6.xml"/><Relationship Id="rId16" Type="http://schemas.openxmlformats.org/officeDocument/2006/relationships/hyperlink" Target="https://news.bpost.be/sparkle-registratie?utm_source=PPT&amp;utm_medium=PPT&amp;utm_campaign=powerpoint-sparkle-registration-NL" TargetMode="External"/><Relationship Id="rId1" Type="http://schemas.openxmlformats.org/officeDocument/2006/relationships/tags" Target="../tags/tag161.xml"/><Relationship Id="rId6" Type="http://schemas.openxmlformats.org/officeDocument/2006/relationships/image" Target="../media/image33.png"/><Relationship Id="rId11" Type="http://schemas.openxmlformats.org/officeDocument/2006/relationships/image" Target="../media/image35.png"/><Relationship Id="rId5" Type="http://schemas.openxmlformats.org/officeDocument/2006/relationships/image" Target="../media/image30.emf"/><Relationship Id="rId15" Type="http://schemas.openxmlformats.org/officeDocument/2006/relationships/image" Target="../media/image37.png"/><Relationship Id="rId10" Type="http://schemas.openxmlformats.org/officeDocument/2006/relationships/hyperlink" Target="https://www.facebook.com/bpostmedia/" TargetMode="External"/><Relationship Id="rId4" Type="http://schemas.openxmlformats.org/officeDocument/2006/relationships/oleObject" Target="../embeddings/oleObject15.bin"/><Relationship Id="rId9" Type="http://schemas.openxmlformats.org/officeDocument/2006/relationships/hyperlink" Target="https://news.bpost.be/bpost-media-inschrijving-newsletter?utm_source=PPT&amp;utm_medium=PPT&amp;utm_campaign=powerpoint-enews-registration-NL" TargetMode="External"/><Relationship Id="rId14" Type="http://schemas.openxmlformats.org/officeDocument/2006/relationships/hyperlink" Target="https://twitter.com/bpostmedia" TargetMode="Externa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9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7.bin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8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19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0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1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2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3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4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6.svg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2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5.bin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6.bin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38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post.media/" TargetMode="External"/><Relationship Id="rId13" Type="http://schemas.openxmlformats.org/officeDocument/2006/relationships/hyperlink" Target="https://twitter.com/bpostmedia" TargetMode="External"/><Relationship Id="rId3" Type="http://schemas.openxmlformats.org/officeDocument/2006/relationships/image" Target="../media/image39.jpg"/><Relationship Id="rId7" Type="http://schemas.openxmlformats.org/officeDocument/2006/relationships/image" Target="../media/image34.svg"/><Relationship Id="rId12" Type="http://schemas.openxmlformats.org/officeDocument/2006/relationships/hyperlink" Target="https://www.linkedin.com/showcase/bpost-media/" TargetMode="External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09.xml"/><Relationship Id="rId6" Type="http://schemas.openxmlformats.org/officeDocument/2006/relationships/image" Target="../media/image33.png"/><Relationship Id="rId11" Type="http://schemas.openxmlformats.org/officeDocument/2006/relationships/image" Target="../media/image40.png"/><Relationship Id="rId5" Type="http://schemas.openxmlformats.org/officeDocument/2006/relationships/image" Target="../media/image30.emf"/><Relationship Id="rId15" Type="http://schemas.openxmlformats.org/officeDocument/2006/relationships/hyperlink" Target="https://news.bpost.be/sparkle-registratie?utm_source=PPT&amp;utm_medium=PPT&amp;utm_campaign=powerpoint-sparkle-registration-NL" TargetMode="External"/><Relationship Id="rId10" Type="http://schemas.openxmlformats.org/officeDocument/2006/relationships/hyperlink" Target="https://www.facebook.com/bpostmedia/" TargetMode="External"/><Relationship Id="rId4" Type="http://schemas.openxmlformats.org/officeDocument/2006/relationships/oleObject" Target="../embeddings/oleObject27.bin"/><Relationship Id="rId9" Type="http://schemas.openxmlformats.org/officeDocument/2006/relationships/hyperlink" Target="https://news.bpost.be/bpost-media-inschrijving-newsletter?utm_source=PPT&amp;utm_medium=PPT&amp;utm_campaign=powerpoint-enews-registration-NL" TargetMode="External"/><Relationship Id="rId14" Type="http://schemas.openxmlformats.org/officeDocument/2006/relationships/image" Target="../media/image41.pn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2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316.xml"/><Relationship Id="rId6" Type="http://schemas.openxmlformats.org/officeDocument/2006/relationships/image" Target="../media/image16.svg"/><Relationship Id="rId5" Type="http://schemas.openxmlformats.org/officeDocument/2006/relationships/image" Target="../media/image2.png"/><Relationship Id="rId4" Type="http://schemas.openxmlformats.org/officeDocument/2006/relationships/image" Target="../media/image45.emf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6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6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7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7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7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4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4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9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401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2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3.bin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4.bin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5.bin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6.bin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11.xml"/><Relationship Id="rId1" Type="http://schemas.openxmlformats.org/officeDocument/2006/relationships/tags" Target="../tags/tag41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7.bin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8.bin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9.bin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17.xml"/><Relationship Id="rId1" Type="http://schemas.openxmlformats.org/officeDocument/2006/relationships/tags" Target="../tags/tag416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9.bin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16.svg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image" Target="../media/image2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0.bin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1.bin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5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Layouts/_rels/slideLayout51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post.media/" TargetMode="External"/><Relationship Id="rId13" Type="http://schemas.openxmlformats.org/officeDocument/2006/relationships/image" Target="../media/image54.png"/><Relationship Id="rId3" Type="http://schemas.openxmlformats.org/officeDocument/2006/relationships/image" Target="../media/image52.jpeg"/><Relationship Id="rId7" Type="http://schemas.openxmlformats.org/officeDocument/2006/relationships/image" Target="../media/image34.svg"/><Relationship Id="rId12" Type="http://schemas.openxmlformats.org/officeDocument/2006/relationships/hyperlink" Target="https://www.linkedin.com/showcase/bpost-media/" TargetMode="External"/><Relationship Id="rId2" Type="http://schemas.openxmlformats.org/officeDocument/2006/relationships/slideMaster" Target="../slideMasters/slideMaster20.xml"/><Relationship Id="rId16" Type="http://schemas.openxmlformats.org/officeDocument/2006/relationships/hyperlink" Target="https://news.bpost.be/sparkle-registratie?utm_source=PPT&amp;utm_medium=PPT&amp;utm_campaign=powerpoint-sparkle-registration-NL" TargetMode="External"/><Relationship Id="rId1" Type="http://schemas.openxmlformats.org/officeDocument/2006/relationships/tags" Target="../tags/tag422.xml"/><Relationship Id="rId6" Type="http://schemas.openxmlformats.org/officeDocument/2006/relationships/image" Target="../media/image33.png"/><Relationship Id="rId11" Type="http://schemas.openxmlformats.org/officeDocument/2006/relationships/image" Target="../media/image53.png"/><Relationship Id="rId5" Type="http://schemas.openxmlformats.org/officeDocument/2006/relationships/image" Target="../media/image30.emf"/><Relationship Id="rId15" Type="http://schemas.openxmlformats.org/officeDocument/2006/relationships/image" Target="../media/image55.png"/><Relationship Id="rId10" Type="http://schemas.openxmlformats.org/officeDocument/2006/relationships/hyperlink" Target="https://www.facebook.com/bpostmedia/" TargetMode="External"/><Relationship Id="rId4" Type="http://schemas.openxmlformats.org/officeDocument/2006/relationships/oleObject" Target="../embeddings/oleObject42.bin"/><Relationship Id="rId9" Type="http://schemas.openxmlformats.org/officeDocument/2006/relationships/hyperlink" Target="https://news.bpost.be/bpost-media-inschrijving-newsletter?utm_source=PPT&amp;utm_medium=PPT&amp;utm_campaign=powerpoint-enews-registration-NL" TargetMode="External"/><Relationship Id="rId14" Type="http://schemas.openxmlformats.org/officeDocument/2006/relationships/hyperlink" Target="https://twitter.com/bpostmedia" TargetMode="Externa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746D520-4915-8B27-0C6C-9A89B57E8AFC}"/>
              </a:ext>
            </a:extLst>
          </p:cNvPr>
          <p:cNvSpPr/>
          <p:nvPr userDrawn="1"/>
        </p:nvSpPr>
        <p:spPr>
          <a:xfrm>
            <a:off x="539750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0F8D105-F899-B92B-8E63-0FFC2E24E47A}"/>
              </a:ext>
            </a:extLst>
          </p:cNvPr>
          <p:cNvSpPr/>
          <p:nvPr userDrawn="1"/>
        </p:nvSpPr>
        <p:spPr>
          <a:xfrm>
            <a:off x="4304927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EC31372-3851-CE93-3CF7-E2DE058A58AD}"/>
              </a:ext>
            </a:extLst>
          </p:cNvPr>
          <p:cNvSpPr/>
          <p:nvPr userDrawn="1"/>
        </p:nvSpPr>
        <p:spPr>
          <a:xfrm>
            <a:off x="8070104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1507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45B0A68-C13E-B722-5170-38238B1A99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E6BA983-C762-B692-D8B1-9FBB31A7F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1345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D9DD275-E61E-764A-7A35-3B98CFD803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6522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F7E61D2-3673-E474-9441-8FF7E4B3BA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9750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5F472B3-6689-A76D-A0ED-A84C1036E9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1345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A0BE696-28DD-3A6A-1F72-F478777324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66522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336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C8426AFD-9184-8E77-929E-43C40DDDAA60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2121877" y="1560763"/>
            <a:ext cx="7948246" cy="4459037"/>
          </a:xfrm>
          <a:solidFill>
            <a:srgbClr val="F4F6FA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dirty="0"/>
              <a:t>Insert video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EFF6E7B-C4D9-FD3C-E36B-16B792752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183" y="986377"/>
            <a:ext cx="8611634" cy="4410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A674861-6663-E6FB-B82A-B3DADF0038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8227" y="599466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 algn="ctr"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8175DB9-EC67-B010-6B08-8F95F6E22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76370" y="5718047"/>
            <a:ext cx="1689761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0" u="none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Use case: xxx</a:t>
            </a:r>
          </a:p>
        </p:txBody>
      </p:sp>
    </p:spTree>
    <p:extLst>
      <p:ext uri="{BB962C8B-B14F-4D97-AF65-F5344CB8AC3E}">
        <p14:creationId xmlns:p14="http://schemas.microsoft.com/office/powerpoint/2010/main" val="26788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540000" rIns="540000" bIns="3420000" anchor="t" anchorCtr="0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060400" y="4093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059F74E-1674-40DE-9E6E-02128E100123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3733239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752869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5280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759" y="274640"/>
            <a:ext cx="9806517" cy="777875"/>
          </a:xfrm>
        </p:spPr>
        <p:txBody>
          <a:bodyPr lIns="0"/>
          <a:lstStyle>
            <a:lvl1pPr>
              <a:defRPr sz="2133" b="1">
                <a:solidFill>
                  <a:srgbClr val="EF2637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BE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A7B516-5173-42C9-A456-0A14E6B0BDBE}" type="slidenum">
              <a:rPr lang="fr-BE"/>
              <a:pPr>
                <a:defRPr/>
              </a:pPr>
              <a:t>‹#›</a:t>
            </a:fld>
            <a:endParaRPr lang="fr-BE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277757" y="1116257"/>
            <a:ext cx="11694110" cy="324000"/>
          </a:xfrm>
        </p:spPr>
        <p:txBody>
          <a:bodyPr lIns="0"/>
          <a:lstStyle>
            <a:lvl1pPr marL="0" indent="0">
              <a:buNone/>
              <a:defRPr sz="1866" b="0"/>
            </a:lvl1pPr>
            <a:lvl2pPr marL="544056" indent="0">
              <a:buNone/>
              <a:defRPr sz="1466"/>
            </a:lvl2pPr>
            <a:lvl3pPr marL="1088113" indent="0">
              <a:buNone/>
              <a:defRPr sz="1200"/>
            </a:lvl3pPr>
            <a:lvl4pPr marL="1632168" indent="0">
              <a:buNone/>
              <a:defRPr sz="1066"/>
            </a:lvl4pPr>
            <a:lvl5pPr marL="2176226" indent="0">
              <a:buNone/>
              <a:defRPr sz="1066"/>
            </a:lvl5pPr>
            <a:lvl6pPr marL="2720282" indent="0">
              <a:buNone/>
              <a:defRPr sz="1066"/>
            </a:lvl6pPr>
            <a:lvl7pPr marL="3264337" indent="0">
              <a:buNone/>
              <a:defRPr sz="1066"/>
            </a:lvl7pPr>
            <a:lvl8pPr marL="3808395" indent="0">
              <a:buNone/>
              <a:defRPr sz="1066"/>
            </a:lvl8pPr>
            <a:lvl9pPr marL="4352450" indent="0">
              <a:buNone/>
              <a:defRPr sz="1066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69"/>
          <p:cNvSpPr>
            <a:spLocks noGrp="1"/>
          </p:cNvSpPr>
          <p:nvPr>
            <p:ph type="body" sz="quarter" idx="14" hasCustomPrompt="1"/>
          </p:nvPr>
        </p:nvSpPr>
        <p:spPr>
          <a:xfrm>
            <a:off x="277756" y="6370637"/>
            <a:ext cx="10312400" cy="432000"/>
          </a:xfrm>
          <a:prstGeom prst="rect">
            <a:avLst/>
          </a:prstGeom>
        </p:spPr>
        <p:txBody>
          <a:bodyPr lIns="0" tIns="32139" rIns="0" bIns="0"/>
          <a:lstStyle>
            <a:lvl1pPr marL="0" indent="0" algn="l">
              <a:lnSpc>
                <a:spcPts val="952"/>
              </a:lnSpc>
              <a:buNone/>
              <a:defRPr sz="933"/>
            </a:lvl1pPr>
            <a:lvl2pPr algn="l">
              <a:lnSpc>
                <a:spcPts val="1070"/>
              </a:lnSpc>
              <a:buNone/>
              <a:defRPr sz="933"/>
            </a:lvl2pPr>
            <a:lvl3pPr algn="l">
              <a:lnSpc>
                <a:spcPts val="1070"/>
              </a:lnSpc>
              <a:buNone/>
              <a:defRPr sz="933"/>
            </a:lvl3pPr>
            <a:lvl4pPr algn="l">
              <a:lnSpc>
                <a:spcPts val="1070"/>
              </a:lnSpc>
              <a:buNone/>
              <a:defRPr sz="933"/>
            </a:lvl4pPr>
            <a:lvl5pPr algn="l">
              <a:lnSpc>
                <a:spcPts val="1070"/>
              </a:lnSpc>
              <a:buNone/>
              <a:defRPr sz="933"/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8915026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0" y="6404736"/>
            <a:ext cx="11328401" cy="192617"/>
          </a:xfrm>
        </p:spPr>
        <p:txBody>
          <a:bodyPr tIns="0" bIns="36007" anchor="b" anchorCtr="0">
            <a:noAutofit/>
          </a:bodyPr>
          <a:lstStyle>
            <a:lvl1pPr marL="0" marR="0" indent="0" algn="l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688746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9">
            <a:extLst>
              <a:ext uri="{FF2B5EF4-FFF2-40B4-BE49-F238E27FC236}">
                <a16:creationId xmlns:a16="http://schemas.microsoft.com/office/drawing/2014/main" id="{7A02514E-1572-46EB-92C1-6A31E5DB40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4725408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83765" y="3573016"/>
            <a:ext cx="7578891" cy="1107554"/>
          </a:xfrm>
          <a:prstGeom prst="rect">
            <a:avLst/>
          </a:prstGeom>
        </p:spPr>
        <p:txBody>
          <a:bodyPr/>
          <a:lstStyle>
            <a:lvl1pPr algn="r">
              <a:defRPr sz="3200" b="1">
                <a:solidFill>
                  <a:srgbClr val="EF2637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983765" y="4725144"/>
            <a:ext cx="7584843" cy="9136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2800">
                <a:solidFill>
                  <a:srgbClr val="5A5A5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2"/>
          </p:nvPr>
        </p:nvSpPr>
        <p:spPr>
          <a:xfrm>
            <a:off x="3949899" y="6203405"/>
            <a:ext cx="7601776" cy="432047"/>
          </a:xfrm>
          <a:prstGeom prst="rect">
            <a:avLst/>
          </a:prstGeom>
        </p:spPr>
        <p:txBody>
          <a:bodyPr/>
          <a:lstStyle>
            <a:lvl1pPr algn="r">
              <a:defRPr sz="1500" b="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08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334434" y="1268414"/>
            <a:ext cx="11449580" cy="518477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1568793" y="6531429"/>
            <a:ext cx="6232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B1FDAD3-49F6-416A-808E-25F3A0692939}" type="slidenum">
              <a:rPr lang="en-US" sz="1200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626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9348" y="364118"/>
            <a:ext cx="10050405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334962" y="1412874"/>
            <a:ext cx="11449051" cy="5184776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5" name="Content Placeholder 11"/>
          <p:cNvSpPr>
            <a:spLocks noGrp="1"/>
          </p:cNvSpPr>
          <p:nvPr>
            <p:ph sz="quarter" idx="11"/>
          </p:nvPr>
        </p:nvSpPr>
        <p:spPr>
          <a:xfrm>
            <a:off x="239349" y="200"/>
            <a:ext cx="5936000" cy="3418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405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433" y="1412874"/>
            <a:ext cx="5569545" cy="5040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3273" y="1412874"/>
            <a:ext cx="5569545" cy="5040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BE1E21A9-F016-45C0-A989-17CD8A356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307793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432" y="1125538"/>
            <a:ext cx="5472000" cy="252000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600" b="0" noProof="0" dirty="0" smtClean="0"/>
            </a:lvl1pPr>
            <a:lvl2pPr>
              <a:defRPr lang="en-US" sz="1600" b="0" noProof="0" dirty="0" smtClean="0"/>
            </a:lvl2pPr>
            <a:lvl3pPr>
              <a:defRPr lang="en-US" sz="1600" b="0" noProof="0" dirty="0" smtClean="0"/>
            </a:lvl3pPr>
            <a:lvl4pPr>
              <a:defRPr lang="en-US" b="0" noProof="0" dirty="0" smtClean="0"/>
            </a:lvl4pPr>
            <a:lvl5pPr>
              <a:defRPr lang="en-GB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2000" y="1125538"/>
            <a:ext cx="5472000" cy="2520000"/>
          </a:xfrm>
          <a:prstGeom prst="rect">
            <a:avLst/>
          </a:prstGeom>
          <a:ln w="12700">
            <a:solidFill>
              <a:srgbClr val="EF8127"/>
            </a:solidFill>
          </a:ln>
        </p:spPr>
        <p:txBody>
          <a:bodyPr tIns="324000">
            <a:normAutofit/>
          </a:bodyPr>
          <a:lstStyle>
            <a:lvl1pPr>
              <a:defRPr lang="en-US" sz="1600" b="0" noProof="0" dirty="0" smtClean="0"/>
            </a:lvl1pPr>
            <a:lvl2pPr>
              <a:defRPr lang="en-US" sz="1600" b="0" noProof="0" dirty="0" smtClean="0"/>
            </a:lvl2pPr>
            <a:lvl3pPr>
              <a:defRPr lang="en-US" sz="1600" b="0" noProof="0" dirty="0" smtClean="0"/>
            </a:lvl3pPr>
            <a:lvl4pPr>
              <a:defRPr lang="en-US" b="0" noProof="0" dirty="0" smtClean="0"/>
            </a:lvl4pPr>
            <a:lvl5pPr>
              <a:defRPr lang="en-GB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334432" y="4077352"/>
            <a:ext cx="5472000" cy="2520000"/>
          </a:xfrm>
          <a:prstGeom prst="rect">
            <a:avLst/>
          </a:prstGeom>
          <a:ln w="12700">
            <a:solidFill>
              <a:srgbClr val="00B050"/>
            </a:solidFill>
          </a:ln>
        </p:spPr>
        <p:txBody>
          <a:bodyPr tIns="324000">
            <a:normAutofit/>
          </a:bodyPr>
          <a:lstStyle>
            <a:lvl1pPr>
              <a:defRPr lang="en-US" sz="1600" b="0" noProof="0" dirty="0" smtClean="0"/>
            </a:lvl1pPr>
            <a:lvl2pPr>
              <a:defRPr lang="en-US" sz="1600" b="0" noProof="0" dirty="0" smtClean="0"/>
            </a:lvl2pPr>
            <a:lvl3pPr>
              <a:defRPr lang="en-US" sz="1600" b="0" noProof="0" dirty="0" smtClean="0"/>
            </a:lvl3pPr>
            <a:lvl4pPr>
              <a:defRPr lang="en-US" b="0" noProof="0" dirty="0" smtClean="0"/>
            </a:lvl4pPr>
            <a:lvl5pPr>
              <a:defRPr lang="en-GB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6432000" y="4077352"/>
            <a:ext cx="5472000" cy="2520000"/>
          </a:xfrm>
          <a:prstGeom prst="rect">
            <a:avLst/>
          </a:prstGeom>
          <a:ln w="12700">
            <a:solidFill>
              <a:schemeClr val="accent3">
                <a:lumMod val="40000"/>
                <a:lumOff val="60000"/>
              </a:schemeClr>
            </a:solidFill>
          </a:ln>
        </p:spPr>
        <p:txBody>
          <a:bodyPr tIns="324000">
            <a:normAutofit/>
          </a:bodyPr>
          <a:lstStyle>
            <a:lvl1pPr>
              <a:defRPr lang="en-US" sz="1600" b="0" noProof="0" dirty="0" smtClean="0"/>
            </a:lvl1pPr>
            <a:lvl2pPr>
              <a:defRPr lang="en-US" sz="1600" b="0" noProof="0" dirty="0" smtClean="0"/>
            </a:lvl2pPr>
            <a:lvl3pPr>
              <a:defRPr lang="en-US" sz="1600" b="0" noProof="0" dirty="0" smtClean="0"/>
            </a:lvl3pPr>
            <a:lvl4pPr>
              <a:defRPr lang="en-US" b="0" noProof="0" dirty="0" smtClean="0"/>
            </a:lvl4pPr>
            <a:lvl5pPr>
              <a:defRPr lang="en-GB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5" name="Chevron 14"/>
          <p:cNvSpPr/>
          <p:nvPr userDrawn="1"/>
        </p:nvSpPr>
        <p:spPr>
          <a:xfrm>
            <a:off x="5928000" y="2060848"/>
            <a:ext cx="384043" cy="504056"/>
          </a:xfrm>
          <a:prstGeom prst="chevron">
            <a:avLst/>
          </a:prstGeom>
          <a:solidFill>
            <a:srgbClr val="EF812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schemeClr val="tx1"/>
              </a:solidFill>
            </a:endParaRPr>
          </a:p>
        </p:txBody>
      </p:sp>
      <p:sp>
        <p:nvSpPr>
          <p:cNvPr id="16" name="Chevron 15"/>
          <p:cNvSpPr/>
          <p:nvPr userDrawn="1"/>
        </p:nvSpPr>
        <p:spPr>
          <a:xfrm rot="10800000">
            <a:off x="5928000" y="4941168"/>
            <a:ext cx="384043" cy="504056"/>
          </a:xfrm>
          <a:prstGeom prst="chevron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schemeClr val="tx1"/>
              </a:solidFill>
            </a:endParaRPr>
          </a:p>
        </p:txBody>
      </p:sp>
      <p:sp>
        <p:nvSpPr>
          <p:cNvPr id="17" name="Chevron 16"/>
          <p:cNvSpPr/>
          <p:nvPr userDrawn="1"/>
        </p:nvSpPr>
        <p:spPr>
          <a:xfrm rot="5400000">
            <a:off x="8784299" y="3533991"/>
            <a:ext cx="288032" cy="672075"/>
          </a:xfrm>
          <a:prstGeom prst="chevron">
            <a:avLst/>
          </a:prstGeom>
          <a:solidFill>
            <a:schemeClr val="accent3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35360" y="1125538"/>
            <a:ext cx="10406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600" b="1" dirty="0">
                <a:solidFill>
                  <a:srgbClr val="EF2637"/>
                </a:solidFill>
              </a:rPr>
              <a:t>ISSUES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32001" y="1120913"/>
            <a:ext cx="9108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600" b="1" dirty="0">
                <a:solidFill>
                  <a:srgbClr val="EF8127"/>
                </a:solidFill>
              </a:rPr>
              <a:t>IDEA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35361" y="4077352"/>
            <a:ext cx="7938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600" b="1" dirty="0">
                <a:solidFill>
                  <a:srgbClr val="00B050"/>
                </a:solidFill>
              </a:rPr>
              <a:t>NEXT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6432000" y="4077352"/>
            <a:ext cx="23134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60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CONSIDERATIONS</a:t>
            </a:r>
          </a:p>
        </p:txBody>
      </p:sp>
      <p:sp>
        <p:nvSpPr>
          <p:cNvPr id="22" name="Title 9">
            <a:extLst>
              <a:ext uri="{FF2B5EF4-FFF2-40B4-BE49-F238E27FC236}">
                <a16:creationId xmlns:a16="http://schemas.microsoft.com/office/drawing/2014/main" id="{ACD25E17-4FB7-4E9C-AB49-5D1493E22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252067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8308" y="986377"/>
            <a:ext cx="4735384" cy="4410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28308" y="1451364"/>
            <a:ext cx="4735384" cy="274585"/>
          </a:xfrm>
        </p:spPr>
        <p:txBody>
          <a:bodyPr/>
          <a:lstStyle>
            <a:lvl1pPr algn="ctr"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8227" y="599466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 algn="ctr"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57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">
            <a:extLst>
              <a:ext uri="{FF2B5EF4-FFF2-40B4-BE49-F238E27FC236}">
                <a16:creationId xmlns:a16="http://schemas.microsoft.com/office/drawing/2014/main" id="{F99D61C3-1221-49EA-A34F-3282D0ED2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1629401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">
            <a:extLst>
              <a:ext uri="{FF2B5EF4-FFF2-40B4-BE49-F238E27FC236}">
                <a16:creationId xmlns:a16="http://schemas.microsoft.com/office/drawing/2014/main" id="{F99D61C3-1221-49EA-A34F-3282D0ED2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8100000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625321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1"/>
          <p:cNvSpPr>
            <a:spLocks noGrp="1"/>
          </p:cNvSpPr>
          <p:nvPr>
            <p:ph sz="quarter" idx="10"/>
          </p:nvPr>
        </p:nvSpPr>
        <p:spPr>
          <a:xfrm>
            <a:off x="334433" y="1412874"/>
            <a:ext cx="11522207" cy="5040313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5" name="Title 9">
            <a:extLst>
              <a:ext uri="{FF2B5EF4-FFF2-40B4-BE49-F238E27FC236}">
                <a16:creationId xmlns:a16="http://schemas.microsoft.com/office/drawing/2014/main" id="{EB305B56-4411-4B13-83D8-49D3E5224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2620218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432" y="1125538"/>
            <a:ext cx="5472000" cy="180000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10"/>
          </p:nvPr>
        </p:nvSpPr>
        <p:spPr>
          <a:xfrm>
            <a:off x="334432" y="2997144"/>
            <a:ext cx="5472000" cy="180000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11"/>
          </p:nvPr>
        </p:nvSpPr>
        <p:spPr>
          <a:xfrm>
            <a:off x="334432" y="4869352"/>
            <a:ext cx="5472000" cy="180000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295467" y="1125538"/>
            <a:ext cx="4510965" cy="9144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295467" y="2988860"/>
            <a:ext cx="4510965" cy="9144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295467" y="4868750"/>
            <a:ext cx="4510965" cy="9144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BB5681D8-4DC0-43B8-96B3-7E92CEE02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0199796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432" y="1125538"/>
            <a:ext cx="3744000" cy="216773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10"/>
          </p:nvPr>
        </p:nvSpPr>
        <p:spPr>
          <a:xfrm>
            <a:off x="4272213" y="1125538"/>
            <a:ext cx="3744000" cy="216773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11"/>
          </p:nvPr>
        </p:nvSpPr>
        <p:spPr>
          <a:xfrm>
            <a:off x="8208651" y="1117254"/>
            <a:ext cx="3744000" cy="216773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marL="0" lvl="0" indent="-144000"/>
            <a:r>
              <a:rPr lang="en-US" noProof="0" dirty="0"/>
              <a:t>Click to edit Master text styles</a:t>
            </a:r>
          </a:p>
          <a:p>
            <a:pPr marL="432000" lvl="1" indent="-144000"/>
            <a:r>
              <a:rPr lang="en-US" noProof="0" dirty="0"/>
              <a:t>Second level</a:t>
            </a:r>
          </a:p>
          <a:p>
            <a:pPr marL="720000" lvl="2" indent="-144000"/>
            <a:r>
              <a:rPr lang="en-US" noProof="0" dirty="0"/>
              <a:t>Third level</a:t>
            </a:r>
          </a:p>
          <a:p>
            <a:pPr marL="1008000" lvl="3" indent="-144000"/>
            <a:r>
              <a:rPr lang="en-US" noProof="0" dirty="0"/>
              <a:t>Fourth level</a:t>
            </a:r>
          </a:p>
          <a:p>
            <a:pPr marL="1296000" lvl="4" indent="-144000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007435" y="1125538"/>
            <a:ext cx="3013459" cy="44014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943872" y="1117254"/>
            <a:ext cx="3013459" cy="44014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8939192" y="1116652"/>
            <a:ext cx="3013459" cy="44014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9">
            <a:extLst>
              <a:ext uri="{FF2B5EF4-FFF2-40B4-BE49-F238E27FC236}">
                <a16:creationId xmlns:a16="http://schemas.microsoft.com/office/drawing/2014/main" id="{D8B69147-7387-424C-A699-6D698254A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914400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8307861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\\nas02\u342795\MySettings\EDS\Desktop\Picture1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9457" y="260350"/>
            <a:ext cx="1872207" cy="1121916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 userDrawn="1"/>
        </p:nvSpPr>
        <p:spPr>
          <a:xfrm>
            <a:off x="10224459" y="260350"/>
            <a:ext cx="1728359" cy="8651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180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99456" y="1565920"/>
            <a:ext cx="9601067" cy="1287016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199323" y="2852936"/>
            <a:ext cx="9601200" cy="230485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5013552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on Section Heade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3925" y="3645024"/>
            <a:ext cx="5571067" cy="1252800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20784" y="5037648"/>
            <a:ext cx="5568619" cy="1053356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72866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33" y="3243620"/>
            <a:ext cx="6510867" cy="648000"/>
          </a:xfrm>
          <a:prstGeom prst="rect">
            <a:avLst/>
          </a:prstGeom>
        </p:spPr>
        <p:txBody>
          <a:bodyPr anchor="t" anchorCtr="0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392" y="3891620"/>
            <a:ext cx="6508006" cy="1053356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2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04101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3244849"/>
            <a:ext cx="6310808" cy="648000"/>
          </a:xfrm>
          <a:prstGeom prst="rect">
            <a:avLst/>
          </a:prstGeom>
        </p:spPr>
        <p:txBody>
          <a:bodyPr anchor="t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392" y="3892849"/>
            <a:ext cx="6310808" cy="10800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2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46871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9599" y="2276872"/>
            <a:ext cx="6394134" cy="648000"/>
          </a:xfrm>
          <a:prstGeom prst="rect">
            <a:avLst/>
          </a:prstGeom>
        </p:spPr>
        <p:txBody>
          <a:bodyPr anchor="t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5188" y="2924872"/>
            <a:ext cx="6394134" cy="85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2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473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9640" y="142874"/>
            <a:ext cx="11865198" cy="3113383"/>
          </a:xfrm>
          <a:prstGeom prst="rect">
            <a:avLst/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2" y="3531455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3144544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1" y="2544188"/>
            <a:ext cx="2392932" cy="239293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9E5B1B-04C2-B480-FE5D-748F8BBE0C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1721" y="2771753"/>
            <a:ext cx="1937802" cy="193780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B3D6CB0-1625-E8D4-646F-E97DB6A45F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712" y="2930654"/>
            <a:ext cx="1620000" cy="1620000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9C5DE50-C810-97DC-9BC1-A8491B0BA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04400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BFFE30-228D-31EB-4DE6-46791E8BC4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5562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2123937-DF6A-4EA9-2DBE-E98BC21ED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6747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968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3445" y="1505992"/>
            <a:ext cx="5572800" cy="914400"/>
          </a:xfrm>
          <a:prstGeom prst="rect">
            <a:avLst/>
          </a:prstGeom>
        </p:spPr>
        <p:txBody>
          <a:bodyPr anchor="ctr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9264" y="2564904"/>
            <a:ext cx="5572800" cy="85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809922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870112" y="3526904"/>
            <a:ext cx="5572800" cy="914400"/>
          </a:xfrm>
          <a:prstGeom prst="rect">
            <a:avLst/>
          </a:prstGeom>
        </p:spPr>
        <p:txBody>
          <a:bodyPr anchor="ctr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5870112" y="4581128"/>
            <a:ext cx="5572800" cy="85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61376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6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713376" y="1030734"/>
            <a:ext cx="5572800" cy="914400"/>
          </a:xfrm>
          <a:prstGeom prst="rect">
            <a:avLst/>
          </a:prstGeom>
        </p:spPr>
        <p:txBody>
          <a:bodyPr anchor="ctr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713376" y="2082056"/>
            <a:ext cx="5572800" cy="85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41764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7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231904" y="3300413"/>
            <a:ext cx="5572800" cy="914400"/>
          </a:xfrm>
          <a:prstGeom prst="rect">
            <a:avLst/>
          </a:prstGeom>
        </p:spPr>
        <p:txBody>
          <a:bodyPr anchor="ctr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5210789" y="4352404"/>
            <a:ext cx="5572800" cy="8568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67219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8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137312" y="2684016"/>
            <a:ext cx="5572800" cy="914400"/>
          </a:xfrm>
          <a:prstGeom prst="rect">
            <a:avLst/>
          </a:prstGeom>
        </p:spPr>
        <p:txBody>
          <a:bodyPr anchor="ctr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1137312" y="3729732"/>
            <a:ext cx="5572800" cy="856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488891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9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711957" y="2042319"/>
            <a:ext cx="5572800" cy="914400"/>
          </a:xfrm>
          <a:prstGeom prst="rect">
            <a:avLst/>
          </a:prstGeom>
        </p:spPr>
        <p:txBody>
          <a:bodyPr anchor="ctr"/>
          <a:lstStyle>
            <a:lvl1pPr algn="l">
              <a:defRPr sz="2800" b="1" cap="none" baseline="0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5690843" y="3107060"/>
            <a:ext cx="5572800" cy="856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17631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5408" y="3284984"/>
            <a:ext cx="4410539" cy="1440160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  <a:endParaRPr lang="fr-B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05408" y="4725144"/>
            <a:ext cx="4410539" cy="86409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>
                <a:solidFill>
                  <a:srgbClr val="5A5A5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344139" y="764704"/>
            <a:ext cx="4129616" cy="60932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defRPr lang="en-US" sz="50000" b="1" kern="1200" cap="all" dirty="0" smtClean="0">
                <a:solidFill>
                  <a:srgbClr val="EF2637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70133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074953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242261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dium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11424" y="1847181"/>
            <a:ext cx="4896544" cy="4318123"/>
          </a:xfrm>
          <a:prstGeom prst="rect">
            <a:avLst/>
          </a:prstGeom>
          <a:solidFill>
            <a:schemeClr val="bg1"/>
          </a:solidFill>
        </p:spPr>
        <p:txBody>
          <a:bodyPr lIns="144000" rIns="144000"/>
          <a:lstStyle>
            <a:lvl1pPr marL="230810" indent="-230810">
              <a:buFont typeface="Arial" panose="020B0604020202020204" pitchFamily="34" charset="0"/>
              <a:buChar char="•"/>
              <a:defRPr sz="1600"/>
            </a:lvl1pPr>
            <a:lvl2pPr marL="446088" indent="-230188">
              <a:buFont typeface="Arial" panose="020B0604020202020204" pitchFamily="34" charset="0"/>
              <a:buChar char="•"/>
              <a:defRPr sz="1600"/>
            </a:lvl2pPr>
            <a:lvl3pPr marL="628650" indent="-230188">
              <a:buFont typeface="Arial" panose="020B0604020202020204" pitchFamily="34" charset="0"/>
              <a:buChar char="•"/>
              <a:tabLst/>
              <a:defRPr sz="1400"/>
            </a:lvl3pPr>
            <a:lvl4pPr marL="801688" indent="-230188">
              <a:buFont typeface="Arial" panose="020B0604020202020204" pitchFamily="34" charset="0"/>
              <a:buChar char="•"/>
              <a:tabLst/>
              <a:defRPr sz="1400"/>
            </a:lvl4pPr>
            <a:lvl5pPr marL="984250" indent="-230188">
              <a:buFont typeface="Arial" panose="020B0604020202020204" pitchFamily="34" charset="0"/>
              <a:buChar char="•"/>
              <a:tabLst/>
              <a:defRPr sz="1400"/>
            </a:lvl5pPr>
          </a:lstStyle>
          <a:p>
            <a:pPr lvl="0"/>
            <a:r>
              <a:rPr lang="en-US" dirty="0">
                <a:sym typeface="Helvetica" charset="0"/>
              </a:rPr>
              <a:t>First level</a:t>
            </a:r>
          </a:p>
          <a:p>
            <a:pPr lvl="1"/>
            <a:r>
              <a:rPr lang="en-US" dirty="0">
                <a:sym typeface="Helvetica" charset="0"/>
              </a:rPr>
              <a:t>Second level</a:t>
            </a:r>
          </a:p>
          <a:p>
            <a:pPr lvl="2"/>
            <a:r>
              <a:rPr lang="en-US" dirty="0">
                <a:sym typeface="Helvetica" charset="0"/>
              </a:rPr>
              <a:t>Third level</a:t>
            </a:r>
          </a:p>
          <a:p>
            <a:pPr lvl="3"/>
            <a:r>
              <a:rPr lang="en-US" dirty="0">
                <a:sym typeface="Helvetica" charset="0"/>
              </a:rPr>
              <a:t>Fourth level</a:t>
            </a:r>
          </a:p>
          <a:p>
            <a:pPr lvl="4"/>
            <a:r>
              <a:rPr lang="en-US" dirty="0">
                <a:sym typeface="Helvetica" charset="0"/>
              </a:rPr>
              <a:t>Fifth level</a:t>
            </a:r>
          </a:p>
        </p:txBody>
      </p:sp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903106" y="764705"/>
            <a:ext cx="4905657" cy="11046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en-US" dirty="0">
                <a:sym typeface="Helvetica" charset="0"/>
              </a:rPr>
              <a:t>Medium Title and Bullets</a:t>
            </a:r>
          </a:p>
        </p:txBody>
      </p:sp>
    </p:spTree>
    <p:extLst>
      <p:ext uri="{BB962C8B-B14F-4D97-AF65-F5344CB8AC3E}">
        <p14:creationId xmlns:p14="http://schemas.microsoft.com/office/powerpoint/2010/main" val="19521114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E053643-D2DC-7A63-88C8-C77CEC06D50C}"/>
              </a:ext>
            </a:extLst>
          </p:cNvPr>
          <p:cNvSpPr/>
          <p:nvPr userDrawn="1"/>
        </p:nvSpPr>
        <p:spPr>
          <a:xfrm>
            <a:off x="6433900" y="142875"/>
            <a:ext cx="5600937" cy="5876926"/>
          </a:xfrm>
          <a:prstGeom prst="roundRect">
            <a:avLst>
              <a:gd name="adj" fmla="val 216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2" y="1582666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575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2" y="5712648"/>
            <a:ext cx="4019586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9E5B1B-04C2-B480-FE5D-748F8BBE0C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54614" y="2230987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9C5DE50-C810-97DC-9BC1-A8491B0BA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8244" y="1076078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BFFE30-228D-31EB-4DE6-46791E8BC4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158244" y="2865571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2123937-DF6A-4EA9-2DBE-E98BC21ED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158244" y="4655065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A057DD-A987-6B57-EDFA-D78B399BCC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54614" y="441494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8406CE-6FDA-BD88-C146-2728EB6DF73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54614" y="4020481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257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edium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8021" y="1847181"/>
            <a:ext cx="4896544" cy="4318123"/>
          </a:xfrm>
          <a:prstGeom prst="rect">
            <a:avLst/>
          </a:prstGeom>
          <a:solidFill>
            <a:schemeClr val="bg1"/>
          </a:solidFill>
        </p:spPr>
        <p:txBody>
          <a:bodyPr lIns="144000" rIns="144000"/>
          <a:lstStyle>
            <a:lvl1pPr marL="230810" indent="-230810">
              <a:buFont typeface="Arial" panose="020B0604020202020204" pitchFamily="34" charset="0"/>
              <a:buChar char="•"/>
              <a:defRPr sz="1600"/>
            </a:lvl1pPr>
            <a:lvl2pPr marL="446088" indent="-230188">
              <a:buFont typeface="Arial" panose="020B0604020202020204" pitchFamily="34" charset="0"/>
              <a:buChar char="•"/>
              <a:defRPr sz="1600"/>
            </a:lvl2pPr>
            <a:lvl3pPr marL="628650" indent="-230188">
              <a:buFont typeface="Arial" panose="020B0604020202020204" pitchFamily="34" charset="0"/>
              <a:buChar char="•"/>
              <a:tabLst/>
              <a:defRPr sz="1400"/>
            </a:lvl3pPr>
            <a:lvl4pPr marL="801688" indent="-230188">
              <a:buFont typeface="Arial" panose="020B0604020202020204" pitchFamily="34" charset="0"/>
              <a:buChar char="•"/>
              <a:tabLst/>
              <a:defRPr sz="1400"/>
            </a:lvl4pPr>
            <a:lvl5pPr marL="984250" indent="-230188">
              <a:buFont typeface="Arial" panose="020B0604020202020204" pitchFamily="34" charset="0"/>
              <a:buChar char="•"/>
              <a:tabLst/>
              <a:defRPr sz="1400"/>
            </a:lvl5pPr>
          </a:lstStyle>
          <a:p>
            <a:pPr lvl="0"/>
            <a:r>
              <a:rPr lang="en-US" dirty="0">
                <a:sym typeface="Helvetica" charset="0"/>
              </a:rPr>
              <a:t>First level</a:t>
            </a:r>
          </a:p>
          <a:p>
            <a:pPr lvl="1"/>
            <a:r>
              <a:rPr lang="en-US" dirty="0">
                <a:sym typeface="Helvetica" charset="0"/>
              </a:rPr>
              <a:t>Second level</a:t>
            </a:r>
          </a:p>
          <a:p>
            <a:pPr lvl="2"/>
            <a:r>
              <a:rPr lang="en-US" dirty="0">
                <a:sym typeface="Helvetica" charset="0"/>
              </a:rPr>
              <a:t>Third level</a:t>
            </a:r>
          </a:p>
          <a:p>
            <a:pPr lvl="3"/>
            <a:r>
              <a:rPr lang="en-US" dirty="0">
                <a:sym typeface="Helvetica" charset="0"/>
              </a:rPr>
              <a:t>Fourth level</a:t>
            </a:r>
          </a:p>
          <a:p>
            <a:pPr lvl="4"/>
            <a:r>
              <a:rPr lang="en-US" dirty="0">
                <a:sym typeface="Helvetica" charset="0"/>
              </a:rPr>
              <a:t>Fifth level</a:t>
            </a:r>
          </a:p>
        </p:txBody>
      </p:sp>
      <p:sp>
        <p:nvSpPr>
          <p:cNvPr id="4" name="Rectangle 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279704" y="764705"/>
            <a:ext cx="4905657" cy="11046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anchor="ctr"/>
          <a:lstStyle>
            <a:lvl1pPr algn="ctr">
              <a:defRPr sz="2000"/>
            </a:lvl1pPr>
          </a:lstStyle>
          <a:p>
            <a:pPr lvl="0"/>
            <a:r>
              <a:rPr lang="en-US" dirty="0">
                <a:sym typeface="Helvetica" charset="0"/>
              </a:rPr>
              <a:t>Medium Title and Bullets</a:t>
            </a:r>
          </a:p>
        </p:txBody>
      </p:sp>
    </p:spTree>
    <p:extLst>
      <p:ext uri="{BB962C8B-B14F-4D97-AF65-F5344CB8AC3E}">
        <p14:creationId xmlns:p14="http://schemas.microsoft.com/office/powerpoint/2010/main" val="2084051335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9518651" cy="777875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rgbClr val="EF263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4851755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2 text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4432" y="1125538"/>
            <a:ext cx="5472000" cy="180000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9349" y="188640"/>
            <a:ext cx="10176000" cy="10080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10"/>
          </p:nvPr>
        </p:nvSpPr>
        <p:spPr>
          <a:xfrm>
            <a:off x="334432" y="2997144"/>
            <a:ext cx="5472000" cy="180000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11"/>
          </p:nvPr>
        </p:nvSpPr>
        <p:spPr>
          <a:xfrm>
            <a:off x="334432" y="4869352"/>
            <a:ext cx="5472000" cy="1800000"/>
          </a:xfrm>
          <a:prstGeom prst="rect">
            <a:avLst/>
          </a:prstGeom>
          <a:ln w="12700">
            <a:solidFill>
              <a:srgbClr val="EF2637"/>
            </a:solidFill>
          </a:ln>
        </p:spPr>
        <p:txBody>
          <a:bodyPr tIns="324000">
            <a:normAutofit/>
          </a:bodyPr>
          <a:lstStyle>
            <a:lvl1pPr>
              <a:defRPr lang="en-US" sz="1500" b="0" noProof="0" dirty="0" smtClean="0"/>
            </a:lvl1pPr>
            <a:lvl2pPr>
              <a:defRPr lang="en-US" sz="1400" b="0" noProof="0" dirty="0" smtClean="0"/>
            </a:lvl2pPr>
            <a:lvl3pPr>
              <a:defRPr lang="en-US" sz="1400" b="0" noProof="0" dirty="0" smtClean="0"/>
            </a:lvl3pPr>
            <a:lvl4pPr>
              <a:defRPr lang="en-US" sz="1400" b="0" noProof="0" dirty="0" smtClean="0"/>
            </a:lvl4pPr>
            <a:lvl5pPr>
              <a:defRPr lang="en-GB" sz="1400" b="0" noProof="0" dirty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295467" y="1125538"/>
            <a:ext cx="4510965" cy="9144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295467" y="2988860"/>
            <a:ext cx="4510965" cy="9144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295467" y="4868750"/>
            <a:ext cx="4510965" cy="9144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1">
                <a:solidFill>
                  <a:srgbClr val="EF2637"/>
                </a:solidFill>
              </a:defRPr>
            </a:lvl1pPr>
            <a:lvl2pPr marL="457200" indent="0" algn="r">
              <a:buNone/>
              <a:defRPr sz="1600"/>
            </a:lvl2pPr>
            <a:lvl3pPr marL="914400" indent="0" algn="r">
              <a:buNone/>
              <a:defRPr sz="1600"/>
            </a:lvl3pPr>
            <a:lvl4pPr marL="1371600" indent="0" algn="r">
              <a:buNone/>
              <a:defRPr sz="1600"/>
            </a:lvl4pPr>
            <a:lvl5pPr marL="1828800" indent="0" algn="r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0625" y="-27384"/>
            <a:ext cx="5951387" cy="360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820839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074401" y="6451996"/>
            <a:ext cx="878416" cy="4060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A5A5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5C3BC01-314A-4DA7-902C-110EE6CA5F7B}" type="slidenum">
              <a:rPr lang="fr-BE"/>
              <a:pPr>
                <a:defRPr/>
              </a:pPr>
              <a:t>‹#›</a:t>
            </a:fld>
            <a:endParaRPr lang="fr-BE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9349" y="187846"/>
            <a:ext cx="10177131" cy="1008906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334433" y="1412874"/>
            <a:ext cx="11618384" cy="504031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86975608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39349" y="188640"/>
            <a:ext cx="10176000" cy="10080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0625" y="-27384"/>
            <a:ext cx="5951387" cy="360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6631449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17815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d line_1 title_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80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>
            <a:lvl2pPr marL="442913" indent="-179388">
              <a:buFont typeface="Courier New" panose="02070309020205020404" pitchFamily="49" charset="0"/>
              <a:buChar char="o"/>
              <a:defRPr/>
            </a:lvl2pPr>
            <a:lvl3pPr marL="720725" indent="-180975">
              <a:buFont typeface="Segoe UI Light" panose="020B0502040204020203" pitchFamily="34" charset="0"/>
              <a:buChar char="‐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153159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28736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1508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8F3E92-33B2-4150-BC9F-37FDDC54B7B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5791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3620362" y="0"/>
            <a:ext cx="857163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6DCE145-58A1-FEA3-D8F9-7A012C787F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9065" y="2798636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2817676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B0C668C-A6FD-FF13-B51F-050E0D938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68499" y="2862568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D097F48-C025-5387-7A51-AE8E006BDE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9065" y="3804062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CDDCEAE-382C-682B-89A8-E15E1BF77D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0000" y="3823102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A804815-3E30-D3C6-D13E-6E4E82811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68499" y="3867994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7AB0E33-C291-59CE-7217-110FCEC544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09065" y="4809488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36B68F-CD97-72F0-7BA1-90ED7DC3D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828528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E648C5D0-D132-9873-0947-0896E09B3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68499" y="4873420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6C9CE3F-D82C-DA97-5AC6-B5014A0E4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2" y="1257079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121989-3125-C78F-372F-84EB1752A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2" y="870168"/>
            <a:ext cx="2815622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PARCELS PRODUCT | CLICK &amp; COLLECT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BCA6471-582A-ECB0-7029-862282D66F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0002" y="5712648"/>
            <a:ext cx="2732806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8E37F0EA-E618-0732-38FE-AC8B4D8A46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0920" y="142875"/>
            <a:ext cx="3163917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A5C5D0F-331A-F6D2-5ACA-FCBD0F8640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62111" y="410149"/>
            <a:ext cx="2398792" cy="2076522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1BA89B4-26E3-6517-54D1-70F2143904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50" y="2101441"/>
            <a:ext cx="2728749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98035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88F8D-B026-49AE-ADC6-D0EAA90E0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C2433C-E47C-4693-92A0-2F92A554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3AAB00-41E0-4118-8183-579087B3F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D788AA-17D4-4170-9E6B-5F7A2D0B4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51096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956B4C6-E283-4F2F-9E23-1FB0A72F003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185103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8AAC0-404E-449F-8285-894567DF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12DFFBB-80C1-46EE-B94D-8B96B6A5A01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961574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_ 3 items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AC80A8-43B5-4B29-BD72-E933DC337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AC80A8-43B5-4B29-BD72-E933DC337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DD14EA3-80E7-4838-9CB3-30BAB1CFE7E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  <p:sp>
        <p:nvSpPr>
          <p:cNvPr id="16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979973" y="4012770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 dirty="0"/>
              <a:t>First point on </a:t>
            </a:r>
            <a:r>
              <a:rPr lang="nl-NL" dirty="0" err="1"/>
              <a:t>the</a:t>
            </a:r>
            <a:r>
              <a:rPr lang="nl-NL" dirty="0"/>
              <a:t> agenda </a:t>
            </a:r>
            <a:endParaRPr lang="nl-BE" dirty="0"/>
          </a:p>
        </p:txBody>
      </p:sp>
      <p:sp>
        <p:nvSpPr>
          <p:cNvPr id="18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979973" y="4836191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 dirty="0"/>
              <a:t>second point on </a:t>
            </a:r>
            <a:r>
              <a:rPr lang="nl-NL" dirty="0" err="1"/>
              <a:t>the</a:t>
            </a:r>
            <a:r>
              <a:rPr lang="nl-NL" dirty="0"/>
              <a:t> agenda </a:t>
            </a:r>
            <a:endParaRPr lang="nl-BE" dirty="0"/>
          </a:p>
        </p:txBody>
      </p:sp>
      <p:sp>
        <p:nvSpPr>
          <p:cNvPr id="19" name="Tijdelijke aanduiding voor tekst 6"/>
          <p:cNvSpPr>
            <a:spLocks noGrp="1"/>
          </p:cNvSpPr>
          <p:nvPr>
            <p:ph type="body" sz="quarter" idx="12" hasCustomPrompt="1"/>
          </p:nvPr>
        </p:nvSpPr>
        <p:spPr>
          <a:xfrm>
            <a:off x="979973" y="5729251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 dirty="0" err="1"/>
              <a:t>third</a:t>
            </a:r>
            <a:r>
              <a:rPr lang="nl-NL" dirty="0"/>
              <a:t> point on </a:t>
            </a:r>
            <a:r>
              <a:rPr lang="nl-NL" dirty="0" err="1"/>
              <a:t>the</a:t>
            </a:r>
            <a:r>
              <a:rPr lang="nl-NL" dirty="0"/>
              <a:t> agenda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8095144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26201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-1 Title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8FA5DC-941D-419E-AE48-E680EAC24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A31C6-1835-4D53-B4B7-A6F503596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E65A0-8B6C-40D3-80D6-C703B807A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214610-D04C-46DC-B3E1-9322C7825B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690688"/>
            <a:ext cx="11112500" cy="4627562"/>
          </a:xfrm>
        </p:spPr>
        <p:txBody>
          <a:bodyPr/>
          <a:lstStyle>
            <a:lvl2pPr marL="442913" indent="-179388">
              <a:buFont typeface="Courier New" panose="02070309020205020404" pitchFamily="49" charset="0"/>
              <a:buChar char="o"/>
              <a:defRPr/>
            </a:lvl2pPr>
            <a:lvl3pPr marL="720725" indent="-180975">
              <a:buFont typeface="Segoe UI Light" panose="020B0502040204020203" pitchFamily="34" charset="0"/>
              <a:buChar char="‐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431716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-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8FA5DC-941D-419E-AE48-E680EAC24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A31C6-1835-4D53-B4B7-A6F503596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E65A0-8B6C-40D3-80D6-C703B807A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750717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_1 title_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80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>
            <a:lvl2pPr marL="442913" indent="-179388">
              <a:buFont typeface="Courier New" panose="02070309020205020404" pitchFamily="49" charset="0"/>
              <a:buChar char="o"/>
              <a:defRPr/>
            </a:lvl2pPr>
            <a:lvl3pPr marL="720725" indent="-180975">
              <a:buFont typeface="Segoe UI Light" panose="020B0502040204020203" pitchFamily="34" charset="0"/>
              <a:buChar char="‐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0770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_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9483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13191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-2 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290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92930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1507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E30F41-5A6E-E7D7-C09F-0B49753127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9749" y="1055077"/>
            <a:ext cx="11112501" cy="368910"/>
          </a:xfrm>
        </p:spPr>
        <p:txBody>
          <a:bodyPr/>
          <a:lstStyle>
            <a:lvl1pPr algn="ct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555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-2 titles-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087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>
            <a:lvl2pPr marL="442913" indent="-177800">
              <a:buFont typeface="Courier New" panose="02070309020205020404" pitchFamily="49" charset="0"/>
              <a:buChar char="o"/>
              <a:defRPr/>
            </a:lvl2pPr>
            <a:lvl3pPr marL="720725" indent="-180975">
              <a:buFont typeface="Segoe UI Light" panose="020B0502040204020203" pitchFamily="34" charset="0"/>
              <a:buChar char="‐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473742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E30C89-3C36-4994-AFE1-02A244FE27A6}"/>
              </a:ext>
            </a:extLst>
          </p:cNvPr>
          <p:cNvSpPr/>
          <p:nvPr userDrawn="1"/>
        </p:nvSpPr>
        <p:spPr>
          <a:xfrm>
            <a:off x="4702629" y="1628617"/>
            <a:ext cx="7678057" cy="5229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0" y="1799999"/>
            <a:ext cx="7315200" cy="4690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49725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E30C89-3C36-4994-AFE1-02A244FE27A6}"/>
              </a:ext>
            </a:extLst>
          </p:cNvPr>
          <p:cNvSpPr/>
          <p:nvPr userDrawn="1"/>
        </p:nvSpPr>
        <p:spPr>
          <a:xfrm>
            <a:off x="4702629" y="1628617"/>
            <a:ext cx="7678057" cy="5229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0" y="2161417"/>
            <a:ext cx="7315200" cy="4329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9B6D8-6DC7-43CC-A657-AFAB0B3C3F22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t>.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483F95-3397-4587-AF43-BC9F077F6F6B}"/>
              </a:ext>
            </a:extLst>
          </p:cNvPr>
          <p:cNvSpPr/>
          <p:nvPr userDrawn="1"/>
        </p:nvSpPr>
        <p:spPr>
          <a:xfrm>
            <a:off x="467430" y="1715433"/>
            <a:ext cx="1731524" cy="389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  <a:sym typeface="Verdana"/>
              </a:rPr>
              <a:t>The Off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82329F-3A02-4AFC-9D2F-3734D1404921}"/>
              </a:ext>
            </a:extLst>
          </p:cNvPr>
          <p:cNvSpPr/>
          <p:nvPr userDrawn="1"/>
        </p:nvSpPr>
        <p:spPr>
          <a:xfrm>
            <a:off x="4876800" y="1720396"/>
            <a:ext cx="2698265" cy="389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  <a:sym typeface="Verdana"/>
              </a:rPr>
              <a:t>The Conditions</a:t>
            </a:r>
          </a:p>
        </p:txBody>
      </p:sp>
    </p:spTree>
    <p:extLst>
      <p:ext uri="{BB962C8B-B14F-4D97-AF65-F5344CB8AC3E}">
        <p14:creationId xmlns:p14="http://schemas.microsoft.com/office/powerpoint/2010/main" val="394485832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99041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8891FC6-D16D-4192-A5E5-3E9276516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795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8891FC6-D16D-4192-A5E5-3E9276516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DA22BA-10F2-48C8-9079-4682621066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9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39999" y="1072800"/>
            <a:ext cx="11111999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1799998"/>
            <a:ext cx="5466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238377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16328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0441C3-C954-4759-A16F-CD594574D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11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0441C3-C954-4759-A16F-CD594574D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E0ACA5-9C94-4ABA-9E3F-C4B26EC428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9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39999" y="1072800"/>
            <a:ext cx="11111999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1799998"/>
            <a:ext cx="5466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94760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94214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8534FA-5351-407A-A7FE-E2CCE9D157E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265174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AA0D86-3CE0-4FB8-A676-A4500D3EA39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13161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06F5B-5648-492B-B26D-DF51CC4C8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4C3DA-9ECB-4D52-85C4-2147141F6B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750" y="1849438"/>
            <a:ext cx="11112500" cy="4140200"/>
          </a:xfrm>
        </p:spPr>
        <p:txBody>
          <a:bodyPr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42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E43903-8D86-4378-B1E5-1D9AE3087BC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376120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9F71188B-9B2A-4450-8698-4599A1E66E4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43305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18659967-0EC4-48FD-B745-818BA59B88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8393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4" name="Tijdelijke aanduiding voor afbeelding 4">
            <a:extLst>
              <a:ext uri="{FF2B5EF4-FFF2-40B4-BE49-F238E27FC236}">
                <a16:creationId xmlns:a16="http://schemas.microsoft.com/office/drawing/2014/main" id="{D0D930D4-A731-41D4-A515-D488345355D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2456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</p:spTree>
    <p:extLst>
      <p:ext uri="{BB962C8B-B14F-4D97-AF65-F5344CB8AC3E}">
        <p14:creationId xmlns:p14="http://schemas.microsoft.com/office/powerpoint/2010/main" val="31569191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6BBAC931-F540-4C81-A8A9-E5BFC6A5B50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27749" y="6542765"/>
            <a:ext cx="2355251" cy="180000"/>
          </a:xfrm>
        </p:spPr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596E7D-3257-4B1A-AE67-0852F4F9C8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63000" y="6542765"/>
            <a:ext cx="5466000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C004664-D9D6-45FE-AA5E-67250510D8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915CA772-8A9A-4918-9954-46050BE3B2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43305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82DEE86-9814-4C3E-A0BC-81298755AD5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8393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4" name="Tijdelijke aanduiding voor afbeelding 4">
            <a:extLst>
              <a:ext uri="{FF2B5EF4-FFF2-40B4-BE49-F238E27FC236}">
                <a16:creationId xmlns:a16="http://schemas.microsoft.com/office/drawing/2014/main" id="{61DA5588-A183-4CE1-9733-DD86F5E744E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2456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</p:spTree>
    <p:extLst>
      <p:ext uri="{BB962C8B-B14F-4D97-AF65-F5344CB8AC3E}">
        <p14:creationId xmlns:p14="http://schemas.microsoft.com/office/powerpoint/2010/main" val="20240671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0DCDF2-C4AD-414C-A27B-9D0E94C1E68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68008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43C4-FF99-4088-BC2D-0DCFB63A2F6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41325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5985DF-3900-4E7A-B107-4D84D299E32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559444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113822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E43230-191B-4CFE-9771-B50B3D0E2C7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238054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CA10D8-787E-468F-8887-4EEEED5B0DC6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005633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A6CB67-82D6-4AB2-9988-57B62165668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89277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8325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12230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EE5C5E-542F-4869-BB88-0AA7F6CDD09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153160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918A9D-26E7-48AA-BB44-E86336848EA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316191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0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74453457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0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59137757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6781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_NL "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E5A50A-5D4D-449F-8523-F022CD09E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E5A50A-5D4D-449F-8523-F022CD09E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38AD67A-E340-4654-8D53-90EB8B2D85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725929" y="4282053"/>
            <a:ext cx="3609976" cy="377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Your name</a:t>
            </a:r>
          </a:p>
        </p:txBody>
      </p:sp>
      <p:sp>
        <p:nvSpPr>
          <p:cNvPr id="5" name="Tekstvak 4"/>
          <p:cNvSpPr txBox="1"/>
          <p:nvPr userDrawn="1"/>
        </p:nvSpPr>
        <p:spPr>
          <a:xfrm>
            <a:off x="1604582" y="3198167"/>
            <a:ext cx="3609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400" b="1" dirty="0"/>
              <a:t>Thank you</a:t>
            </a:r>
          </a:p>
        </p:txBody>
      </p:sp>
      <p:sp>
        <p:nvSpPr>
          <p:cNvPr id="6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1725927" y="4741224"/>
            <a:ext cx="3609976" cy="377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mail</a:t>
            </a:r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7199" y="5687066"/>
            <a:ext cx="489488" cy="489488"/>
          </a:xfrm>
          <a:prstGeom prst="rect">
            <a:avLst/>
          </a:prstGeom>
        </p:spPr>
      </p:pic>
      <p:sp>
        <p:nvSpPr>
          <p:cNvPr id="15" name="Tekstvak 14"/>
          <p:cNvSpPr txBox="1"/>
          <p:nvPr userDrawn="1"/>
        </p:nvSpPr>
        <p:spPr>
          <a:xfrm>
            <a:off x="1725926" y="5398243"/>
            <a:ext cx="3230122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/>
              <a:t>Discover</a:t>
            </a:r>
            <a:r>
              <a:rPr lang="nl-BE" sz="1440" b="1" baseline="0" dirty="0"/>
              <a:t> </a:t>
            </a:r>
            <a:r>
              <a:rPr lang="nl-BE" sz="1440" b="1" baseline="0" dirty="0">
                <a:solidFill>
                  <a:schemeClr val="tx1">
                    <a:lumMod val="65000"/>
                    <a:lumOff val="3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post.media</a:t>
            </a:r>
            <a:r>
              <a:rPr lang="nl-BE" sz="1440" b="1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nl-BE" sz="144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 userDrawn="1"/>
        </p:nvSpPr>
        <p:spPr>
          <a:xfrm>
            <a:off x="1725929" y="5685280"/>
            <a:ext cx="340385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 err="1"/>
              <a:t>Subscribe</a:t>
            </a:r>
            <a:r>
              <a:rPr lang="nl-BE" sz="1440" dirty="0"/>
              <a:t> </a:t>
            </a:r>
            <a:r>
              <a:rPr lang="nl-BE" sz="1440" dirty="0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 </a:t>
            </a:r>
            <a:r>
              <a:rPr lang="nl-BE" sz="1440" u="none" dirty="0" err="1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ur</a:t>
            </a:r>
            <a:r>
              <a:rPr lang="nl-BE" sz="1440" u="none" dirty="0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news</a:t>
            </a:r>
            <a:endParaRPr lang="nl-BE" sz="1440" u="non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7" name="Afbeelding 16">
            <a:hlinkClick r:id="rId10"/>
          </p:cNvPr>
          <p:cNvPicPr>
            <a:picLocks noChangeAspect="1"/>
          </p:cNvPicPr>
          <p:nvPr userDrawn="1"/>
        </p:nvPicPr>
        <p:blipFill rotWithShape="1">
          <a:blip r:embed="rId11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7623" y="6246276"/>
            <a:ext cx="254282" cy="361514"/>
          </a:xfrm>
          <a:prstGeom prst="rect">
            <a:avLst/>
          </a:prstGeom>
        </p:spPr>
      </p:pic>
      <p:pic>
        <p:nvPicPr>
          <p:cNvPr id="18" name="Afbeelding 17">
            <a:hlinkClick r:id="rId12"/>
          </p:cNvPr>
          <p:cNvPicPr>
            <a:picLocks noChangeAspect="1"/>
          </p:cNvPicPr>
          <p:nvPr userDrawn="1"/>
        </p:nvPicPr>
        <p:blipFill rotWithShape="1">
          <a:blip r:embed="rId1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>
          <a:xfrm>
            <a:off x="2926558" y="6246281"/>
            <a:ext cx="266687" cy="361512"/>
          </a:xfrm>
          <a:prstGeom prst="rect">
            <a:avLst/>
          </a:prstGeom>
        </p:spPr>
      </p:pic>
      <p:pic>
        <p:nvPicPr>
          <p:cNvPr id="19" name="Afbeelding 18">
            <a:hlinkClick r:id="rId14"/>
          </p:cNvPr>
          <p:cNvPicPr>
            <a:picLocks noChangeAspect="1"/>
          </p:cNvPicPr>
          <p:nvPr userDrawn="1"/>
        </p:nvPicPr>
        <p:blipFill rotWithShape="1">
          <a:blip r:embed="rId15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0873" y="6246281"/>
            <a:ext cx="317394" cy="361512"/>
          </a:xfrm>
          <a:prstGeom prst="rect">
            <a:avLst/>
          </a:prstGeom>
        </p:spPr>
      </p:pic>
      <p:sp>
        <p:nvSpPr>
          <p:cNvPr id="20" name="Tekstvak 19"/>
          <p:cNvSpPr txBox="1"/>
          <p:nvPr userDrawn="1"/>
        </p:nvSpPr>
        <p:spPr>
          <a:xfrm>
            <a:off x="1725926" y="5954957"/>
            <a:ext cx="3541018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/>
              <a:t>Register</a:t>
            </a:r>
            <a:r>
              <a:rPr lang="nl-BE" sz="1440" dirty="0"/>
              <a:t> </a:t>
            </a:r>
            <a:r>
              <a:rPr lang="nl-BE" sz="1440" dirty="0">
                <a:solidFill>
                  <a:schemeClr val="tx1">
                    <a:lumMod val="65000"/>
                    <a:lumOff val="35000"/>
                  </a:schemeClr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</a:t>
            </a:r>
            <a:r>
              <a:rPr lang="nl-BE" sz="1440" u="none" dirty="0">
                <a:solidFill>
                  <a:schemeClr val="tx1">
                    <a:lumMod val="65000"/>
                    <a:lumOff val="35000"/>
                  </a:schemeClr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rkle magazine</a:t>
            </a:r>
            <a:endParaRPr lang="nl-BE" sz="1440" u="non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Tekstvak 20"/>
          <p:cNvSpPr txBox="1"/>
          <p:nvPr userDrawn="1"/>
        </p:nvSpPr>
        <p:spPr>
          <a:xfrm>
            <a:off x="1725929" y="6241993"/>
            <a:ext cx="1200629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/>
              <a:t>Follow </a:t>
            </a:r>
            <a:r>
              <a:rPr lang="nl-BE" sz="1440" b="1" dirty="0" err="1"/>
              <a:t>us</a:t>
            </a:r>
            <a:endParaRPr lang="nl-BE" sz="1440" u="none" dirty="0"/>
          </a:p>
        </p:txBody>
      </p:sp>
    </p:spTree>
    <p:extLst>
      <p:ext uri="{BB962C8B-B14F-4D97-AF65-F5344CB8AC3E}">
        <p14:creationId xmlns:p14="http://schemas.microsoft.com/office/powerpoint/2010/main" val="93169977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sion slides _ 3 imag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4"/>
          <p:cNvSpPr>
            <a:spLocks noGrp="1"/>
          </p:cNvSpPr>
          <p:nvPr>
            <p:ph type="pic" sz="quarter" idx="13" hasCustomPrompt="1"/>
          </p:nvPr>
        </p:nvSpPr>
        <p:spPr>
          <a:xfrm>
            <a:off x="812160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5" name="Tijdelijke aanduiding voor afbeelding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7" name="Tijdelijke aanduiding voor afbeelding 4"/>
          <p:cNvSpPr>
            <a:spLocks noGrp="1"/>
          </p:cNvSpPr>
          <p:nvPr>
            <p:ph type="pic" sz="quarter" idx="12" hasCustomPrompt="1"/>
          </p:nvPr>
        </p:nvSpPr>
        <p:spPr>
          <a:xfrm>
            <a:off x="406080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1194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without circle _ title +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385009" y="6351106"/>
            <a:ext cx="399698" cy="240066"/>
          </a:xfrm>
          <a:prstGeom prst="rect">
            <a:avLst/>
          </a:prstGeom>
        </p:spPr>
        <p:txBody>
          <a:bodyPr vert="horz" lIns="0" tIns="45720" rIns="0" bIns="45720" rtlCol="0" anchor="ctr">
            <a:spAutoFit/>
          </a:bodyPr>
          <a:lstStyle>
            <a:lvl1pPr algn="ctr">
              <a:defRPr sz="960" b="0" i="0">
                <a:solidFill>
                  <a:srgbClr val="3C525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722C0783-541A-6B44-A9C1-3DE573A34C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68998" y="1522033"/>
            <a:ext cx="10373604" cy="5090263"/>
          </a:xfrm>
          <a:prstGeom prst="rect">
            <a:avLst/>
          </a:prstGeom>
        </p:spPr>
        <p:txBody>
          <a:bodyPr vert="horz" lIns="72000" tIns="45720" rIns="91440" bIns="45720"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475617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_ 1 circle _ title + text in 2 colum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385009" y="6351106"/>
            <a:ext cx="399698" cy="240066"/>
          </a:xfrm>
          <a:prstGeom prst="rect">
            <a:avLst/>
          </a:prstGeom>
        </p:spPr>
        <p:txBody>
          <a:bodyPr vert="horz" lIns="0" tIns="45720" rIns="0" bIns="45720" rtlCol="0" anchor="ctr">
            <a:spAutoFit/>
          </a:bodyPr>
          <a:lstStyle>
            <a:lvl1pPr algn="ctr">
              <a:defRPr sz="960" b="0" i="0">
                <a:solidFill>
                  <a:srgbClr val="3C525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722C0783-541A-6B44-A9C1-3DE573A34C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486373" y="2214072"/>
            <a:ext cx="4966207" cy="43982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20"/>
            </a:lvl1pPr>
            <a:lvl2pPr>
              <a:defRPr sz="1680"/>
            </a:lvl2pPr>
            <a:lvl3pPr>
              <a:defRPr sz="1440"/>
            </a:lvl3pPr>
            <a:lvl4pPr>
              <a:defRPr sz="1200"/>
            </a:lvl4pPr>
            <a:lvl5pPr marL="2438328" indent="0">
              <a:buNone/>
              <a:defRPr sz="14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999" y="1522034"/>
            <a:ext cx="4965700" cy="469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  <a:endParaRPr lang="en-GB" dirty="0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875017" y="2214072"/>
            <a:ext cx="4966207" cy="439822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920"/>
            </a:lvl1pPr>
            <a:lvl2pPr>
              <a:defRPr sz="1680"/>
            </a:lvl2pPr>
            <a:lvl3pPr>
              <a:defRPr sz="1440"/>
            </a:lvl3pPr>
            <a:lvl4pPr>
              <a:defRPr sz="1200"/>
            </a:lvl4pPr>
            <a:lvl5pPr>
              <a:defRPr sz="146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875017" y="1522034"/>
            <a:ext cx="4965700" cy="4699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9255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9C45919-4D6F-4C0E-BFC5-33F1A1AFED1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4763" y="-1588"/>
            <a:ext cx="12196763" cy="2382838"/>
          </a:xfrm>
          <a:solidFill>
            <a:schemeClr val="bg2"/>
          </a:solidFill>
        </p:spPr>
        <p:txBody>
          <a:bodyPr anchor="ctr" anchorCtr="1"/>
          <a:lstStyle>
            <a:lvl1pPr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CAEAD5-3C3F-DE5D-5399-F5416B98A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577" y="1317861"/>
            <a:ext cx="3642222" cy="841944"/>
          </a:xfrm>
        </p:spPr>
        <p:txBody>
          <a:bodyPr anchor="b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oduct stories </a:t>
            </a:r>
            <a:br>
              <a:rPr lang="en-US" dirty="0"/>
            </a:br>
            <a:r>
              <a:rPr lang="en-US" dirty="0"/>
              <a:t>“</a:t>
            </a:r>
            <a:r>
              <a:rPr lang="en-US" dirty="0" err="1"/>
              <a:t>xxxxxxx</a:t>
            </a:r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77609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399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0" y="6404736"/>
            <a:ext cx="11328401" cy="192617"/>
          </a:xfrm>
        </p:spPr>
        <p:txBody>
          <a:bodyPr tIns="0" bIns="36007" anchor="b" anchorCtr="0">
            <a:noAutofit/>
          </a:bodyPr>
          <a:lstStyle>
            <a:lvl1pPr marL="0" marR="0" indent="0" algn="l" defTabSz="12190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6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38090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74921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618024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8F3E92-33B2-4150-BC9F-37FDDC54B7B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320350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88F8D-B026-49AE-ADC6-D0EAA90E0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C2433C-E47C-4693-92A0-2F92A554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3AAB00-41E0-4118-8183-579087B3F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D788AA-17D4-4170-9E6B-5F7A2D0B4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974699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956B4C6-E283-4F2F-9E23-1FB0A72F003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1457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8AAC0-404E-449F-8285-894567DF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12DFFBB-80C1-46EE-B94D-8B96B6A5A01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941805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_ 3 items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AC80A8-43B5-4B29-BD72-E933DC337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AC80A8-43B5-4B29-BD72-E933DC337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DD14EA3-80E7-4838-9CB3-30BAB1CFE7E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  <p:sp>
        <p:nvSpPr>
          <p:cNvPr id="16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979973" y="4012770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 dirty="0"/>
              <a:t>First point on </a:t>
            </a:r>
            <a:r>
              <a:rPr lang="nl-NL" dirty="0" err="1"/>
              <a:t>the</a:t>
            </a:r>
            <a:r>
              <a:rPr lang="nl-NL" dirty="0"/>
              <a:t> agenda </a:t>
            </a:r>
            <a:endParaRPr lang="nl-BE" dirty="0"/>
          </a:p>
        </p:txBody>
      </p:sp>
      <p:sp>
        <p:nvSpPr>
          <p:cNvPr id="18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979973" y="4836191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 dirty="0"/>
              <a:t>second point on </a:t>
            </a:r>
            <a:r>
              <a:rPr lang="nl-NL" dirty="0" err="1"/>
              <a:t>the</a:t>
            </a:r>
            <a:r>
              <a:rPr lang="nl-NL" dirty="0"/>
              <a:t> agenda </a:t>
            </a:r>
            <a:endParaRPr lang="nl-BE" dirty="0"/>
          </a:p>
        </p:txBody>
      </p:sp>
      <p:sp>
        <p:nvSpPr>
          <p:cNvPr id="19" name="Tijdelijke aanduiding voor tekst 6"/>
          <p:cNvSpPr>
            <a:spLocks noGrp="1"/>
          </p:cNvSpPr>
          <p:nvPr>
            <p:ph type="body" sz="quarter" idx="12" hasCustomPrompt="1"/>
          </p:nvPr>
        </p:nvSpPr>
        <p:spPr>
          <a:xfrm>
            <a:off x="979973" y="5729251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 dirty="0" err="1"/>
              <a:t>third</a:t>
            </a:r>
            <a:r>
              <a:rPr lang="nl-NL" dirty="0"/>
              <a:t> point on </a:t>
            </a:r>
            <a:r>
              <a:rPr lang="nl-NL" dirty="0" err="1"/>
              <a:t>the</a:t>
            </a:r>
            <a:r>
              <a:rPr lang="nl-NL" dirty="0"/>
              <a:t> agenda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2166583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613984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-1 Title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8FA5DC-941D-419E-AE48-E680EAC24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A31C6-1835-4D53-B4B7-A6F503596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E65A0-8B6C-40D3-80D6-C703B807A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214610-D04C-46DC-B3E1-9322C7825B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690688"/>
            <a:ext cx="11112500" cy="4627562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394634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00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3BC894B-5CA4-0CFA-546F-9415A052B9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0956" y="1056648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41476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-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8FA5DC-941D-419E-AE48-E680EAC24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A31C6-1835-4D53-B4B7-A6F503596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E65A0-8B6C-40D3-80D6-C703B807A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93935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_1 title_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8961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_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06291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-2 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729713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-2 titles-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174007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E30C89-3C36-4994-AFE1-02A244FE27A6}"/>
              </a:ext>
            </a:extLst>
          </p:cNvPr>
          <p:cNvSpPr/>
          <p:nvPr userDrawn="1"/>
        </p:nvSpPr>
        <p:spPr>
          <a:xfrm>
            <a:off x="4702629" y="1628617"/>
            <a:ext cx="7678057" cy="5229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0" y="1799999"/>
            <a:ext cx="7315200" cy="469094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93256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E30C89-3C36-4994-AFE1-02A244FE27A6}"/>
              </a:ext>
            </a:extLst>
          </p:cNvPr>
          <p:cNvSpPr/>
          <p:nvPr userDrawn="1"/>
        </p:nvSpPr>
        <p:spPr>
          <a:xfrm>
            <a:off x="4702629" y="1628617"/>
            <a:ext cx="7678057" cy="5229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0" y="2161417"/>
            <a:ext cx="7315200" cy="432953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9B6D8-6DC7-43CC-A657-AFAB0B3C3F22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t>.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483F95-3397-4587-AF43-BC9F077F6F6B}"/>
              </a:ext>
            </a:extLst>
          </p:cNvPr>
          <p:cNvSpPr/>
          <p:nvPr userDrawn="1"/>
        </p:nvSpPr>
        <p:spPr>
          <a:xfrm>
            <a:off x="467430" y="1715433"/>
            <a:ext cx="1731524" cy="389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  <a:sym typeface="Verdana"/>
              </a:rPr>
              <a:t>The Off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82329F-3A02-4AFC-9D2F-3734D1404921}"/>
              </a:ext>
            </a:extLst>
          </p:cNvPr>
          <p:cNvSpPr/>
          <p:nvPr userDrawn="1"/>
        </p:nvSpPr>
        <p:spPr>
          <a:xfrm>
            <a:off x="4876800" y="1720396"/>
            <a:ext cx="2698265" cy="389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  <a:sym typeface="Verdana"/>
              </a:rPr>
              <a:t>The Conditions</a:t>
            </a:r>
          </a:p>
        </p:txBody>
      </p:sp>
    </p:spTree>
    <p:extLst>
      <p:ext uri="{BB962C8B-B14F-4D97-AF65-F5344CB8AC3E}">
        <p14:creationId xmlns:p14="http://schemas.microsoft.com/office/powerpoint/2010/main" val="23434537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484611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8891FC6-D16D-4192-A5E5-3E9276516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8891FC6-D16D-4192-A5E5-3E9276516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DA22BA-10F2-48C8-9079-4682621066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9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39999" y="1072800"/>
            <a:ext cx="11111999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1799998"/>
            <a:ext cx="5466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017530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0300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-2 afgronde ho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3512786" y="0"/>
            <a:ext cx="8679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8" cy="5771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6DCE145-58A1-FEA3-D8F9-7A012C787F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7350" y="1904924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C562229-0F7C-313A-4A7A-00E9E9D8A8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497794"/>
            <a:ext cx="7366870" cy="215153"/>
          </a:xfrm>
          <a:prstGeom prst="roundRect">
            <a:avLst>
              <a:gd name="adj" fmla="val 50000"/>
            </a:avLst>
          </a:prstGeom>
          <a:solidFill>
            <a:srgbClr val="F9F9F9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rend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2FB0573-1F61-71A0-E58E-23CE875CBC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66663" y="1497794"/>
            <a:ext cx="3685335" cy="21515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Implications for you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904924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20EB5D6-EA1E-8206-4A24-840976910D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4929" y="1904924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B0C668C-A6FD-FF13-B51F-050E0D938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6785" y="2184009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D097F48-C025-5387-7A51-AE8E006BDE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97350" y="3307556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CDDCEAE-382C-682B-89A8-E15E1BF77D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0000" y="3307556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20E2624-5CDC-41AC-D41D-4668EE3D38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94929" y="3307556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A804815-3E30-D3C6-D13E-6E4E82811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56785" y="3586641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7AB0E33-C291-59CE-7217-110FCEC544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97350" y="4710187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36B68F-CD97-72F0-7BA1-90ED7DC3D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710187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8E99EC5-74A2-023C-3FB9-66021865A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94929" y="4710187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E648C5D0-D132-9873-0947-0896E09B3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6785" y="4989272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</p:spTree>
    <p:extLst>
      <p:ext uri="{BB962C8B-B14F-4D97-AF65-F5344CB8AC3E}">
        <p14:creationId xmlns:p14="http://schemas.microsoft.com/office/powerpoint/2010/main" val="390675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84CC9C7-766F-F1BC-53AC-D8ACA8D3D8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7099" y="1114736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01734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0441C3-C954-4759-A16F-CD594574D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0441C3-C954-4759-A16F-CD594574D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E0ACA5-9C94-4ABA-9E3F-C4B26EC428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9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39999" y="1072800"/>
            <a:ext cx="11111999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1799998"/>
            <a:ext cx="5466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369695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324267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8534FA-5351-407A-A7FE-E2CCE9D157E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834639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AA0D86-3CE0-4FB8-A676-A4500D3EA39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905438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E43903-8D86-4378-B1E5-1D9AE3087BC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554920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9F71188B-9B2A-4450-8698-4599A1E66E4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43305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18659967-0EC4-48FD-B745-818BA59B88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8393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4" name="Tijdelijke aanduiding voor afbeelding 4">
            <a:extLst>
              <a:ext uri="{FF2B5EF4-FFF2-40B4-BE49-F238E27FC236}">
                <a16:creationId xmlns:a16="http://schemas.microsoft.com/office/drawing/2014/main" id="{D0D930D4-A731-41D4-A515-D488345355D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2456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</p:spTree>
    <p:extLst>
      <p:ext uri="{BB962C8B-B14F-4D97-AF65-F5344CB8AC3E}">
        <p14:creationId xmlns:p14="http://schemas.microsoft.com/office/powerpoint/2010/main" val="224975474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6BBAC931-F540-4C81-A8A9-E5BFC6A5B50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27749" y="6542765"/>
            <a:ext cx="2355251" cy="180000"/>
          </a:xfrm>
        </p:spPr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596E7D-3257-4B1A-AE67-0852F4F9C8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63000" y="6542765"/>
            <a:ext cx="5466000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C004664-D9D6-45FE-AA5E-67250510D8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915CA772-8A9A-4918-9954-46050BE3B2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43305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82DEE86-9814-4C3E-A0BC-81298755AD5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8393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14" name="Tijdelijke aanduiding voor afbeelding 4">
            <a:extLst>
              <a:ext uri="{FF2B5EF4-FFF2-40B4-BE49-F238E27FC236}">
                <a16:creationId xmlns:a16="http://schemas.microsoft.com/office/drawing/2014/main" id="{61DA5588-A183-4CE1-9733-DD86F5E744E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2456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</p:spTree>
    <p:extLst>
      <p:ext uri="{BB962C8B-B14F-4D97-AF65-F5344CB8AC3E}">
        <p14:creationId xmlns:p14="http://schemas.microsoft.com/office/powerpoint/2010/main" val="291962911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0DCDF2-C4AD-414C-A27B-9D0E94C1E68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44537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43C4-FF99-4088-BC2D-0DCFB63A2F6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2389032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5985DF-3900-4E7A-B107-4D84D299E32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23308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8F3E92-33B2-4150-BC9F-37FDDC54B7B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5CA0587-D91B-7D73-6783-B9D1DC08D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5080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786669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E43230-191B-4CFE-9771-B50B3D0E2C7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824319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CA10D8-787E-468F-8887-4EEEED5B0DC6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86748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A6CB67-82D6-4AB2-9988-57B62165668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198890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639703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EE5C5E-542F-4869-BB88-0AA7F6CDD09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34053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918A9D-26E7-48AA-BB44-E86336848EA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34830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0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27287758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0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98677280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8442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956B4C6-E283-4F2F-9E23-1FB0A72F003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991E4FD-E1D9-41D4-3F90-9E93F0A7E7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7220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_NL "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E5A50A-5D4D-449F-8523-F022CD09E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E5A50A-5D4D-449F-8523-F022CD09E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38AD67A-E340-4654-8D53-90EB8B2D85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dirty="0" err="1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725929" y="4282053"/>
            <a:ext cx="3609976" cy="377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Your name</a:t>
            </a:r>
          </a:p>
        </p:txBody>
      </p:sp>
      <p:sp>
        <p:nvSpPr>
          <p:cNvPr id="5" name="Tekstvak 4"/>
          <p:cNvSpPr txBox="1"/>
          <p:nvPr userDrawn="1"/>
        </p:nvSpPr>
        <p:spPr>
          <a:xfrm>
            <a:off x="1604582" y="3198167"/>
            <a:ext cx="3609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400" b="1" dirty="0"/>
              <a:t>Thank you</a:t>
            </a:r>
          </a:p>
        </p:txBody>
      </p:sp>
      <p:sp>
        <p:nvSpPr>
          <p:cNvPr id="6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1725927" y="4741224"/>
            <a:ext cx="3609976" cy="377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 dirty="0"/>
              <a:t>Email</a:t>
            </a:r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7199" y="5687066"/>
            <a:ext cx="489488" cy="489488"/>
          </a:xfrm>
          <a:prstGeom prst="rect">
            <a:avLst/>
          </a:prstGeom>
        </p:spPr>
      </p:pic>
      <p:sp>
        <p:nvSpPr>
          <p:cNvPr id="15" name="Tekstvak 14"/>
          <p:cNvSpPr txBox="1"/>
          <p:nvPr userDrawn="1"/>
        </p:nvSpPr>
        <p:spPr>
          <a:xfrm>
            <a:off x="1725926" y="5398243"/>
            <a:ext cx="3230122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/>
              <a:t>Discover</a:t>
            </a:r>
            <a:r>
              <a:rPr lang="nl-BE" sz="1440" b="1" baseline="0" dirty="0"/>
              <a:t> </a:t>
            </a:r>
            <a:r>
              <a:rPr lang="nl-BE" sz="1440" b="1" baseline="0" dirty="0">
                <a:solidFill>
                  <a:schemeClr val="tx1">
                    <a:lumMod val="65000"/>
                    <a:lumOff val="3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post.media</a:t>
            </a:r>
            <a:r>
              <a:rPr lang="nl-BE" sz="1440" b="1" baseline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nl-BE" sz="144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 userDrawn="1"/>
        </p:nvSpPr>
        <p:spPr>
          <a:xfrm>
            <a:off x="1725929" y="5685280"/>
            <a:ext cx="340385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 err="1"/>
              <a:t>Subscribe</a:t>
            </a:r>
            <a:r>
              <a:rPr lang="nl-BE" sz="1440" dirty="0"/>
              <a:t> </a:t>
            </a:r>
            <a:r>
              <a:rPr lang="nl-BE" sz="1440" dirty="0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 </a:t>
            </a:r>
            <a:r>
              <a:rPr lang="nl-BE" sz="1440" u="none" dirty="0" err="1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ur</a:t>
            </a:r>
            <a:r>
              <a:rPr lang="nl-BE" sz="1440" u="none" dirty="0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news</a:t>
            </a:r>
            <a:endParaRPr lang="nl-BE" sz="1440" u="non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7" name="Afbeelding 16">
            <a:hlinkClick r:id="rId10"/>
          </p:cNvPr>
          <p:cNvPicPr>
            <a:picLocks noChangeAspect="1"/>
          </p:cNvPicPr>
          <p:nvPr userDrawn="1"/>
        </p:nvPicPr>
        <p:blipFill rotWithShape="1">
          <a:blip r:embed="rId11" cstate="hq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985" r="70548" b="12546"/>
          <a:stretch/>
        </p:blipFill>
        <p:spPr>
          <a:xfrm>
            <a:off x="3607623" y="6246276"/>
            <a:ext cx="254282" cy="361514"/>
          </a:xfrm>
          <a:prstGeom prst="rect">
            <a:avLst/>
          </a:prstGeom>
        </p:spPr>
      </p:pic>
      <p:pic>
        <p:nvPicPr>
          <p:cNvPr id="18" name="Afbeelding 17">
            <a:hlinkClick r:id="rId12"/>
          </p:cNvPr>
          <p:cNvPicPr>
            <a:picLocks noChangeAspect="1"/>
          </p:cNvPicPr>
          <p:nvPr userDrawn="1"/>
        </p:nvPicPr>
        <p:blipFill rotWithShape="1">
          <a:blip r:embed="rId11" cstate="hq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9164" t="26025" r="-1" b="12608"/>
          <a:stretch/>
        </p:blipFill>
        <p:spPr>
          <a:xfrm>
            <a:off x="2926558" y="6246281"/>
            <a:ext cx="266687" cy="361512"/>
          </a:xfrm>
          <a:prstGeom prst="rect">
            <a:avLst/>
          </a:prstGeom>
        </p:spPr>
      </p:pic>
      <p:pic>
        <p:nvPicPr>
          <p:cNvPr id="19" name="Afbeelding 18">
            <a:hlinkClick r:id="rId13"/>
          </p:cNvPr>
          <p:cNvPicPr>
            <a:picLocks noChangeAspect="1"/>
          </p:cNvPicPr>
          <p:nvPr userDrawn="1"/>
        </p:nvPicPr>
        <p:blipFill rotWithShape="1">
          <a:blip r:embed="rId14" cstate="hq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494" t="25985" r="30746" b="12546"/>
          <a:stretch/>
        </p:blipFill>
        <p:spPr>
          <a:xfrm>
            <a:off x="3250873" y="6246281"/>
            <a:ext cx="317394" cy="361512"/>
          </a:xfrm>
          <a:prstGeom prst="rect">
            <a:avLst/>
          </a:prstGeom>
        </p:spPr>
      </p:pic>
      <p:sp>
        <p:nvSpPr>
          <p:cNvPr id="20" name="Tekstvak 19"/>
          <p:cNvSpPr txBox="1"/>
          <p:nvPr userDrawn="1"/>
        </p:nvSpPr>
        <p:spPr>
          <a:xfrm>
            <a:off x="1725926" y="5954957"/>
            <a:ext cx="3541018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/>
              <a:t>Register</a:t>
            </a:r>
            <a:r>
              <a:rPr lang="nl-BE" sz="1440" dirty="0"/>
              <a:t> </a:t>
            </a:r>
            <a:r>
              <a:rPr lang="nl-BE" sz="1440" dirty="0">
                <a:solidFill>
                  <a:schemeClr val="tx1">
                    <a:lumMod val="65000"/>
                    <a:lumOff val="35000"/>
                  </a:schemeClr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</a:t>
            </a:r>
            <a:r>
              <a:rPr lang="nl-BE" sz="1440" u="none" dirty="0">
                <a:solidFill>
                  <a:schemeClr val="tx1">
                    <a:lumMod val="65000"/>
                    <a:lumOff val="35000"/>
                  </a:schemeClr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rkle magazine</a:t>
            </a:r>
            <a:endParaRPr lang="nl-BE" sz="1440" u="non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Tekstvak 20"/>
          <p:cNvSpPr txBox="1"/>
          <p:nvPr userDrawn="1"/>
        </p:nvSpPr>
        <p:spPr>
          <a:xfrm>
            <a:off x="1725929" y="6241993"/>
            <a:ext cx="1200629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dirty="0"/>
              <a:t>Follow </a:t>
            </a:r>
            <a:r>
              <a:rPr lang="nl-BE" sz="1440" b="1" dirty="0" err="1"/>
              <a:t>us</a:t>
            </a:r>
            <a:endParaRPr lang="nl-BE" sz="1440" u="none" dirty="0"/>
          </a:p>
        </p:txBody>
      </p:sp>
    </p:spTree>
    <p:extLst>
      <p:ext uri="{BB962C8B-B14F-4D97-AF65-F5344CB8AC3E}">
        <p14:creationId xmlns:p14="http://schemas.microsoft.com/office/powerpoint/2010/main" val="268260007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sion slides _ 3 imag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4"/>
          <p:cNvSpPr>
            <a:spLocks noGrp="1"/>
          </p:cNvSpPr>
          <p:nvPr>
            <p:ph type="pic" sz="quarter" idx="13" hasCustomPrompt="1"/>
          </p:nvPr>
        </p:nvSpPr>
        <p:spPr>
          <a:xfrm>
            <a:off x="812160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5" name="Tijdelijke aanduiding voor afbeelding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7" name="Tijdelijke aanduiding voor afbeelding 4"/>
          <p:cNvSpPr>
            <a:spLocks noGrp="1"/>
          </p:cNvSpPr>
          <p:nvPr>
            <p:ph type="pic" sz="quarter" idx="12" hasCustomPrompt="1"/>
          </p:nvPr>
        </p:nvSpPr>
        <p:spPr>
          <a:xfrm>
            <a:off x="406080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dirty="0" err="1"/>
              <a:t>Drag</a:t>
            </a:r>
            <a:r>
              <a:rPr lang="nl-BE" dirty="0"/>
              <a:t> &amp; drop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77005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without circle _ title +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385009" y="6351106"/>
            <a:ext cx="399698" cy="240066"/>
          </a:xfrm>
          <a:prstGeom prst="rect">
            <a:avLst/>
          </a:prstGeom>
        </p:spPr>
        <p:txBody>
          <a:bodyPr vert="horz" lIns="0" tIns="45720" rIns="0" bIns="45720" rtlCol="0" anchor="ctr">
            <a:spAutoFit/>
          </a:bodyPr>
          <a:lstStyle>
            <a:lvl1pPr algn="ctr">
              <a:defRPr sz="960" b="0" i="0">
                <a:solidFill>
                  <a:srgbClr val="3C525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722C0783-541A-6B44-A9C1-3DE573A34C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68998" y="1522033"/>
            <a:ext cx="10373604" cy="5090263"/>
          </a:xfrm>
          <a:prstGeom prst="rect">
            <a:avLst/>
          </a:prstGeom>
        </p:spPr>
        <p:txBody>
          <a:bodyPr vert="horz" lIns="72000" tIns="45720" rIns="91440" bIns="45720"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646386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Date Placeholder 9">
            <a:extLst>
              <a:ext uri="{FF2B5EF4-FFF2-40B4-BE49-F238E27FC236}">
                <a16:creationId xmlns:a16="http://schemas.microsoft.com/office/drawing/2014/main" id="{7F1CA21B-62CF-4869-8908-F2C3FFBA4CEF}"/>
              </a:ext>
            </a:extLst>
          </p:cNvPr>
          <p:cNvSpPr txBox="1">
            <a:spLocks/>
          </p:cNvSpPr>
          <p:nvPr userDrawn="1"/>
        </p:nvSpPr>
        <p:spPr>
          <a:xfrm>
            <a:off x="9277414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EE5C5E-542F-4869-BB88-0AA7F6CDD091}" type="datetime4">
              <a:rPr lang="en-GB" smtClean="0">
                <a:solidFill>
                  <a:schemeClr val="tx2"/>
                </a:solidFill>
              </a:rPr>
              <a:pPr/>
              <a:t>13 September 2023</a:t>
            </a:fld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E6971D64-0696-41C1-BB30-7F4A442D54D8}"/>
              </a:ext>
            </a:extLst>
          </p:cNvPr>
          <p:cNvSpPr txBox="1">
            <a:spLocks/>
          </p:cNvSpPr>
          <p:nvPr userDrawn="1"/>
        </p:nvSpPr>
        <p:spPr>
          <a:xfrm>
            <a:off x="8989414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4C8C45C-947F-4981-8B3F-4F32E973C901}" type="slidenum">
              <a:rPr lang="en-GB" smtClean="0">
                <a:solidFill>
                  <a:schemeClr val="tx2"/>
                </a:solidFill>
              </a:rPr>
              <a:pPr algn="l"/>
              <a:t>‹#›</a:t>
            </a:fld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73091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A31C6-1835-4D53-B4B7-A6F503596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214610-D04C-46DC-B3E1-9322C7825B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690688"/>
            <a:ext cx="11112500" cy="4627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8731C30-4FC3-4CA4-8495-8BBFA28C7387}"/>
              </a:ext>
            </a:extLst>
          </p:cNvPr>
          <p:cNvSpPr txBox="1">
            <a:spLocks/>
          </p:cNvSpPr>
          <p:nvPr userDrawn="1"/>
        </p:nvSpPr>
        <p:spPr>
          <a:xfrm>
            <a:off x="9277414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2EE5C5E-542F-4869-BB88-0AA7F6CDD091}" type="datetime4">
              <a:rPr lang="en-GB" smtClean="0">
                <a:solidFill>
                  <a:schemeClr val="tx2"/>
                </a:solidFill>
              </a:rPr>
              <a:pPr/>
              <a:t>13 September 2023</a:t>
            </a:fld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D5E95160-8EE9-48D2-A7DC-9ECAF65B341C}"/>
              </a:ext>
            </a:extLst>
          </p:cNvPr>
          <p:cNvSpPr txBox="1">
            <a:spLocks/>
          </p:cNvSpPr>
          <p:nvPr userDrawn="1"/>
        </p:nvSpPr>
        <p:spPr>
          <a:xfrm>
            <a:off x="8989414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24C8C45C-947F-4981-8B3F-4F32E973C901}" type="slidenum">
              <a:rPr lang="en-GB" smtClean="0">
                <a:solidFill>
                  <a:schemeClr val="tx2"/>
                </a:solidFill>
              </a:rPr>
              <a:pPr algn="l"/>
              <a:t>‹#›</a:t>
            </a:fld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28712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BASE F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800000"/>
            <a:ext cx="2643000" cy="212137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800000"/>
            <a:ext cx="2643000" cy="212137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800000"/>
            <a:ext cx="2643000" cy="212137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212137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22349" y="1058400"/>
            <a:ext cx="2643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endParaRPr lang="en-GB" dirty="0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C7808F1A-40F5-46ED-8E7F-424F753283A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2349" y="4369578"/>
            <a:ext cx="2643000" cy="212137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78A01244-0AA9-4A61-B9DD-E38E8D11ECD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3000" y="4369578"/>
            <a:ext cx="2643000" cy="212137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3156518C-1464-4F4F-A35A-24A75474592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86000" y="4369578"/>
            <a:ext cx="2643000" cy="212137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08EA4507-EF9C-4CD7-89B0-93A200F3868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15742" y="4366195"/>
            <a:ext cx="2643000" cy="212137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756302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2109599"/>
            <a:ext cx="2643000" cy="183855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2128423"/>
            <a:ext cx="2643001" cy="183855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A136469-4F64-4C04-9EA1-3A625FE019F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363000" y="4481015"/>
            <a:ext cx="2643000" cy="183855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 dirty="0"/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804BC0FF-EC47-4E02-ACEA-3CF9D9541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6000" y="4479449"/>
            <a:ext cx="2643000" cy="183855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58380EB8-DE49-4E21-8B48-4A82B338A7B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09000" y="4518597"/>
            <a:ext cx="2643001" cy="183855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82075A43-D2A4-4885-882C-13DD87D521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62325" y="1800225"/>
            <a:ext cx="2643188" cy="2457450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25680116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746D520-4915-8B27-0C6C-9A89B57E8AFC}"/>
              </a:ext>
            </a:extLst>
          </p:cNvPr>
          <p:cNvSpPr/>
          <p:nvPr userDrawn="1"/>
        </p:nvSpPr>
        <p:spPr>
          <a:xfrm>
            <a:off x="539750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0F8D105-F899-B92B-8E63-0FFC2E24E47A}"/>
              </a:ext>
            </a:extLst>
          </p:cNvPr>
          <p:cNvSpPr/>
          <p:nvPr userDrawn="1"/>
        </p:nvSpPr>
        <p:spPr>
          <a:xfrm>
            <a:off x="4304927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EC31372-3851-CE93-3CF7-E2DE058A58AD}"/>
              </a:ext>
            </a:extLst>
          </p:cNvPr>
          <p:cNvSpPr/>
          <p:nvPr userDrawn="1"/>
        </p:nvSpPr>
        <p:spPr>
          <a:xfrm>
            <a:off x="8070104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1507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45B0A68-C13E-B722-5170-38238B1A99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E6BA983-C762-B692-D8B1-9FBB31A7F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1345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D9DD275-E61E-764A-7A35-3B98CFD803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6522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F7E61D2-3673-E474-9441-8FF7E4B3BA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9750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5F472B3-6689-A76D-A0ED-A84C1036E9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1345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A0BE696-28DD-3A6A-1F72-F478777324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66522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7487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-2 afgronde ho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3512786" y="0"/>
            <a:ext cx="8679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8" cy="5771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6DCE145-58A1-FEA3-D8F9-7A012C787F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7350" y="1904924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C562229-0F7C-313A-4A7A-00E9E9D8A8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497794"/>
            <a:ext cx="7366870" cy="215153"/>
          </a:xfrm>
          <a:prstGeom prst="roundRect">
            <a:avLst>
              <a:gd name="adj" fmla="val 50000"/>
            </a:avLst>
          </a:prstGeom>
          <a:solidFill>
            <a:srgbClr val="F9F9F9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rend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2FB0573-1F61-71A0-E58E-23CE875CBC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66663" y="1497794"/>
            <a:ext cx="3685335" cy="21515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Implications for you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904924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20EB5D6-EA1E-8206-4A24-840976910D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4929" y="1904924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B0C668C-A6FD-FF13-B51F-050E0D938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6785" y="2184009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D097F48-C025-5387-7A51-AE8E006BDE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97350" y="3307556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CDDCEAE-382C-682B-89A8-E15E1BF77D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0000" y="3307556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20E2624-5CDC-41AC-D41D-4668EE3D38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94929" y="3307556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A804815-3E30-D3C6-D13E-6E4E82811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56785" y="3586641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7AB0E33-C291-59CE-7217-110FCEC544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97350" y="4710187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36B68F-CD97-72F0-7BA1-90ED7DC3D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710187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8E99EC5-74A2-023C-3FB9-66021865A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94929" y="4710187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E648C5D0-D132-9873-0947-0896E09B3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6785" y="4989272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</p:spTree>
    <p:extLst>
      <p:ext uri="{BB962C8B-B14F-4D97-AF65-F5344CB8AC3E}">
        <p14:creationId xmlns:p14="http://schemas.microsoft.com/office/powerpoint/2010/main" val="44739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xt of the m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-1" y="0"/>
            <a:ext cx="24908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79041" y="540000"/>
            <a:ext cx="6392525" cy="5771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ntext of the meet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6DCE145-58A1-FEA3-D8F9-7A012C787F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69205" y="1793211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79041" y="1793211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465DF8-91D3-651E-3865-2CE72EF685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8439" y="1427437"/>
            <a:ext cx="1293928" cy="1295076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81E071-CD51-8BAC-2A4F-815DBA04B9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847" y="2877250"/>
            <a:ext cx="1975884" cy="478308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Aft>
                <a:spcPts val="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None/>
              <a:defRPr sz="1200"/>
            </a:lvl2pPr>
            <a:lvl3pPr marL="327025" indent="-1444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 algn="ctr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Func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972491F-D327-B83B-38CD-C1828BA45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439" y="3847907"/>
            <a:ext cx="1293928" cy="1295076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391EE3-4851-C70F-E37B-3DF550B90B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847" y="5297720"/>
            <a:ext cx="1975884" cy="478308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Aft>
                <a:spcPts val="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None/>
              <a:defRPr sz="1200"/>
            </a:lvl2pPr>
            <a:lvl3pPr marL="327025" indent="-1444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 algn="ctr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Functio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32756DC-F049-2BD0-1077-D03403F93C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69205" y="3288938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317BA5-3510-A3E0-B9B8-955BA841F3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979041" y="3291007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A414510-8715-F922-5907-879C4191B1A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969205" y="4784665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0DAD309-E124-EB9B-B932-849C416368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79041" y="4784665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7B85B7-1BD9-1D2C-A0C2-93FAF6B3AD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9041" y="6420515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FB645D7-4963-BE82-2084-7588F6E401CB}"/>
              </a:ext>
            </a:extLst>
          </p:cNvPr>
          <p:cNvGrpSpPr/>
          <p:nvPr userDrawn="1"/>
        </p:nvGrpSpPr>
        <p:grpSpPr>
          <a:xfrm>
            <a:off x="9587289" y="398930"/>
            <a:ext cx="2279534" cy="640977"/>
            <a:chOff x="9529018" y="313765"/>
            <a:chExt cx="2279534" cy="640977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450C080-E5B2-7693-02F9-4F0A5B9ABBD1}"/>
                </a:ext>
              </a:extLst>
            </p:cNvPr>
            <p:cNvSpPr txBox="1">
              <a:spLocks/>
            </p:cNvSpPr>
            <p:nvPr/>
          </p:nvSpPr>
          <p:spPr>
            <a:xfrm>
              <a:off x="9529018" y="372460"/>
              <a:ext cx="2279534" cy="55399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 anchorCtr="0">
              <a:spAutoFit/>
            </a:bodyPr>
            <a:lstStyle>
              <a:lvl1pPr marL="180000" lvl="0" indent="-18000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2"/>
                  </a:solidFill>
                </a:defRPr>
              </a:lvl1pPr>
              <a:lvl2pPr marL="360000" lvl="1" indent="-180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2"/>
                  </a:solidFill>
                </a:defRPr>
              </a:lvl2pPr>
              <a:lvl3pPr marL="540000" lvl="2" indent="-180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>
                  <a:solidFill>
                    <a:schemeClr val="tx2"/>
                  </a:solidFill>
                </a:defRPr>
              </a:lvl3pPr>
              <a:lvl4pPr marL="0" lvl="3" indent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>
                  <a:solidFill>
                    <a:schemeClr val="accent1"/>
                  </a:solidFill>
                </a:defRPr>
              </a:lvl4pPr>
              <a:lvl5pPr marL="0" lvl="4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tabLst/>
                <a:defRPr sz="2000">
                  <a:solidFill>
                    <a:schemeClr val="tx2"/>
                  </a:solidFill>
                </a:defRPr>
              </a:lvl5pPr>
              <a:lvl6pPr marL="172800" lvl="5" indent="-1728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2"/>
                  </a:solidFill>
                </a:defRPr>
              </a:lvl6pPr>
              <a:lvl7pPr marL="0" lvl="6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b="0" baseline="0">
                  <a:solidFill>
                    <a:schemeClr val="accent1"/>
                  </a:solidFill>
                </a:defRPr>
              </a:lvl7pPr>
              <a:lvl8pPr marL="0" lvl="7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>
                  <a:solidFill>
                    <a:schemeClr val="tx2"/>
                  </a:solidFill>
                </a:defRPr>
              </a:lvl8pPr>
              <a:lvl9pPr marL="0" lvl="8" inden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 spc="-150" baseline="0">
                  <a:solidFill>
                    <a:schemeClr val="accent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NOT TO BE DISCLOSED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INTERNAL USE ONLY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F2637">
                    <a:alpha val="25000"/>
                  </a:srgbClr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28AE6A4-6A4D-3CD1-D449-161157DE4CAC}"/>
                </a:ext>
              </a:extLst>
            </p:cNvPr>
            <p:cNvCxnSpPr/>
            <p:nvPr/>
          </p:nvCxnSpPr>
          <p:spPr>
            <a:xfrm>
              <a:off x="9529018" y="313765"/>
              <a:ext cx="2279534" cy="0"/>
            </a:xfrm>
            <a:prstGeom prst="line">
              <a:avLst/>
            </a:prstGeom>
            <a:ln w="12700">
              <a:solidFill>
                <a:schemeClr val="accent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4BE3E0F-DAA4-B531-4EDF-E71E7BBE79CE}"/>
                </a:ext>
              </a:extLst>
            </p:cNvPr>
            <p:cNvCxnSpPr/>
            <p:nvPr/>
          </p:nvCxnSpPr>
          <p:spPr>
            <a:xfrm>
              <a:off x="9529018" y="954742"/>
              <a:ext cx="2279534" cy="0"/>
            </a:xfrm>
            <a:prstGeom prst="line">
              <a:avLst/>
            </a:prstGeom>
            <a:ln w="12700">
              <a:solidFill>
                <a:schemeClr val="accent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5392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12DFFBB-80C1-46EE-B94D-8B96B6A5A01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881205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of 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6100" y="142875"/>
            <a:ext cx="3868738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2666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1059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575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2675" y="2975649"/>
            <a:ext cx="4348820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87E4B58-0799-8024-B616-D488A9B89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5019" y="492331"/>
            <a:ext cx="3164202" cy="27391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</p:spTree>
    <p:extLst>
      <p:ext uri="{BB962C8B-B14F-4D97-AF65-F5344CB8AC3E}">
        <p14:creationId xmlns:p14="http://schemas.microsoft.com/office/powerpoint/2010/main" val="2654636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80112" y="142875"/>
            <a:ext cx="5654726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CBC92AE-F84C-0CA9-47D4-DABD02BCD7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226" y="492331"/>
            <a:ext cx="3164202" cy="27722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144777 w 3164202"/>
              <a:gd name="connsiteY6" fmla="*/ 2432921 h 2739101"/>
              <a:gd name="connsiteX7" fmla="*/ 0 w 3164202"/>
              <a:gd name="connsiteY7" fmla="*/ 2437022 h 2739101"/>
              <a:gd name="connsiteX8" fmla="*/ 0 w 3164202"/>
              <a:gd name="connsiteY8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144777 w 3164202"/>
              <a:gd name="connsiteY7" fmla="*/ 2432921 h 2739101"/>
              <a:gd name="connsiteX8" fmla="*/ 0 w 3164202"/>
              <a:gd name="connsiteY8" fmla="*/ 2437022 h 2739101"/>
              <a:gd name="connsiteX9" fmla="*/ 0 w 3164202"/>
              <a:gd name="connsiteY9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310279 w 3164202"/>
              <a:gd name="connsiteY7" fmla="*/ 2424646 h 2739101"/>
              <a:gd name="connsiteX8" fmla="*/ 144777 w 3164202"/>
              <a:gd name="connsiteY8" fmla="*/ 2432921 h 2739101"/>
              <a:gd name="connsiteX9" fmla="*/ 0 w 3164202"/>
              <a:gd name="connsiteY9" fmla="*/ 2437022 h 2739101"/>
              <a:gd name="connsiteX10" fmla="*/ 0 w 3164202"/>
              <a:gd name="connsiteY10" fmla="*/ 0 h 27391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2064603 w 3164202"/>
              <a:gd name="connsiteY4" fmla="*/ 2739101 h 2772201"/>
              <a:gd name="connsiteX5" fmla="*/ 1688085 w 3164202"/>
              <a:gd name="connsiteY5" fmla="*/ 2437059 h 2772201"/>
              <a:gd name="connsiteX6" fmla="*/ 517157 w 3164202"/>
              <a:gd name="connsiteY6" fmla="*/ 2428784 h 2772201"/>
              <a:gd name="connsiteX7" fmla="*/ 521295 w 3164202"/>
              <a:gd name="connsiteY7" fmla="*/ 2772201 h 2772201"/>
              <a:gd name="connsiteX8" fmla="*/ 144777 w 3164202"/>
              <a:gd name="connsiteY8" fmla="*/ 2432921 h 2772201"/>
              <a:gd name="connsiteX9" fmla="*/ 0 w 3164202"/>
              <a:gd name="connsiteY9" fmla="*/ 2437022 h 2772201"/>
              <a:gd name="connsiteX10" fmla="*/ 0 w 3164202"/>
              <a:gd name="connsiteY10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1688085 w 3164202"/>
              <a:gd name="connsiteY4" fmla="*/ 2437059 h 2772201"/>
              <a:gd name="connsiteX5" fmla="*/ 517157 w 3164202"/>
              <a:gd name="connsiteY5" fmla="*/ 2428784 h 2772201"/>
              <a:gd name="connsiteX6" fmla="*/ 521295 w 3164202"/>
              <a:gd name="connsiteY6" fmla="*/ 2772201 h 2772201"/>
              <a:gd name="connsiteX7" fmla="*/ 144777 w 3164202"/>
              <a:gd name="connsiteY7" fmla="*/ 2432921 h 2772201"/>
              <a:gd name="connsiteX8" fmla="*/ 0 w 3164202"/>
              <a:gd name="connsiteY8" fmla="*/ 2437022 h 2772201"/>
              <a:gd name="connsiteX9" fmla="*/ 0 w 3164202"/>
              <a:gd name="connsiteY9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517157 w 3164202"/>
              <a:gd name="connsiteY4" fmla="*/ 2428784 h 2772201"/>
              <a:gd name="connsiteX5" fmla="*/ 521295 w 3164202"/>
              <a:gd name="connsiteY5" fmla="*/ 2772201 h 2772201"/>
              <a:gd name="connsiteX6" fmla="*/ 144777 w 3164202"/>
              <a:gd name="connsiteY6" fmla="*/ 2432921 h 2772201"/>
              <a:gd name="connsiteX7" fmla="*/ 0 w 3164202"/>
              <a:gd name="connsiteY7" fmla="*/ 2437022 h 2772201"/>
              <a:gd name="connsiteX8" fmla="*/ 0 w 3164202"/>
              <a:gd name="connsiteY8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517157 w 3164202"/>
              <a:gd name="connsiteY3" fmla="*/ 2428784 h 2772201"/>
              <a:gd name="connsiteX4" fmla="*/ 521295 w 3164202"/>
              <a:gd name="connsiteY4" fmla="*/ 2772201 h 2772201"/>
              <a:gd name="connsiteX5" fmla="*/ 144777 w 3164202"/>
              <a:gd name="connsiteY5" fmla="*/ 2432921 h 2772201"/>
              <a:gd name="connsiteX6" fmla="*/ 0 w 3164202"/>
              <a:gd name="connsiteY6" fmla="*/ 2437022 h 2772201"/>
              <a:gd name="connsiteX7" fmla="*/ 0 w 3164202"/>
              <a:gd name="connsiteY7" fmla="*/ 0 h 27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722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517157" y="2428784"/>
                </a:lnTo>
                <a:cubicBezTo>
                  <a:pt x="518536" y="2543256"/>
                  <a:pt x="519916" y="2657729"/>
                  <a:pt x="521295" y="2772201"/>
                </a:cubicBezTo>
                <a:lnTo>
                  <a:pt x="144777" y="2432921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3699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</p:spTree>
    <p:extLst>
      <p:ext uri="{BB962C8B-B14F-4D97-AF65-F5344CB8AC3E}">
        <p14:creationId xmlns:p14="http://schemas.microsoft.com/office/powerpoint/2010/main" val="87633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2 ageronde ho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7FA9BE0-7ED7-DCA3-CE9A-C818221A94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11008" y="142875"/>
            <a:ext cx="4123830" cy="5876925"/>
          </a:xfrm>
          <a:custGeom>
            <a:avLst/>
            <a:gdLst>
              <a:gd name="connsiteX0" fmla="*/ 0 w 4123830"/>
              <a:gd name="connsiteY0" fmla="*/ 0 h 5876925"/>
              <a:gd name="connsiteX1" fmla="*/ 3925957 w 4123830"/>
              <a:gd name="connsiteY1" fmla="*/ 0 h 5876925"/>
              <a:gd name="connsiteX2" fmla="*/ 4123830 w 4123830"/>
              <a:gd name="connsiteY2" fmla="*/ 197873 h 5876925"/>
              <a:gd name="connsiteX3" fmla="*/ 4123830 w 4123830"/>
              <a:gd name="connsiteY3" fmla="*/ 5679052 h 5876925"/>
              <a:gd name="connsiteX4" fmla="*/ 3925957 w 4123830"/>
              <a:gd name="connsiteY4" fmla="*/ 5876925 h 5876925"/>
              <a:gd name="connsiteX5" fmla="*/ 0 w 4123830"/>
              <a:gd name="connsiteY5" fmla="*/ 5876925 h 587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23830" h="5876925">
                <a:moveTo>
                  <a:pt x="0" y="0"/>
                </a:moveTo>
                <a:lnTo>
                  <a:pt x="3925957" y="0"/>
                </a:lnTo>
                <a:cubicBezTo>
                  <a:pt x="4035239" y="0"/>
                  <a:pt x="4123830" y="88591"/>
                  <a:pt x="4123830" y="197873"/>
                </a:cubicBezTo>
                <a:lnTo>
                  <a:pt x="4123830" y="5679052"/>
                </a:lnTo>
                <a:cubicBezTo>
                  <a:pt x="4123830" y="5788334"/>
                  <a:pt x="4035239" y="5876925"/>
                  <a:pt x="3925957" y="5876925"/>
                </a:cubicBezTo>
                <a:lnTo>
                  <a:pt x="0" y="5876925"/>
                </a:lnTo>
                <a:close/>
              </a:path>
            </a:pathLst>
          </a:custGeom>
          <a:solidFill>
            <a:srgbClr val="F4F6FA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03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grey sh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E053643-D2DC-7A63-88C8-C77CEC06D50C}"/>
              </a:ext>
            </a:extLst>
          </p:cNvPr>
          <p:cNvSpPr/>
          <p:nvPr userDrawn="1"/>
        </p:nvSpPr>
        <p:spPr>
          <a:xfrm>
            <a:off x="6433900" y="142875"/>
            <a:ext cx="5600937" cy="5876926"/>
          </a:xfrm>
          <a:prstGeom prst="roundRect">
            <a:avLst>
              <a:gd name="adj" fmla="val 216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2777B02-2B16-E6BA-CDEC-5FD493ABF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C3CDB27-DC06-CE33-FB98-34EA0F5386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549202-1EEF-4FD2-9B3B-501C38B5E5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3EEFBBC-BFBF-F95C-D047-92320BA1D4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913B67C-BF01-236E-C3E4-8B0848052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F5E53BF-65E3-2E01-34F4-66D5F0DCCE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226" y="492331"/>
            <a:ext cx="3164202" cy="27722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144777 w 3164202"/>
              <a:gd name="connsiteY6" fmla="*/ 2432921 h 2739101"/>
              <a:gd name="connsiteX7" fmla="*/ 0 w 3164202"/>
              <a:gd name="connsiteY7" fmla="*/ 2437022 h 2739101"/>
              <a:gd name="connsiteX8" fmla="*/ 0 w 3164202"/>
              <a:gd name="connsiteY8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144777 w 3164202"/>
              <a:gd name="connsiteY7" fmla="*/ 2432921 h 2739101"/>
              <a:gd name="connsiteX8" fmla="*/ 0 w 3164202"/>
              <a:gd name="connsiteY8" fmla="*/ 2437022 h 2739101"/>
              <a:gd name="connsiteX9" fmla="*/ 0 w 3164202"/>
              <a:gd name="connsiteY9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310279 w 3164202"/>
              <a:gd name="connsiteY7" fmla="*/ 2424646 h 2739101"/>
              <a:gd name="connsiteX8" fmla="*/ 144777 w 3164202"/>
              <a:gd name="connsiteY8" fmla="*/ 2432921 h 2739101"/>
              <a:gd name="connsiteX9" fmla="*/ 0 w 3164202"/>
              <a:gd name="connsiteY9" fmla="*/ 2437022 h 2739101"/>
              <a:gd name="connsiteX10" fmla="*/ 0 w 3164202"/>
              <a:gd name="connsiteY10" fmla="*/ 0 h 27391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2064603 w 3164202"/>
              <a:gd name="connsiteY4" fmla="*/ 2739101 h 2772201"/>
              <a:gd name="connsiteX5" fmla="*/ 1688085 w 3164202"/>
              <a:gd name="connsiteY5" fmla="*/ 2437059 h 2772201"/>
              <a:gd name="connsiteX6" fmla="*/ 517157 w 3164202"/>
              <a:gd name="connsiteY6" fmla="*/ 2428784 h 2772201"/>
              <a:gd name="connsiteX7" fmla="*/ 521295 w 3164202"/>
              <a:gd name="connsiteY7" fmla="*/ 2772201 h 2772201"/>
              <a:gd name="connsiteX8" fmla="*/ 144777 w 3164202"/>
              <a:gd name="connsiteY8" fmla="*/ 2432921 h 2772201"/>
              <a:gd name="connsiteX9" fmla="*/ 0 w 3164202"/>
              <a:gd name="connsiteY9" fmla="*/ 2437022 h 2772201"/>
              <a:gd name="connsiteX10" fmla="*/ 0 w 3164202"/>
              <a:gd name="connsiteY10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1688085 w 3164202"/>
              <a:gd name="connsiteY4" fmla="*/ 2437059 h 2772201"/>
              <a:gd name="connsiteX5" fmla="*/ 517157 w 3164202"/>
              <a:gd name="connsiteY5" fmla="*/ 2428784 h 2772201"/>
              <a:gd name="connsiteX6" fmla="*/ 521295 w 3164202"/>
              <a:gd name="connsiteY6" fmla="*/ 2772201 h 2772201"/>
              <a:gd name="connsiteX7" fmla="*/ 144777 w 3164202"/>
              <a:gd name="connsiteY7" fmla="*/ 2432921 h 2772201"/>
              <a:gd name="connsiteX8" fmla="*/ 0 w 3164202"/>
              <a:gd name="connsiteY8" fmla="*/ 2437022 h 2772201"/>
              <a:gd name="connsiteX9" fmla="*/ 0 w 3164202"/>
              <a:gd name="connsiteY9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517157 w 3164202"/>
              <a:gd name="connsiteY4" fmla="*/ 2428784 h 2772201"/>
              <a:gd name="connsiteX5" fmla="*/ 521295 w 3164202"/>
              <a:gd name="connsiteY5" fmla="*/ 2772201 h 2772201"/>
              <a:gd name="connsiteX6" fmla="*/ 144777 w 3164202"/>
              <a:gd name="connsiteY6" fmla="*/ 2432921 h 2772201"/>
              <a:gd name="connsiteX7" fmla="*/ 0 w 3164202"/>
              <a:gd name="connsiteY7" fmla="*/ 2437022 h 2772201"/>
              <a:gd name="connsiteX8" fmla="*/ 0 w 3164202"/>
              <a:gd name="connsiteY8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517157 w 3164202"/>
              <a:gd name="connsiteY3" fmla="*/ 2428784 h 2772201"/>
              <a:gd name="connsiteX4" fmla="*/ 521295 w 3164202"/>
              <a:gd name="connsiteY4" fmla="*/ 2772201 h 2772201"/>
              <a:gd name="connsiteX5" fmla="*/ 144777 w 3164202"/>
              <a:gd name="connsiteY5" fmla="*/ 2432921 h 2772201"/>
              <a:gd name="connsiteX6" fmla="*/ 0 w 3164202"/>
              <a:gd name="connsiteY6" fmla="*/ 2437022 h 2772201"/>
              <a:gd name="connsiteX7" fmla="*/ 0 w 3164202"/>
              <a:gd name="connsiteY7" fmla="*/ 0 h 27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722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517157" y="2428784"/>
                </a:lnTo>
                <a:cubicBezTo>
                  <a:pt x="518536" y="2543256"/>
                  <a:pt x="519916" y="2657729"/>
                  <a:pt x="521295" y="2772201"/>
                </a:cubicBezTo>
                <a:lnTo>
                  <a:pt x="144777" y="2432921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947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advisors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90B2A66-3CD0-294C-5843-6C6D409928FA}"/>
              </a:ext>
            </a:extLst>
          </p:cNvPr>
          <p:cNvSpPr/>
          <p:nvPr userDrawn="1"/>
        </p:nvSpPr>
        <p:spPr>
          <a:xfrm>
            <a:off x="157162" y="3976025"/>
            <a:ext cx="11877676" cy="2043774"/>
          </a:xfrm>
          <a:prstGeom prst="roundRect">
            <a:avLst>
              <a:gd name="adj" fmla="val 6545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6100" y="142876"/>
            <a:ext cx="3868738" cy="3483694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293036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221429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90612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686019"/>
            <a:ext cx="4731744" cy="1484637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87E4B58-0799-8024-B616-D488A9B89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5019" y="492331"/>
            <a:ext cx="3164202" cy="27391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1EA771E-20BD-3585-8EC7-0F65F1659A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255594"/>
            <a:ext cx="4731744" cy="1484637"/>
          </a:xfrm>
        </p:spPr>
        <p:txBody>
          <a:bodyPr anchor="t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 i="1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  <a:p>
            <a:pPr lvl="1"/>
            <a:r>
              <a:rPr lang="en-US" dirty="0"/>
              <a:t>Name auth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F1F9C55-0F6B-F82C-27FD-0D1D60ADA9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5019" y="4255594"/>
            <a:ext cx="4731744" cy="1484637"/>
          </a:xfrm>
        </p:spPr>
        <p:txBody>
          <a:bodyPr anchor="t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 i="1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  <a:p>
            <a:pPr lvl="1"/>
            <a:r>
              <a:rPr lang="en-US" dirty="0"/>
              <a:t>Name author</a:t>
            </a:r>
          </a:p>
        </p:txBody>
      </p:sp>
    </p:spTree>
    <p:extLst>
      <p:ext uri="{BB962C8B-B14F-4D97-AF65-F5344CB8AC3E}">
        <p14:creationId xmlns:p14="http://schemas.microsoft.com/office/powerpoint/2010/main" val="3940088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C8426AFD-9184-8E77-929E-43C40DDDAA60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2121877" y="1560763"/>
            <a:ext cx="7948246" cy="4459037"/>
          </a:xfrm>
          <a:solidFill>
            <a:srgbClr val="F4F6FA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dirty="0"/>
              <a:t>Insert video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EFF6E7B-C4D9-FD3C-E36B-16B792752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183" y="986377"/>
            <a:ext cx="8611634" cy="4410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A674861-6663-E6FB-B82A-B3DADF0038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8227" y="599466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 algn="ctr"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8175DB9-EC67-B010-6B08-8F95F6E22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76370" y="5718047"/>
            <a:ext cx="1689761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0" u="none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Use case: xxx</a:t>
            </a:r>
          </a:p>
        </p:txBody>
      </p:sp>
    </p:spTree>
    <p:extLst>
      <p:ext uri="{BB962C8B-B14F-4D97-AF65-F5344CB8AC3E}">
        <p14:creationId xmlns:p14="http://schemas.microsoft.com/office/powerpoint/2010/main" val="26123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8308" y="986377"/>
            <a:ext cx="4735384" cy="4410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28308" y="1451364"/>
            <a:ext cx="4735384" cy="274585"/>
          </a:xfrm>
        </p:spPr>
        <p:txBody>
          <a:bodyPr/>
          <a:lstStyle>
            <a:lvl1pPr algn="ctr"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8227" y="599466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 algn="ctr"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04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9640" y="142874"/>
            <a:ext cx="11865198" cy="3113383"/>
          </a:xfrm>
          <a:prstGeom prst="rect">
            <a:avLst/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2" y="3531455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3144544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1" y="2544188"/>
            <a:ext cx="2392932" cy="239293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9E5B1B-04C2-B480-FE5D-748F8BBE0C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1721" y="2771753"/>
            <a:ext cx="1937802" cy="193780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B3D6CB0-1625-E8D4-646F-E97DB6A45F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712" y="2930654"/>
            <a:ext cx="1620000" cy="1620000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9C5DE50-C810-97DC-9BC1-A8491B0BA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04400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BFFE30-228D-31EB-4DE6-46791E8BC4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5562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2123937-DF6A-4EA9-2DBE-E98BC21ED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6747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1372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E053643-D2DC-7A63-88C8-C77CEC06D50C}"/>
              </a:ext>
            </a:extLst>
          </p:cNvPr>
          <p:cNvSpPr/>
          <p:nvPr userDrawn="1"/>
        </p:nvSpPr>
        <p:spPr>
          <a:xfrm>
            <a:off x="6433900" y="142875"/>
            <a:ext cx="5600937" cy="5876926"/>
          </a:xfrm>
          <a:prstGeom prst="roundRect">
            <a:avLst>
              <a:gd name="adj" fmla="val 216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2" y="1582666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575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2" y="5712648"/>
            <a:ext cx="4019586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9E5B1B-04C2-B480-FE5D-748F8BBE0C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54614" y="2230987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9C5DE50-C810-97DC-9BC1-A8491B0BA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8244" y="1076078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BFFE30-228D-31EB-4DE6-46791E8BC4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158244" y="2865571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2123937-DF6A-4EA9-2DBE-E98BC21ED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158244" y="4655065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A057DD-A987-6B57-EDFA-D78B399BCC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54614" y="441494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8406CE-6FDA-BD88-C146-2728EB6DF73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54614" y="4020481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5647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77889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3620362" y="0"/>
            <a:ext cx="857163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6DCE145-58A1-FEA3-D8F9-7A012C787F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9065" y="2798636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2817676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B0C668C-A6FD-FF13-B51F-050E0D938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68499" y="2862568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D097F48-C025-5387-7A51-AE8E006BDE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9065" y="3804062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CDDCEAE-382C-682B-89A8-E15E1BF77D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0000" y="3823102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A804815-3E30-D3C6-D13E-6E4E82811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68499" y="3867994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7AB0E33-C291-59CE-7217-110FCEC544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09065" y="4809488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36B68F-CD97-72F0-7BA1-90ED7DC3D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828528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E648C5D0-D132-9873-0947-0896E09B3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68499" y="4873420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6C9CE3F-D82C-DA97-5AC6-B5014A0E4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2" y="1257079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121989-3125-C78F-372F-84EB1752A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2" y="870168"/>
            <a:ext cx="2815622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PARCELS PRODUCT | CLICK &amp; COLLECT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BCA6471-582A-ECB0-7029-862282D66F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0002" y="5712648"/>
            <a:ext cx="2732806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8E37F0EA-E618-0732-38FE-AC8B4D8A46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0920" y="142875"/>
            <a:ext cx="3163917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A5C5D0F-331A-F6D2-5ACA-FCBD0F8640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62111" y="410149"/>
            <a:ext cx="2398792" cy="2076522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1BA89B4-26E3-6517-54D1-70F2143904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50" y="2101441"/>
            <a:ext cx="2728749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782303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1507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E30F41-5A6E-E7D7-C09F-0B49753127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9749" y="1055077"/>
            <a:ext cx="11112501" cy="368910"/>
          </a:xfrm>
        </p:spPr>
        <p:txBody>
          <a:bodyPr/>
          <a:lstStyle>
            <a:lvl1pPr algn="ct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0290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06F5B-5648-492B-B26D-DF51CC4C8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4C3DA-9ECB-4D52-85C4-2147141F6B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750" y="1849438"/>
            <a:ext cx="11112500" cy="4140200"/>
          </a:xfrm>
        </p:spPr>
        <p:txBody>
          <a:bodyPr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009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701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9C45919-4D6F-4C0E-BFC5-33F1A1AFED1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4763" y="-1588"/>
            <a:ext cx="12196763" cy="2382838"/>
          </a:xfrm>
          <a:solidFill>
            <a:schemeClr val="bg2"/>
          </a:solidFill>
        </p:spPr>
        <p:txBody>
          <a:bodyPr anchor="ctr" anchorCtr="1"/>
          <a:lstStyle>
            <a:lvl1pPr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CAEAD5-3C3F-DE5D-5399-F5416B98A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577" y="1317861"/>
            <a:ext cx="3642222" cy="841944"/>
          </a:xfrm>
        </p:spPr>
        <p:txBody>
          <a:bodyPr anchor="b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oduct stories </a:t>
            </a:r>
            <a:br>
              <a:rPr lang="en-US" dirty="0"/>
            </a:br>
            <a:r>
              <a:rPr lang="en-US" dirty="0"/>
              <a:t>“</a:t>
            </a:r>
            <a:r>
              <a:rPr lang="en-US" dirty="0" err="1"/>
              <a:t>xxxxxxx</a:t>
            </a:r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7112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WWWWWWWWWWWWWWWWWWWWWW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9640" y="142874"/>
            <a:ext cx="11865198" cy="4127286"/>
          </a:xfrm>
          <a:prstGeom prst="rect">
            <a:avLst/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486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F73F2FF5-DF33-4214-A101-12EC0FAD924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598344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B8C8B31A-6C4F-494C-B2C4-96F5FC1DAA5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571452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AA63D0-50F1-47CC-86FA-0F9068874100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233492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99E8D4E-6F85-4BB1-9C56-88FF40019880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944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99696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E7B42-287C-4ED1-8EC7-6DD7F0CB110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230041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DB023-D871-4C19-BCD0-C01D1930DA38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54819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4541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CB2A7E9-3614-483C-A98C-8ECE0BE80B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16788" y="647700"/>
            <a:ext cx="7793470" cy="5524500"/>
          </a:xfrm>
          <a:custGeom>
            <a:avLst/>
            <a:gdLst>
              <a:gd name="connsiteX0" fmla="*/ 0 w 21259800"/>
              <a:gd name="connsiteY0" fmla="*/ 0 h 11049000"/>
              <a:gd name="connsiteX1" fmla="*/ 21259800 w 21259800"/>
              <a:gd name="connsiteY1" fmla="*/ 0 h 11049000"/>
              <a:gd name="connsiteX2" fmla="*/ 21259800 w 21259800"/>
              <a:gd name="connsiteY2" fmla="*/ 11049000 h 11049000"/>
              <a:gd name="connsiteX3" fmla="*/ 0 w 2125980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59800" h="11049000">
                <a:moveTo>
                  <a:pt x="0" y="0"/>
                </a:moveTo>
                <a:lnTo>
                  <a:pt x="21259800" y="0"/>
                </a:lnTo>
                <a:lnTo>
                  <a:pt x="2125980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_GeneralDate">
            <a:extLst>
              <a:ext uri="{FF2B5EF4-FFF2-40B4-BE49-F238E27FC236}">
                <a16:creationId xmlns:a16="http://schemas.microsoft.com/office/drawing/2014/main" id="{F421F132-F4CB-4490-9C73-AAED4EF9C8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0F7E4FF-B48E-4C92-AADF-5BD1E04A7D64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4EEB734-489C-4500-AB2E-2FA319D3CA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99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_GeneralDate">
            <a:extLst>
              <a:ext uri="{FF2B5EF4-FFF2-40B4-BE49-F238E27FC236}">
                <a16:creationId xmlns:a16="http://schemas.microsoft.com/office/drawing/2014/main" id="{F421F132-F4CB-4490-9C73-AAED4EF9C8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621B4C0A-0543-4AA0-B253-77DD18CFD9F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4EEB734-489C-4500-AB2E-2FA319D3CA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67399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732387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422586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192CD8A-EBA7-41E3-8453-45A943DA012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202230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B948602-5320-4DCD-94A3-2CB80716ED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1743" y="647700"/>
            <a:ext cx="10628516" cy="5524500"/>
          </a:xfrm>
          <a:custGeom>
            <a:avLst/>
            <a:gdLst>
              <a:gd name="connsiteX0" fmla="*/ 0 w 10629899"/>
              <a:gd name="connsiteY0" fmla="*/ 0 h 11049000"/>
              <a:gd name="connsiteX1" fmla="*/ 10629899 w 10629899"/>
              <a:gd name="connsiteY1" fmla="*/ 0 h 11049000"/>
              <a:gd name="connsiteX2" fmla="*/ 10629899 w 10629899"/>
              <a:gd name="connsiteY2" fmla="*/ 11049000 h 11049000"/>
              <a:gd name="connsiteX3" fmla="*/ 0 w 10629899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29899" h="11049000">
                <a:moveTo>
                  <a:pt x="0" y="0"/>
                </a:moveTo>
                <a:lnTo>
                  <a:pt x="10629899" y="0"/>
                </a:lnTo>
                <a:lnTo>
                  <a:pt x="10629899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_GeneralDate">
            <a:extLst>
              <a:ext uri="{FF2B5EF4-FFF2-40B4-BE49-F238E27FC236}">
                <a16:creationId xmlns:a16="http://schemas.microsoft.com/office/drawing/2014/main" id="{52A9BC48-5B7C-4D49-8D70-406FE0A5E4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B1D3EF59-5428-45FB-8105-F2A3295314D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068ACB8-C7BF-41DC-8845-B820704F3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5410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99AC5CB4-5FF9-4E18-9D94-94478F1FCE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335716" y="-246184"/>
            <a:ext cx="7627794" cy="7350367"/>
          </a:xfrm>
          <a:custGeom>
            <a:avLst/>
            <a:gdLst>
              <a:gd name="connsiteX0" fmla="*/ 0 w 7829549"/>
              <a:gd name="connsiteY0" fmla="*/ 0 h 7543801"/>
              <a:gd name="connsiteX1" fmla="*/ 7829549 w 7829549"/>
              <a:gd name="connsiteY1" fmla="*/ 0 h 7543801"/>
              <a:gd name="connsiteX2" fmla="*/ 7829549 w 7829549"/>
              <a:gd name="connsiteY2" fmla="*/ 7543801 h 7543801"/>
              <a:gd name="connsiteX3" fmla="*/ 0 w 7829549"/>
              <a:gd name="connsiteY3" fmla="*/ 7543801 h 75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9549" h="7543801">
                <a:moveTo>
                  <a:pt x="0" y="0"/>
                </a:moveTo>
                <a:lnTo>
                  <a:pt x="7829549" y="0"/>
                </a:lnTo>
                <a:lnTo>
                  <a:pt x="7829549" y="7543801"/>
                </a:lnTo>
                <a:lnTo>
                  <a:pt x="0" y="754380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812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150" fill="hold"/>
                                        <p:tgtEl>
                                          <p:spTgt spid="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0825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lapto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BCFDED92-AE18-4798-AD4A-4122E5E61CA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34264" y="1311693"/>
            <a:ext cx="4268105" cy="3054095"/>
          </a:xfrm>
          <a:solidFill>
            <a:schemeClr val="bg2">
              <a:lumMod val="50000"/>
            </a:schemeClr>
          </a:solidFill>
          <a:scene3d>
            <a:camera prst="perspectiveContrastingLeftFacing" fov="300000">
              <a:rot lat="900000" lon="1200000" rev="20940000"/>
            </a:camera>
            <a:lightRig rig="threePt" dir="t"/>
          </a:scene3d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ru-UA"/>
          </a:p>
        </p:txBody>
      </p:sp>
    </p:spTree>
    <p:extLst>
      <p:ext uri="{BB962C8B-B14F-4D97-AF65-F5344CB8AC3E}">
        <p14:creationId xmlns:p14="http://schemas.microsoft.com/office/powerpoint/2010/main" val="253252120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F73F2FF5-DF33-4214-A101-12EC0FAD924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75363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B8C8B31A-6C4F-494C-B2C4-96F5FC1DAA5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450313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CAEE8A-FFE4-4C89-8968-13F4751A73E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973343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CA024B6-2424-412A-82F7-808C519FEC0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844819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8AAC0-404E-449F-8285-894567DF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3DE3513-DD11-4E57-844D-8B2939EDA1E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363684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AA63D0-50F1-47CC-86FA-0F9068874100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754124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99E8D4E-6F85-4BB1-9C56-88FF40019880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401889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47B1E73-4BEC-4934-BC16-3F5CBB60A934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539731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76B2A17-F492-47FC-A936-07277B8E753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99374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2" name="Image 37">
            <a:extLst>
              <a:ext uri="{FF2B5EF4-FFF2-40B4-BE49-F238E27FC236}">
                <a16:creationId xmlns:a16="http://schemas.microsoft.com/office/drawing/2014/main" id="{FEDFA7DA-0C29-1FC5-A0BB-9F74CF1FD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76338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C286C93-A757-46A4-A694-BA75A8ACAB74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426372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9722B55-6E13-4309-95A5-6692AD5C90A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166511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FBBCB5F-80D5-4C9F-B402-A7AF9F53926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390285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149CDF-D81A-49F8-BF7E-5878505AB15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382163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78A3109-7D96-42FB-B1E9-16045AE6FBE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82655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E7B42-287C-4ED1-8EC7-6DD7F0CB110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4377447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9F72830-8FCD-40E0-A4EB-6D9AEC24243C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652474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DB023-D871-4C19-BCD0-C01D1930DA38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265884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342542-FCA2-40CD-9D4A-03C6FAD01E08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79180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529A8C7-C40C-4BC6-A126-9204D071736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04746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17632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0C0F4D-8E49-4A2A-8AE1-5657E5E4395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921838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EFDAE85-EC69-46C2-8C92-D829AAF5990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82477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F9C061-072D-4C74-BDE0-13837D3F91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87671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CEBA936-D3C4-4C8C-BC1C-C2A1A453B3D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2124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83F5516-0B38-4D10-8A01-707E02BE06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9913044"/>
            <a:ext cx="12192000" cy="16771044"/>
          </a:xfrm>
          <a:custGeom>
            <a:avLst/>
            <a:gdLst>
              <a:gd name="connsiteX0" fmla="*/ 0 w 21259801"/>
              <a:gd name="connsiteY0" fmla="*/ 0 h 29232224"/>
              <a:gd name="connsiteX1" fmla="*/ 21259801 w 21259801"/>
              <a:gd name="connsiteY1" fmla="*/ 0 h 29232224"/>
              <a:gd name="connsiteX2" fmla="*/ 21259801 w 21259801"/>
              <a:gd name="connsiteY2" fmla="*/ 2133600 h 29232224"/>
              <a:gd name="connsiteX3" fmla="*/ 21259801 w 21259801"/>
              <a:gd name="connsiteY3" fmla="*/ 10972800 h 29232224"/>
              <a:gd name="connsiteX4" fmla="*/ 21259801 w 21259801"/>
              <a:gd name="connsiteY4" fmla="*/ 29232224 h 29232224"/>
              <a:gd name="connsiteX5" fmla="*/ 0 w 21259801"/>
              <a:gd name="connsiteY5" fmla="*/ 29232224 h 2923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259801" h="29232224">
                <a:moveTo>
                  <a:pt x="0" y="0"/>
                </a:moveTo>
                <a:lnTo>
                  <a:pt x="21259801" y="0"/>
                </a:lnTo>
                <a:lnTo>
                  <a:pt x="21259801" y="2133600"/>
                </a:lnTo>
                <a:lnTo>
                  <a:pt x="21259801" y="10972800"/>
                </a:lnTo>
                <a:lnTo>
                  <a:pt x="21259801" y="29232224"/>
                </a:lnTo>
                <a:lnTo>
                  <a:pt x="0" y="29232224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ln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25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81481E-6 L 0 1.01713 " pathEditMode="relative" rAng="0" ptsTypes="AA">
                                      <p:cBhvr>
                                        <p:cTn id="6" dur="9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08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CB2A7E9-3614-483C-A98C-8ECE0BE80B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16788" y="647700"/>
            <a:ext cx="7793470" cy="5524500"/>
          </a:xfrm>
          <a:custGeom>
            <a:avLst/>
            <a:gdLst>
              <a:gd name="connsiteX0" fmla="*/ 0 w 21259800"/>
              <a:gd name="connsiteY0" fmla="*/ 0 h 11049000"/>
              <a:gd name="connsiteX1" fmla="*/ 21259800 w 21259800"/>
              <a:gd name="connsiteY1" fmla="*/ 0 h 11049000"/>
              <a:gd name="connsiteX2" fmla="*/ 21259800 w 21259800"/>
              <a:gd name="connsiteY2" fmla="*/ 11049000 h 11049000"/>
              <a:gd name="connsiteX3" fmla="*/ 0 w 2125980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59800" h="11049000">
                <a:moveTo>
                  <a:pt x="0" y="0"/>
                </a:moveTo>
                <a:lnTo>
                  <a:pt x="21259800" y="0"/>
                </a:lnTo>
                <a:lnTo>
                  <a:pt x="2125980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_GeneralDate">
            <a:extLst>
              <a:ext uri="{FF2B5EF4-FFF2-40B4-BE49-F238E27FC236}">
                <a16:creationId xmlns:a16="http://schemas.microsoft.com/office/drawing/2014/main" id="{F421F132-F4CB-4490-9C73-AAED4EF9C8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0F7E4FF-B48E-4C92-AADF-5BD1E04A7D64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4EEB734-489C-4500-AB2E-2FA319D3CA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11176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B62E8B6-4465-41D9-B138-26F034B9979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8326224-D4DA-45FE-94A7-B5ACF03493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67" t="7767"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51056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F23B4B4-0710-45A6-B0B2-35663AF4DA8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352655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99AC5CB4-5FF9-4E18-9D94-94478F1FCE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335716" y="-246184"/>
            <a:ext cx="7627794" cy="7350367"/>
          </a:xfrm>
          <a:custGeom>
            <a:avLst/>
            <a:gdLst>
              <a:gd name="connsiteX0" fmla="*/ 0 w 7829549"/>
              <a:gd name="connsiteY0" fmla="*/ 0 h 7543801"/>
              <a:gd name="connsiteX1" fmla="*/ 7829549 w 7829549"/>
              <a:gd name="connsiteY1" fmla="*/ 0 h 7543801"/>
              <a:gd name="connsiteX2" fmla="*/ 7829549 w 7829549"/>
              <a:gd name="connsiteY2" fmla="*/ 7543801 h 7543801"/>
              <a:gd name="connsiteX3" fmla="*/ 0 w 7829549"/>
              <a:gd name="connsiteY3" fmla="*/ 7543801 h 75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9549" h="7543801">
                <a:moveTo>
                  <a:pt x="0" y="0"/>
                </a:moveTo>
                <a:lnTo>
                  <a:pt x="7829549" y="0"/>
                </a:lnTo>
                <a:lnTo>
                  <a:pt x="7829549" y="7543801"/>
                </a:lnTo>
                <a:lnTo>
                  <a:pt x="0" y="754380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8989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150" fill="hold"/>
                                        <p:tgtEl>
                                          <p:spTgt spid="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4956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AA0D86-3CE0-4FB8-A676-A4500D3EA39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4" name="Image 37">
            <a:extLst>
              <a:ext uri="{FF2B5EF4-FFF2-40B4-BE49-F238E27FC236}">
                <a16:creationId xmlns:a16="http://schemas.microsoft.com/office/drawing/2014/main" id="{E5031CCC-F20C-BD98-92B8-EA7A2A8EB7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28427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779257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D55783-929C-4470-BAE4-F8377A019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A24D7637-31BD-460B-ACB5-D48FDA92309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832379"/>
            <a:ext cx="6095799" cy="2044806"/>
          </a:xfrm>
          <a:prstGeom prst="rect">
            <a:avLst/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E5B4206-1DCF-4B03-BCF3-26ABF80FF8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4970" y="1832379"/>
            <a:ext cx="6095799" cy="2044806"/>
          </a:xfrm>
          <a:prstGeom prst="rect">
            <a:avLst/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984483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91D37DA6-79B6-414A-97F8-CFFF7B038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 algn="l">
              <a:defRPr/>
            </a:lvl1pPr>
          </a:lstStyle>
          <a:p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3C5B7A3-30F4-4300-9EB6-C8D9260C5FA8}"/>
              </a:ext>
            </a:extLst>
          </p:cNvPr>
          <p:cNvSpPr txBox="1">
            <a:spLocks/>
          </p:cNvSpPr>
          <p:nvPr userDrawn="1"/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2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00C1051C-D163-4E74-A4A8-7A1FF7D2A29E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F9F6C7-E11B-467D-88AB-ED244D6765CE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636900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llen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746D520-4915-8B27-0C6C-9A89B57E8AFC}"/>
              </a:ext>
            </a:extLst>
          </p:cNvPr>
          <p:cNvSpPr/>
          <p:nvPr userDrawn="1"/>
        </p:nvSpPr>
        <p:spPr>
          <a:xfrm>
            <a:off x="539750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0F8D105-F899-B92B-8E63-0FFC2E24E47A}"/>
              </a:ext>
            </a:extLst>
          </p:cNvPr>
          <p:cNvSpPr/>
          <p:nvPr userDrawn="1"/>
        </p:nvSpPr>
        <p:spPr>
          <a:xfrm>
            <a:off x="4304927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1EC31372-3851-CE93-3CF7-E2DE058A58AD}"/>
              </a:ext>
            </a:extLst>
          </p:cNvPr>
          <p:cNvSpPr/>
          <p:nvPr userDrawn="1"/>
        </p:nvSpPr>
        <p:spPr>
          <a:xfrm>
            <a:off x="8070104" y="1281953"/>
            <a:ext cx="3585729" cy="4959821"/>
          </a:xfrm>
          <a:prstGeom prst="roundRect">
            <a:avLst>
              <a:gd name="adj" fmla="val 4090"/>
            </a:avLst>
          </a:prstGeom>
          <a:solidFill>
            <a:schemeClr val="bg1"/>
          </a:solidFill>
          <a:effectLst>
            <a:outerShdw blurRad="165100" sx="102000" sy="102000" algn="ctr" rotWithShape="0">
              <a:schemeClr val="accent5">
                <a:alpha val="40000"/>
              </a:schemeClr>
            </a:outerShdw>
          </a:effectLst>
        </p:spPr>
        <p:txBody>
          <a:bodyPr vert="horz" lIns="72000" tIns="756000" rIns="72000" bIns="7200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noProof="0" dirty="0" err="1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1507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45B0A68-C13E-B722-5170-38238B1A99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E6BA983-C762-B692-D8B1-9FBB31A7F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01345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D9DD275-E61E-764A-7A35-3B98CFD8031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66522" y="1281953"/>
            <a:ext cx="3589311" cy="646149"/>
          </a:xfrm>
          <a:prstGeom prst="round2SameRect">
            <a:avLst>
              <a:gd name="adj1" fmla="val 23711"/>
              <a:gd name="adj2" fmla="val 0"/>
            </a:avLst>
          </a:prstGeom>
          <a:gradFill>
            <a:gsLst>
              <a:gs pos="0">
                <a:schemeClr val="accent1"/>
              </a:gs>
              <a:gs pos="85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lIns="0" tIns="0" rIns="0" bIns="0" anchor="ctr" anchorCtr="0"/>
          <a:lstStyle>
            <a:lvl1pPr algn="ctr">
              <a:spcAft>
                <a:spcPts val="600"/>
              </a:spcAft>
              <a:defRPr sz="20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itle textbox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EF7E61D2-3673-E474-9441-8FF7E4B3BAB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9750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B5F472B3-6689-A76D-A0ED-A84C1036E9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1345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A0BE696-28DD-3A6A-1F72-F478777324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66522" y="2080502"/>
            <a:ext cx="3589311" cy="4018255"/>
          </a:xfrm>
          <a:prstGeom prst="rect">
            <a:avLst/>
          </a:prstGeom>
          <a:noFill/>
          <a:effectLst/>
        </p:spPr>
        <p:txBody>
          <a:bodyPr lIns="72000" tIns="0" rIns="72000" bIns="7200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5993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ourne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3512786" y="0"/>
            <a:ext cx="867921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8" cy="5771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97350" y="1904924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C562229-0F7C-313A-4A7A-00E9E9D8A8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497794"/>
            <a:ext cx="7366870" cy="215153"/>
          </a:xfrm>
          <a:prstGeom prst="roundRect">
            <a:avLst>
              <a:gd name="adj" fmla="val 50000"/>
            </a:avLst>
          </a:prstGeom>
          <a:solidFill>
            <a:srgbClr val="F9F9F9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Trend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2FB0573-1F61-71A0-E58E-23CE875CBC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66663" y="1497794"/>
            <a:ext cx="3685335" cy="21515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4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Implications for you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904924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20EB5D6-EA1E-8206-4A24-840976910D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94929" y="1904924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B0C668C-A6FD-FF13-B51F-050E0D938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6785" y="2184009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D097F48-C025-5387-7A51-AE8E006BDE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97350" y="3307556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CDDCEAE-382C-682B-89A8-E15E1BF77D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0000" y="3307556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20E2624-5CDC-41AC-D41D-4668EE3D38F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94929" y="3307556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A804815-3E30-D3C6-D13E-6E4E82811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56785" y="3586641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7AB0E33-C291-59CE-7217-110FCEC544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97350" y="4710187"/>
            <a:ext cx="3589311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36B68F-CD97-72F0-7BA1-90ED7DC3D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710187"/>
            <a:ext cx="2306639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8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8E99EC5-74A2-023C-3FB9-66021865A99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094929" y="4710187"/>
            <a:ext cx="3557070" cy="1247894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E648C5D0-D132-9873-0947-0896E09B3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56785" y="4989272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697FF0DB-9FF6-4FD4-A59B-DC083572A9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0756" y="6254367"/>
            <a:ext cx="1171688" cy="56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978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xt of the m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-1" y="0"/>
            <a:ext cx="24908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79041" y="540000"/>
            <a:ext cx="6392525" cy="5771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ntext of the meeting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69205" y="1793211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79041" y="1793211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465DF8-91D3-651E-3865-2CE72EF685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8439" y="1427437"/>
            <a:ext cx="1293928" cy="1295076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81E071-CD51-8BAC-2A4F-815DBA04B9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847" y="2877250"/>
            <a:ext cx="1975884" cy="478308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Aft>
                <a:spcPts val="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None/>
              <a:defRPr sz="1200"/>
            </a:lvl2pPr>
            <a:lvl3pPr marL="327025" indent="-1444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 algn="ctr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Func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972491F-D327-B83B-38CD-C1828BA45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439" y="3847907"/>
            <a:ext cx="1293928" cy="1295076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391EE3-4851-C70F-E37B-3DF550B90B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847" y="5297720"/>
            <a:ext cx="1975884" cy="478308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Aft>
                <a:spcPts val="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None/>
              <a:defRPr sz="1200"/>
            </a:lvl2pPr>
            <a:lvl3pPr marL="327025" indent="-1444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 algn="ctr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Functio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32756DC-F049-2BD0-1077-D03403F93C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69205" y="3288938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317BA5-3510-A3E0-B9B8-955BA841F3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979041" y="3291007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A414510-8715-F922-5907-879C4191B1A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969205" y="4784665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0DAD309-E124-EB9B-B932-849C416368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79041" y="4784665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7B85B7-1BD9-1D2C-A0C2-93FAF6B3AD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9041" y="6420515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FB645D7-4963-BE82-2084-7588F6E401CB}"/>
              </a:ext>
            </a:extLst>
          </p:cNvPr>
          <p:cNvGrpSpPr/>
          <p:nvPr userDrawn="1"/>
        </p:nvGrpSpPr>
        <p:grpSpPr>
          <a:xfrm>
            <a:off x="9587289" y="398930"/>
            <a:ext cx="2279534" cy="640977"/>
            <a:chOff x="9529018" y="313765"/>
            <a:chExt cx="2279534" cy="640977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450C080-E5B2-7693-02F9-4F0A5B9ABBD1}"/>
                </a:ext>
              </a:extLst>
            </p:cNvPr>
            <p:cNvSpPr txBox="1">
              <a:spLocks/>
            </p:cNvSpPr>
            <p:nvPr/>
          </p:nvSpPr>
          <p:spPr>
            <a:xfrm>
              <a:off x="9529018" y="372460"/>
              <a:ext cx="2279534" cy="55399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 anchorCtr="0">
              <a:spAutoFit/>
            </a:bodyPr>
            <a:lstStyle>
              <a:lvl1pPr marL="180000" lvl="0" indent="-18000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2"/>
                  </a:solidFill>
                </a:defRPr>
              </a:lvl1pPr>
              <a:lvl2pPr marL="360000" lvl="1" indent="-180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2"/>
                  </a:solidFill>
                </a:defRPr>
              </a:lvl2pPr>
              <a:lvl3pPr marL="540000" lvl="2" indent="-180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>
                  <a:solidFill>
                    <a:schemeClr val="tx2"/>
                  </a:solidFill>
                </a:defRPr>
              </a:lvl3pPr>
              <a:lvl4pPr marL="0" lvl="3" indent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>
                  <a:solidFill>
                    <a:schemeClr val="accent1"/>
                  </a:solidFill>
                </a:defRPr>
              </a:lvl4pPr>
              <a:lvl5pPr marL="0" lvl="4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tabLst/>
                <a:defRPr sz="2000">
                  <a:solidFill>
                    <a:schemeClr val="tx2"/>
                  </a:solidFill>
                </a:defRPr>
              </a:lvl5pPr>
              <a:lvl6pPr marL="172800" lvl="5" indent="-1728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2"/>
                  </a:solidFill>
                </a:defRPr>
              </a:lvl6pPr>
              <a:lvl7pPr marL="0" lvl="6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b="0" baseline="0">
                  <a:solidFill>
                    <a:schemeClr val="accent1"/>
                  </a:solidFill>
                </a:defRPr>
              </a:lvl7pPr>
              <a:lvl8pPr marL="0" lvl="7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>
                  <a:solidFill>
                    <a:schemeClr val="tx2"/>
                  </a:solidFill>
                </a:defRPr>
              </a:lvl8pPr>
              <a:lvl9pPr marL="0" lvl="8" inden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 spc="-150" baseline="0">
                  <a:solidFill>
                    <a:schemeClr val="accent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NOT TO BE DISCLOSED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INTERNAL USE ONLY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F2637">
                    <a:alpha val="25000"/>
                  </a:srgbClr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28AE6A4-6A4D-3CD1-D449-161157DE4CAC}"/>
                </a:ext>
              </a:extLst>
            </p:cNvPr>
            <p:cNvCxnSpPr/>
            <p:nvPr/>
          </p:nvCxnSpPr>
          <p:spPr>
            <a:xfrm>
              <a:off x="9529018" y="313765"/>
              <a:ext cx="2279534" cy="0"/>
            </a:xfrm>
            <a:prstGeom prst="line">
              <a:avLst/>
            </a:prstGeom>
            <a:ln w="12700">
              <a:solidFill>
                <a:schemeClr val="accent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4BE3E0F-DAA4-B531-4EDF-E71E7BBE79CE}"/>
                </a:ext>
              </a:extLst>
            </p:cNvPr>
            <p:cNvCxnSpPr/>
            <p:nvPr/>
          </p:nvCxnSpPr>
          <p:spPr>
            <a:xfrm>
              <a:off x="9529018" y="954742"/>
              <a:ext cx="2279534" cy="0"/>
            </a:xfrm>
            <a:prstGeom prst="line">
              <a:avLst/>
            </a:prstGeom>
            <a:ln w="12700">
              <a:solidFill>
                <a:schemeClr val="accent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06831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of 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2666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1059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575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2675" y="2975649"/>
            <a:ext cx="4348820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87E4B58-0799-8024-B616-D488A9B89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5019" y="492331"/>
            <a:ext cx="3164202" cy="27391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</p:spTree>
    <p:extLst>
      <p:ext uri="{BB962C8B-B14F-4D97-AF65-F5344CB8AC3E}">
        <p14:creationId xmlns:p14="http://schemas.microsoft.com/office/powerpoint/2010/main" val="2165559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80112" y="142875"/>
            <a:ext cx="5654726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CBC92AE-F84C-0CA9-47D4-DABD02BCD7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226" y="492331"/>
            <a:ext cx="3164202" cy="27722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144777 w 3164202"/>
              <a:gd name="connsiteY6" fmla="*/ 2432921 h 2739101"/>
              <a:gd name="connsiteX7" fmla="*/ 0 w 3164202"/>
              <a:gd name="connsiteY7" fmla="*/ 2437022 h 2739101"/>
              <a:gd name="connsiteX8" fmla="*/ 0 w 3164202"/>
              <a:gd name="connsiteY8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144777 w 3164202"/>
              <a:gd name="connsiteY7" fmla="*/ 2432921 h 2739101"/>
              <a:gd name="connsiteX8" fmla="*/ 0 w 3164202"/>
              <a:gd name="connsiteY8" fmla="*/ 2437022 h 2739101"/>
              <a:gd name="connsiteX9" fmla="*/ 0 w 3164202"/>
              <a:gd name="connsiteY9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310279 w 3164202"/>
              <a:gd name="connsiteY7" fmla="*/ 2424646 h 2739101"/>
              <a:gd name="connsiteX8" fmla="*/ 144777 w 3164202"/>
              <a:gd name="connsiteY8" fmla="*/ 2432921 h 2739101"/>
              <a:gd name="connsiteX9" fmla="*/ 0 w 3164202"/>
              <a:gd name="connsiteY9" fmla="*/ 2437022 h 2739101"/>
              <a:gd name="connsiteX10" fmla="*/ 0 w 3164202"/>
              <a:gd name="connsiteY10" fmla="*/ 0 h 27391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2064603 w 3164202"/>
              <a:gd name="connsiteY4" fmla="*/ 2739101 h 2772201"/>
              <a:gd name="connsiteX5" fmla="*/ 1688085 w 3164202"/>
              <a:gd name="connsiteY5" fmla="*/ 2437059 h 2772201"/>
              <a:gd name="connsiteX6" fmla="*/ 517157 w 3164202"/>
              <a:gd name="connsiteY6" fmla="*/ 2428784 h 2772201"/>
              <a:gd name="connsiteX7" fmla="*/ 521295 w 3164202"/>
              <a:gd name="connsiteY7" fmla="*/ 2772201 h 2772201"/>
              <a:gd name="connsiteX8" fmla="*/ 144777 w 3164202"/>
              <a:gd name="connsiteY8" fmla="*/ 2432921 h 2772201"/>
              <a:gd name="connsiteX9" fmla="*/ 0 w 3164202"/>
              <a:gd name="connsiteY9" fmla="*/ 2437022 h 2772201"/>
              <a:gd name="connsiteX10" fmla="*/ 0 w 3164202"/>
              <a:gd name="connsiteY10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1688085 w 3164202"/>
              <a:gd name="connsiteY4" fmla="*/ 2437059 h 2772201"/>
              <a:gd name="connsiteX5" fmla="*/ 517157 w 3164202"/>
              <a:gd name="connsiteY5" fmla="*/ 2428784 h 2772201"/>
              <a:gd name="connsiteX6" fmla="*/ 521295 w 3164202"/>
              <a:gd name="connsiteY6" fmla="*/ 2772201 h 2772201"/>
              <a:gd name="connsiteX7" fmla="*/ 144777 w 3164202"/>
              <a:gd name="connsiteY7" fmla="*/ 2432921 h 2772201"/>
              <a:gd name="connsiteX8" fmla="*/ 0 w 3164202"/>
              <a:gd name="connsiteY8" fmla="*/ 2437022 h 2772201"/>
              <a:gd name="connsiteX9" fmla="*/ 0 w 3164202"/>
              <a:gd name="connsiteY9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517157 w 3164202"/>
              <a:gd name="connsiteY4" fmla="*/ 2428784 h 2772201"/>
              <a:gd name="connsiteX5" fmla="*/ 521295 w 3164202"/>
              <a:gd name="connsiteY5" fmla="*/ 2772201 h 2772201"/>
              <a:gd name="connsiteX6" fmla="*/ 144777 w 3164202"/>
              <a:gd name="connsiteY6" fmla="*/ 2432921 h 2772201"/>
              <a:gd name="connsiteX7" fmla="*/ 0 w 3164202"/>
              <a:gd name="connsiteY7" fmla="*/ 2437022 h 2772201"/>
              <a:gd name="connsiteX8" fmla="*/ 0 w 3164202"/>
              <a:gd name="connsiteY8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517157 w 3164202"/>
              <a:gd name="connsiteY3" fmla="*/ 2428784 h 2772201"/>
              <a:gd name="connsiteX4" fmla="*/ 521295 w 3164202"/>
              <a:gd name="connsiteY4" fmla="*/ 2772201 h 2772201"/>
              <a:gd name="connsiteX5" fmla="*/ 144777 w 3164202"/>
              <a:gd name="connsiteY5" fmla="*/ 2432921 h 2772201"/>
              <a:gd name="connsiteX6" fmla="*/ 0 w 3164202"/>
              <a:gd name="connsiteY6" fmla="*/ 2437022 h 2772201"/>
              <a:gd name="connsiteX7" fmla="*/ 0 w 3164202"/>
              <a:gd name="connsiteY7" fmla="*/ 0 h 27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722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517157" y="2428784"/>
                </a:lnTo>
                <a:cubicBezTo>
                  <a:pt x="518536" y="2543256"/>
                  <a:pt x="519916" y="2657729"/>
                  <a:pt x="521295" y="2772201"/>
                </a:cubicBezTo>
                <a:lnTo>
                  <a:pt x="144777" y="2432921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2616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grey sh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E053643-D2DC-7A63-88C8-C77CEC06D50C}"/>
              </a:ext>
            </a:extLst>
          </p:cNvPr>
          <p:cNvSpPr/>
          <p:nvPr userDrawn="1"/>
        </p:nvSpPr>
        <p:spPr>
          <a:xfrm>
            <a:off x="6433900" y="142875"/>
            <a:ext cx="5600937" cy="5876926"/>
          </a:xfrm>
          <a:prstGeom prst="roundRect">
            <a:avLst>
              <a:gd name="adj" fmla="val 216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2777B02-2B16-E6BA-CDEC-5FD493ABF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C3CDB27-DC06-CE33-FB98-34EA0F5386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549202-1EEF-4FD2-9B3B-501C38B5E5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3EEFBBC-BFBF-F95C-D047-92320BA1D4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913B67C-BF01-236E-C3E4-8B0848052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F5E53BF-65E3-2E01-34F4-66D5F0DCCE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226" y="492331"/>
            <a:ext cx="3164202" cy="27722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144777 w 3164202"/>
              <a:gd name="connsiteY6" fmla="*/ 2432921 h 2739101"/>
              <a:gd name="connsiteX7" fmla="*/ 0 w 3164202"/>
              <a:gd name="connsiteY7" fmla="*/ 2437022 h 2739101"/>
              <a:gd name="connsiteX8" fmla="*/ 0 w 3164202"/>
              <a:gd name="connsiteY8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144777 w 3164202"/>
              <a:gd name="connsiteY7" fmla="*/ 2432921 h 2739101"/>
              <a:gd name="connsiteX8" fmla="*/ 0 w 3164202"/>
              <a:gd name="connsiteY8" fmla="*/ 2437022 h 2739101"/>
              <a:gd name="connsiteX9" fmla="*/ 0 w 3164202"/>
              <a:gd name="connsiteY9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310279 w 3164202"/>
              <a:gd name="connsiteY7" fmla="*/ 2424646 h 2739101"/>
              <a:gd name="connsiteX8" fmla="*/ 144777 w 3164202"/>
              <a:gd name="connsiteY8" fmla="*/ 2432921 h 2739101"/>
              <a:gd name="connsiteX9" fmla="*/ 0 w 3164202"/>
              <a:gd name="connsiteY9" fmla="*/ 2437022 h 2739101"/>
              <a:gd name="connsiteX10" fmla="*/ 0 w 3164202"/>
              <a:gd name="connsiteY10" fmla="*/ 0 h 27391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2064603 w 3164202"/>
              <a:gd name="connsiteY4" fmla="*/ 2739101 h 2772201"/>
              <a:gd name="connsiteX5" fmla="*/ 1688085 w 3164202"/>
              <a:gd name="connsiteY5" fmla="*/ 2437059 h 2772201"/>
              <a:gd name="connsiteX6" fmla="*/ 517157 w 3164202"/>
              <a:gd name="connsiteY6" fmla="*/ 2428784 h 2772201"/>
              <a:gd name="connsiteX7" fmla="*/ 521295 w 3164202"/>
              <a:gd name="connsiteY7" fmla="*/ 2772201 h 2772201"/>
              <a:gd name="connsiteX8" fmla="*/ 144777 w 3164202"/>
              <a:gd name="connsiteY8" fmla="*/ 2432921 h 2772201"/>
              <a:gd name="connsiteX9" fmla="*/ 0 w 3164202"/>
              <a:gd name="connsiteY9" fmla="*/ 2437022 h 2772201"/>
              <a:gd name="connsiteX10" fmla="*/ 0 w 3164202"/>
              <a:gd name="connsiteY10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1688085 w 3164202"/>
              <a:gd name="connsiteY4" fmla="*/ 2437059 h 2772201"/>
              <a:gd name="connsiteX5" fmla="*/ 517157 w 3164202"/>
              <a:gd name="connsiteY5" fmla="*/ 2428784 h 2772201"/>
              <a:gd name="connsiteX6" fmla="*/ 521295 w 3164202"/>
              <a:gd name="connsiteY6" fmla="*/ 2772201 h 2772201"/>
              <a:gd name="connsiteX7" fmla="*/ 144777 w 3164202"/>
              <a:gd name="connsiteY7" fmla="*/ 2432921 h 2772201"/>
              <a:gd name="connsiteX8" fmla="*/ 0 w 3164202"/>
              <a:gd name="connsiteY8" fmla="*/ 2437022 h 2772201"/>
              <a:gd name="connsiteX9" fmla="*/ 0 w 3164202"/>
              <a:gd name="connsiteY9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517157 w 3164202"/>
              <a:gd name="connsiteY4" fmla="*/ 2428784 h 2772201"/>
              <a:gd name="connsiteX5" fmla="*/ 521295 w 3164202"/>
              <a:gd name="connsiteY5" fmla="*/ 2772201 h 2772201"/>
              <a:gd name="connsiteX6" fmla="*/ 144777 w 3164202"/>
              <a:gd name="connsiteY6" fmla="*/ 2432921 h 2772201"/>
              <a:gd name="connsiteX7" fmla="*/ 0 w 3164202"/>
              <a:gd name="connsiteY7" fmla="*/ 2437022 h 2772201"/>
              <a:gd name="connsiteX8" fmla="*/ 0 w 3164202"/>
              <a:gd name="connsiteY8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517157 w 3164202"/>
              <a:gd name="connsiteY3" fmla="*/ 2428784 h 2772201"/>
              <a:gd name="connsiteX4" fmla="*/ 521295 w 3164202"/>
              <a:gd name="connsiteY4" fmla="*/ 2772201 h 2772201"/>
              <a:gd name="connsiteX5" fmla="*/ 144777 w 3164202"/>
              <a:gd name="connsiteY5" fmla="*/ 2432921 h 2772201"/>
              <a:gd name="connsiteX6" fmla="*/ 0 w 3164202"/>
              <a:gd name="connsiteY6" fmla="*/ 2437022 h 2772201"/>
              <a:gd name="connsiteX7" fmla="*/ 0 w 3164202"/>
              <a:gd name="connsiteY7" fmla="*/ 0 h 27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722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517157" y="2428784"/>
                </a:lnTo>
                <a:cubicBezTo>
                  <a:pt x="518536" y="2543256"/>
                  <a:pt x="519916" y="2657729"/>
                  <a:pt x="521295" y="2772201"/>
                </a:cubicBezTo>
                <a:lnTo>
                  <a:pt x="144777" y="2432921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4881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advisors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90B2A66-3CD0-294C-5843-6C6D409928FA}"/>
              </a:ext>
            </a:extLst>
          </p:cNvPr>
          <p:cNvSpPr/>
          <p:nvPr userDrawn="1"/>
        </p:nvSpPr>
        <p:spPr>
          <a:xfrm>
            <a:off x="157162" y="3976025"/>
            <a:ext cx="11877676" cy="2043774"/>
          </a:xfrm>
          <a:prstGeom prst="roundRect">
            <a:avLst>
              <a:gd name="adj" fmla="val 6545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6100" y="142876"/>
            <a:ext cx="3868738" cy="3483694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293036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221429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90612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686019"/>
            <a:ext cx="4731744" cy="1484637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87E4B58-0799-8024-B616-D488A9B89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5019" y="492331"/>
            <a:ext cx="3164202" cy="27391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1EA771E-20BD-3585-8EC7-0F65F1659A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255594"/>
            <a:ext cx="4731744" cy="1484637"/>
          </a:xfrm>
        </p:spPr>
        <p:txBody>
          <a:bodyPr anchor="t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 i="1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  <a:p>
            <a:pPr lvl="1"/>
            <a:r>
              <a:rPr lang="en-US" dirty="0"/>
              <a:t>Name auth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F1F9C55-0F6B-F82C-27FD-0D1D60ADA9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5019" y="4255594"/>
            <a:ext cx="4731744" cy="1484637"/>
          </a:xfrm>
        </p:spPr>
        <p:txBody>
          <a:bodyPr anchor="t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 i="1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  <a:p>
            <a:pPr lvl="1"/>
            <a:r>
              <a:rPr lang="en-US" dirty="0"/>
              <a:t>Name author</a:t>
            </a:r>
          </a:p>
        </p:txBody>
      </p:sp>
    </p:spTree>
    <p:extLst>
      <p:ext uri="{BB962C8B-B14F-4D97-AF65-F5344CB8AC3E}">
        <p14:creationId xmlns:p14="http://schemas.microsoft.com/office/powerpoint/2010/main" val="2808275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xt of the m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-1" y="0"/>
            <a:ext cx="249080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79041" y="540000"/>
            <a:ext cx="6392525" cy="57714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ntext of the meeting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C6DCE145-58A1-FEA3-D8F9-7A012C787F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69205" y="1793211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79041" y="1793211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1465DF8-91D3-651E-3865-2CE72EF685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8439" y="1427437"/>
            <a:ext cx="1293928" cy="1295076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981E071-CD51-8BAC-2A4F-815DBA04B9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847" y="2877250"/>
            <a:ext cx="1975884" cy="478308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Aft>
                <a:spcPts val="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None/>
              <a:defRPr sz="1200"/>
            </a:lvl2pPr>
            <a:lvl3pPr marL="327025" indent="-1444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 algn="ctr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Function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5972491F-D327-B83B-38CD-C1828BA45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98439" y="3847907"/>
            <a:ext cx="1293928" cy="1295076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5391EE3-4851-C70F-E37B-3DF550B90B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847" y="5297720"/>
            <a:ext cx="1975884" cy="478308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Aft>
                <a:spcPts val="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None/>
              <a:defRPr sz="1200"/>
            </a:lvl2pPr>
            <a:lvl3pPr marL="327025" indent="-1444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 algn="ctr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Name Surname</a:t>
            </a:r>
          </a:p>
          <a:p>
            <a:pPr lvl="1"/>
            <a:r>
              <a:rPr lang="en-US" dirty="0"/>
              <a:t>Function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32756DC-F049-2BD0-1077-D03403F93CB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69205" y="3288938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317BA5-3510-A3E0-B9B8-955BA841F3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979041" y="3291007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A414510-8715-F922-5907-879C4191B1A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969205" y="4784665"/>
            <a:ext cx="6682791" cy="1247894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0DAD309-E124-EB9B-B932-849C416368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79041" y="4784665"/>
            <a:ext cx="1832937" cy="486583"/>
          </a:xfrm>
          <a:prstGeom prst="roundRect">
            <a:avLst/>
          </a:prstGeom>
          <a:solidFill>
            <a:schemeClr val="bg1"/>
          </a:solidFill>
          <a:effectLst>
            <a:outerShdw blurRad="88900" sx="102000" sy="102000" algn="ctr" rotWithShape="0">
              <a:schemeClr val="accent5">
                <a:alpha val="40000"/>
              </a:schemeClr>
            </a:outerShdw>
          </a:effectLst>
        </p:spPr>
        <p:txBody>
          <a:bodyPr lIns="36000" tIns="0" rIns="180000" bIns="0" anchor="ctr" anchorCtr="0"/>
          <a:lstStyle>
            <a:lvl1pPr>
              <a:spcAft>
                <a:spcPts val="600"/>
              </a:spcAft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7B85B7-1BD9-1D2C-A0C2-93FAF6B3AD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9041" y="6420515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FB645D7-4963-BE82-2084-7588F6E401CB}"/>
              </a:ext>
            </a:extLst>
          </p:cNvPr>
          <p:cNvGrpSpPr/>
          <p:nvPr userDrawn="1"/>
        </p:nvGrpSpPr>
        <p:grpSpPr>
          <a:xfrm>
            <a:off x="9587289" y="398930"/>
            <a:ext cx="2279534" cy="640977"/>
            <a:chOff x="9529018" y="313765"/>
            <a:chExt cx="2279534" cy="640977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450C080-E5B2-7693-02F9-4F0A5B9ABBD1}"/>
                </a:ext>
              </a:extLst>
            </p:cNvPr>
            <p:cNvSpPr txBox="1">
              <a:spLocks/>
            </p:cNvSpPr>
            <p:nvPr/>
          </p:nvSpPr>
          <p:spPr>
            <a:xfrm>
              <a:off x="9529018" y="372460"/>
              <a:ext cx="2279534" cy="553998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 anchorCtr="0">
              <a:spAutoFit/>
            </a:bodyPr>
            <a:lstStyle>
              <a:lvl1pPr marL="180000" lvl="0" indent="-180000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>
                  <a:solidFill>
                    <a:schemeClr val="tx2"/>
                  </a:solidFill>
                </a:defRPr>
              </a:lvl1pPr>
              <a:lvl2pPr marL="360000" lvl="1" indent="-180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2"/>
                  </a:solidFill>
                </a:defRPr>
              </a:lvl2pPr>
              <a:lvl3pPr marL="540000" lvl="2" indent="-1800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>
                  <a:solidFill>
                    <a:schemeClr val="tx2"/>
                  </a:solidFill>
                </a:defRPr>
              </a:lvl3pPr>
              <a:lvl4pPr marL="0" lvl="3" indent="0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>
                  <a:solidFill>
                    <a:schemeClr val="accent1"/>
                  </a:solidFill>
                </a:defRPr>
              </a:lvl4pPr>
              <a:lvl5pPr marL="0" lvl="4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tabLst/>
                <a:defRPr sz="2000">
                  <a:solidFill>
                    <a:schemeClr val="tx2"/>
                  </a:solidFill>
                </a:defRPr>
              </a:lvl5pPr>
              <a:lvl6pPr marL="172800" lvl="5" indent="-17280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tx2"/>
                  </a:solidFill>
                </a:defRPr>
              </a:lvl6pPr>
              <a:lvl7pPr marL="0" lvl="6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b="0" baseline="0">
                  <a:solidFill>
                    <a:schemeClr val="accent1"/>
                  </a:solidFill>
                </a:defRPr>
              </a:lvl7pPr>
              <a:lvl8pPr marL="0" lvl="7" indent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>
                  <a:solidFill>
                    <a:schemeClr val="tx2"/>
                  </a:solidFill>
                </a:defRPr>
              </a:lvl8pPr>
              <a:lvl9pPr marL="0" lvl="8" inden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 spc="-150" baseline="0">
                  <a:solidFill>
                    <a:schemeClr val="accent1"/>
                  </a:solidFill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NOT TO BE DISCLOSED</a:t>
              </a:r>
              <a:b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</a:b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EF2637">
                      <a:alpha val="25000"/>
                    </a:srgbClr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rPr>
                <a:t>INTERNAL USE ONLY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EF2637">
                    <a:alpha val="25000"/>
                  </a:srgbClr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28AE6A4-6A4D-3CD1-D449-161157DE4CAC}"/>
                </a:ext>
              </a:extLst>
            </p:cNvPr>
            <p:cNvCxnSpPr/>
            <p:nvPr/>
          </p:nvCxnSpPr>
          <p:spPr>
            <a:xfrm>
              <a:off x="9529018" y="313765"/>
              <a:ext cx="2279534" cy="0"/>
            </a:xfrm>
            <a:prstGeom prst="line">
              <a:avLst/>
            </a:prstGeom>
            <a:ln w="12700">
              <a:solidFill>
                <a:schemeClr val="accent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54BE3E0F-DAA4-B531-4EDF-E71E7BBE79CE}"/>
                </a:ext>
              </a:extLst>
            </p:cNvPr>
            <p:cNvCxnSpPr/>
            <p:nvPr/>
          </p:nvCxnSpPr>
          <p:spPr>
            <a:xfrm>
              <a:off x="9529018" y="954742"/>
              <a:ext cx="2279534" cy="0"/>
            </a:xfrm>
            <a:prstGeom prst="line">
              <a:avLst/>
            </a:prstGeom>
            <a:ln w="12700">
              <a:solidFill>
                <a:schemeClr val="accent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8031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8534FA-5351-407A-A7FE-E2CCE9D157E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851997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C8426AFD-9184-8E77-929E-43C40DDDAA60}"/>
              </a:ext>
            </a:extLst>
          </p:cNvPr>
          <p:cNvSpPr>
            <a:spLocks noGrp="1"/>
          </p:cNvSpPr>
          <p:nvPr>
            <p:ph type="media" sz="quarter" idx="24" hasCustomPrompt="1"/>
          </p:nvPr>
        </p:nvSpPr>
        <p:spPr>
          <a:xfrm>
            <a:off x="2121877" y="1560763"/>
            <a:ext cx="7948246" cy="4459037"/>
          </a:xfrm>
          <a:solidFill>
            <a:srgbClr val="F4F6FA"/>
          </a:solidFill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>
              <a:defRPr lang="en-US">
                <a:solidFill>
                  <a:schemeClr val="tx2"/>
                </a:solidFill>
              </a:defRPr>
            </a:lvl1pPr>
          </a:lstStyle>
          <a:p>
            <a:pPr lvl="0" algn="ctr"/>
            <a:r>
              <a:rPr lang="en-US" dirty="0"/>
              <a:t>Insert video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EFF6E7B-C4D9-FD3C-E36B-16B792752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183" y="986377"/>
            <a:ext cx="8611634" cy="4410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A674861-6663-E6FB-B82A-B3DADF0038D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8227" y="599466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 algn="ctr"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8175DB9-EC67-B010-6B08-8F95F6E222F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76370" y="5718047"/>
            <a:ext cx="1689761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0" u="none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Use case: xxx</a:t>
            </a:r>
          </a:p>
        </p:txBody>
      </p:sp>
    </p:spTree>
    <p:extLst>
      <p:ext uri="{BB962C8B-B14F-4D97-AF65-F5344CB8AC3E}">
        <p14:creationId xmlns:p14="http://schemas.microsoft.com/office/powerpoint/2010/main" val="2823317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8308" y="986377"/>
            <a:ext cx="4735384" cy="44108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28308" y="1451364"/>
            <a:ext cx="4735384" cy="274585"/>
          </a:xfrm>
        </p:spPr>
        <p:txBody>
          <a:bodyPr/>
          <a:lstStyle>
            <a:lvl1pPr algn="ctr"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28227" y="599466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 algn="ctr"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993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&amp; figure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9640" y="142874"/>
            <a:ext cx="11865198" cy="3113383"/>
          </a:xfrm>
          <a:prstGeom prst="rect">
            <a:avLst/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2" y="3531455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3144544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1" y="2544188"/>
            <a:ext cx="2392932" cy="239293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9E5B1B-04C2-B480-FE5D-748F8BBE0C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1721" y="2771753"/>
            <a:ext cx="1937802" cy="193780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B3D6CB0-1625-E8D4-646F-E97DB6A45F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712" y="2930654"/>
            <a:ext cx="1620000" cy="1620000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9C5DE50-C810-97DC-9BC1-A8491B0BA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04400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BFFE30-228D-31EB-4DE6-46791E8BC4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5562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2123937-DF6A-4EA9-2DBE-E98BC21ED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6747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31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acts &amp;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E053643-D2DC-7A63-88C8-C77CEC06D50C}"/>
              </a:ext>
            </a:extLst>
          </p:cNvPr>
          <p:cNvSpPr/>
          <p:nvPr userDrawn="1"/>
        </p:nvSpPr>
        <p:spPr>
          <a:xfrm>
            <a:off x="6433900" y="142875"/>
            <a:ext cx="5600937" cy="5876926"/>
          </a:xfrm>
          <a:prstGeom prst="roundRect">
            <a:avLst>
              <a:gd name="adj" fmla="val 216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2" y="1582666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575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2" y="5712648"/>
            <a:ext cx="4019586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9E5B1B-04C2-B480-FE5D-748F8BBE0C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654614" y="2230987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9C5DE50-C810-97DC-9BC1-A8491B0BA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58244" y="1076078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BFFE30-228D-31EB-4DE6-46791E8BC4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158244" y="2865571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2123937-DF6A-4EA9-2DBE-E98BC21ED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158244" y="4655065"/>
            <a:ext cx="1303535" cy="354181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 algn="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FA057DD-A987-6B57-EDFA-D78B399BCC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54614" y="441494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8406CE-6FDA-BD88-C146-2728EB6DF73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54614" y="4020481"/>
            <a:ext cx="1623348" cy="1623348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8007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p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8DA927-5636-29B0-F4D3-2D4F7D83D7C1}"/>
              </a:ext>
            </a:extLst>
          </p:cNvPr>
          <p:cNvSpPr/>
          <p:nvPr userDrawn="1"/>
        </p:nvSpPr>
        <p:spPr>
          <a:xfrm>
            <a:off x="3620362" y="0"/>
            <a:ext cx="857163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02B26AA-4BD9-3C1C-2608-005593654C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09065" y="2798636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622C819-328A-443C-2FFC-AC169C193F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2817676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B0C668C-A6FD-FF13-B51F-050E0D938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68499" y="2862568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D097F48-C025-5387-7A51-AE8E006BDE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09065" y="3804062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CDDCEAE-382C-682B-89A8-E15E1BF77D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40000" y="3823102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A804815-3E30-D3C6-D13E-6E4E828111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68499" y="3867994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47AB0E33-C291-59CE-7217-110FCEC544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09065" y="4809488"/>
            <a:ext cx="2464116" cy="81758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B36B68F-CD97-72F0-7BA1-90ED7DC3DF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0000" y="4828528"/>
            <a:ext cx="2571336" cy="779508"/>
          </a:xfrm>
          <a:prstGeom prst="rect">
            <a:avLst/>
          </a:prstGeom>
          <a:noFill/>
          <a:effectLst/>
        </p:spPr>
        <p:txBody>
          <a:bodyPr lIns="0" tIns="0" rIns="0" bIns="0" anchor="ctr" anchorCtr="0"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E648C5D0-D132-9873-0947-0896E09B337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68499" y="4873420"/>
            <a:ext cx="687006" cy="688012"/>
          </a:xfrm>
          <a:prstGeom prst="ellipse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3200">
                <a:sym typeface="Wingdings" panose="05000000000000000000" pitchFamily="2" charset="2"/>
              </a:defRPr>
            </a:lvl1pPr>
          </a:lstStyle>
          <a:p>
            <a:pPr lvl="0"/>
            <a:r>
              <a:rPr lang="en-US" dirty="0"/>
              <a:t>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6C9CE3F-D82C-DA97-5AC6-B5014A0E4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2" y="1257079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121989-3125-C78F-372F-84EB1752A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2" y="870168"/>
            <a:ext cx="2815622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PARCELS PRODUCT | CLICK &amp; COLLECT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BCA6471-582A-ECB0-7029-862282D66F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0002" y="5712648"/>
            <a:ext cx="2732806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8E37F0EA-E618-0732-38FE-AC8B4D8A46F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70920" y="142875"/>
            <a:ext cx="3163917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A5C5D0F-331A-F6D2-5ACA-FCBD0F86409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62111" y="410149"/>
            <a:ext cx="2398792" cy="2076522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1BA89B4-26E3-6517-54D1-70F2143904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50" y="2101441"/>
            <a:ext cx="2728749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id="{E04E88C6-29B1-4736-8F26-9A74C20E4C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0756" y="6254367"/>
            <a:ext cx="1171688" cy="56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46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enter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1507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E30F41-5A6E-E7D7-C09F-0B49753127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9749" y="1055077"/>
            <a:ext cx="11112501" cy="368910"/>
          </a:xfrm>
        </p:spPr>
        <p:txBody>
          <a:bodyPr/>
          <a:lstStyle>
            <a:lvl1pPr algn="ct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020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id="{08A0CF52-3FD5-44CF-B434-82C531A561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6100" y="142875"/>
            <a:ext cx="3868738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682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06F5B-5648-492B-B26D-DF51CC4C8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94C3DA-9ECB-4D52-85C4-2147141F6B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9750" y="1849438"/>
            <a:ext cx="11112500" cy="4140200"/>
          </a:xfrm>
        </p:spPr>
        <p:txBody>
          <a:bodyPr/>
          <a:lstStyle>
            <a:lvl1pPr>
              <a:spcAft>
                <a:spcPts val="600"/>
              </a:spcAft>
              <a:defRPr sz="16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517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E2082E75-A0BB-4EE9-B485-2AB403C014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79780" y="218377"/>
            <a:ext cx="6783081" cy="3338556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6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t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9C45919-4D6F-4C0E-BFC5-33F1A1AFED1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4763" y="-1588"/>
            <a:ext cx="12196763" cy="2382838"/>
          </a:xfrm>
          <a:solidFill>
            <a:schemeClr val="bg2"/>
          </a:solidFill>
        </p:spPr>
        <p:txBody>
          <a:bodyPr anchor="ctr" anchorCtr="1"/>
          <a:lstStyle>
            <a:lvl1pPr>
              <a:defRPr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3CAEAD5-3C3F-DE5D-5399-F5416B98A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3577" y="1317861"/>
            <a:ext cx="3642222" cy="841944"/>
          </a:xfrm>
        </p:spPr>
        <p:txBody>
          <a:bodyPr anchor="b" anchorCtr="0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oduct stories </a:t>
            </a:r>
            <a:br>
              <a:rPr lang="en-US" dirty="0"/>
            </a:br>
            <a:r>
              <a:rPr lang="en-US" dirty="0"/>
              <a:t>“</a:t>
            </a:r>
            <a:r>
              <a:rPr lang="en-US" dirty="0" err="1"/>
              <a:t>xxxxxxx</a:t>
            </a:r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2742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E43903-8D86-4378-B1E5-1D9AE3087BC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517051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005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int of 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6100" y="142875"/>
            <a:ext cx="3868738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2666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1059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575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2675" y="2975649"/>
            <a:ext cx="4348820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87E4B58-0799-8024-B616-D488A9B89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5019" y="492331"/>
            <a:ext cx="3164202" cy="27391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</p:spTree>
    <p:extLst>
      <p:ext uri="{BB962C8B-B14F-4D97-AF65-F5344CB8AC3E}">
        <p14:creationId xmlns:p14="http://schemas.microsoft.com/office/powerpoint/2010/main" val="402319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910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178162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63070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F73F2FF5-DF33-4214-A101-12EC0FAD924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44497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B8C8B31A-6C4F-494C-B2C4-96F5FC1DAA5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472461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AA63D0-50F1-47CC-86FA-0F9068874100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269508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99E8D4E-6F85-4BB1-9C56-88FF40019880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837696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7E7B42-287C-4ED1-8EC7-6DD7F0CB110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90112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0DCDF2-C4AD-414C-A27B-9D0E94C1E68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88519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DB023-D871-4C19-BCD0-C01D1930DA38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968364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3057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1049FF2-562E-4FF8-BE37-4263DA0C6354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833776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CB2A7E9-3614-483C-A98C-8ECE0BE80B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16788" y="647700"/>
            <a:ext cx="7793470" cy="5524500"/>
          </a:xfrm>
          <a:custGeom>
            <a:avLst/>
            <a:gdLst>
              <a:gd name="connsiteX0" fmla="*/ 0 w 21259800"/>
              <a:gd name="connsiteY0" fmla="*/ 0 h 11049000"/>
              <a:gd name="connsiteX1" fmla="*/ 21259800 w 21259800"/>
              <a:gd name="connsiteY1" fmla="*/ 0 h 11049000"/>
              <a:gd name="connsiteX2" fmla="*/ 21259800 w 21259800"/>
              <a:gd name="connsiteY2" fmla="*/ 11049000 h 11049000"/>
              <a:gd name="connsiteX3" fmla="*/ 0 w 2125980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59800" h="11049000">
                <a:moveTo>
                  <a:pt x="0" y="0"/>
                </a:moveTo>
                <a:lnTo>
                  <a:pt x="21259800" y="0"/>
                </a:lnTo>
                <a:lnTo>
                  <a:pt x="2125980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_GeneralDate">
            <a:extLst>
              <a:ext uri="{FF2B5EF4-FFF2-40B4-BE49-F238E27FC236}">
                <a16:creationId xmlns:a16="http://schemas.microsoft.com/office/drawing/2014/main" id="{F421F132-F4CB-4490-9C73-AAED4EF9C8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0F7E4FF-B48E-4C92-AADF-5BD1E04A7D64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4EEB734-489C-4500-AB2E-2FA319D3CA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9092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773144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119797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B948602-5320-4DCD-94A3-2CB80716ED1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81743" y="647700"/>
            <a:ext cx="10628516" cy="5524500"/>
          </a:xfrm>
          <a:custGeom>
            <a:avLst/>
            <a:gdLst>
              <a:gd name="connsiteX0" fmla="*/ 0 w 10629899"/>
              <a:gd name="connsiteY0" fmla="*/ 0 h 11049000"/>
              <a:gd name="connsiteX1" fmla="*/ 10629899 w 10629899"/>
              <a:gd name="connsiteY1" fmla="*/ 0 h 11049000"/>
              <a:gd name="connsiteX2" fmla="*/ 10629899 w 10629899"/>
              <a:gd name="connsiteY2" fmla="*/ 11049000 h 11049000"/>
              <a:gd name="connsiteX3" fmla="*/ 0 w 10629899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29899" h="11049000">
                <a:moveTo>
                  <a:pt x="0" y="0"/>
                </a:moveTo>
                <a:lnTo>
                  <a:pt x="10629899" y="0"/>
                </a:lnTo>
                <a:lnTo>
                  <a:pt x="10629899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Date_GeneralDate">
            <a:extLst>
              <a:ext uri="{FF2B5EF4-FFF2-40B4-BE49-F238E27FC236}">
                <a16:creationId xmlns:a16="http://schemas.microsoft.com/office/drawing/2014/main" id="{52A9BC48-5B7C-4D49-8D70-406FE0A5E4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B1D3EF59-5428-45FB-8105-F2A3295314D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068ACB8-C7BF-41DC-8845-B820704F3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359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99AC5CB4-5FF9-4E18-9D94-94478F1FCE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335716" y="-246184"/>
            <a:ext cx="7627794" cy="7350367"/>
          </a:xfrm>
          <a:custGeom>
            <a:avLst/>
            <a:gdLst>
              <a:gd name="connsiteX0" fmla="*/ 0 w 7829549"/>
              <a:gd name="connsiteY0" fmla="*/ 0 h 7543801"/>
              <a:gd name="connsiteX1" fmla="*/ 7829549 w 7829549"/>
              <a:gd name="connsiteY1" fmla="*/ 0 h 7543801"/>
              <a:gd name="connsiteX2" fmla="*/ 7829549 w 7829549"/>
              <a:gd name="connsiteY2" fmla="*/ 7543801 h 7543801"/>
              <a:gd name="connsiteX3" fmla="*/ 0 w 7829549"/>
              <a:gd name="connsiteY3" fmla="*/ 7543801 h 75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9549" h="7543801">
                <a:moveTo>
                  <a:pt x="0" y="0"/>
                </a:moveTo>
                <a:lnTo>
                  <a:pt x="7829549" y="0"/>
                </a:lnTo>
                <a:lnTo>
                  <a:pt x="7829549" y="7543801"/>
                </a:lnTo>
                <a:lnTo>
                  <a:pt x="0" y="754380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940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150" fill="hold"/>
                                        <p:tgtEl>
                                          <p:spTgt spid="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laptop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BCFDED92-AE18-4798-AD4A-4122E5E61CA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34264" y="1311693"/>
            <a:ext cx="4268105" cy="3054095"/>
          </a:xfrm>
          <a:solidFill>
            <a:schemeClr val="bg2">
              <a:lumMod val="50000"/>
            </a:schemeClr>
          </a:solidFill>
          <a:scene3d>
            <a:camera prst="perspectiveContrastingLeftFacing" fov="300000">
              <a:rot lat="900000" lon="1200000" rev="20940000"/>
            </a:camera>
            <a:lightRig rig="threePt" dir="t"/>
          </a:scene3d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ru-UA"/>
          </a:p>
        </p:txBody>
      </p:sp>
    </p:spTree>
    <p:extLst>
      <p:ext uri="{BB962C8B-B14F-4D97-AF65-F5344CB8AC3E}">
        <p14:creationId xmlns:p14="http://schemas.microsoft.com/office/powerpoint/2010/main" val="82451684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108000" tIns="576000" rIns="108000" bIns="0" anchor="ctr" anchorCtr="0">
            <a:normAutofit/>
          </a:bodyPr>
          <a:lstStyle>
            <a:lvl1pPr algn="ctr"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2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847B0FB9-581E-4146-B7C9-ED8C04E1795C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4592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43C4-FF99-4088-BC2D-0DCFB63A2F6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8353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89225485-3BC4-D346-9652-40247A2D14F2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FB7BE6C-761A-EA48-A067-AF129F7FF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73AA17D-0098-2C43-885C-73BDFECE919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062BB974-2A0A-6A40-956E-4741865FB015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0D7F72-9767-9E42-A8B2-0E27D3C0A9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1" y="1341915"/>
            <a:ext cx="11112500" cy="4837895"/>
          </a:xfrm>
        </p:spPr>
        <p:txBody>
          <a:bodyPr/>
          <a:lstStyle>
            <a:lvl1pPr marL="179996" indent="-179996">
              <a:buClr>
                <a:schemeClr val="accent1"/>
              </a:buClr>
              <a:buFont typeface="Courier New" panose="02070309020205020404" pitchFamily="49" charset="0"/>
              <a:buChar char="o"/>
              <a:defRPr spc="-107" baseline="0">
                <a:solidFill>
                  <a:schemeClr val="tx2"/>
                </a:solidFill>
              </a:defRPr>
            </a:lvl1pPr>
            <a:lvl2pPr marL="359991" indent="-179996">
              <a:buClr>
                <a:schemeClr val="accent1"/>
              </a:buClr>
              <a:buFont typeface="Courier New" panose="02070309020205020404" pitchFamily="49" charset="0"/>
              <a:buChar char="o"/>
              <a:defRPr spc="-107" baseline="0">
                <a:solidFill>
                  <a:schemeClr val="tx2"/>
                </a:solidFill>
              </a:defRPr>
            </a:lvl2pPr>
            <a:lvl3pPr marL="539987" indent="-179996">
              <a:buClr>
                <a:schemeClr val="accent1"/>
              </a:buClr>
              <a:buFont typeface="Courier New" panose="02070309020205020404" pitchFamily="49" charset="0"/>
              <a:buChar char="o"/>
              <a:defRPr spc="-107" baseline="0">
                <a:solidFill>
                  <a:schemeClr val="tx2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08000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2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5F277FA2-C0F6-8A4C-BEAB-C0FC6740FF08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1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33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4961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2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8381" y="2930880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1" y="1022878"/>
            <a:ext cx="5607620" cy="1577559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5FCCC08E-34CA-C640-9A9E-F98CC854ED69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1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33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7038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903E73F6-68F3-F642-A498-F1AF0AAD83ED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922D370-874E-9D43-94E5-394598550DC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30A74BE3-C74E-BCD1-005D-774D01B48A8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9749" y="1810326"/>
            <a:ext cx="11112252" cy="4507673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147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E71D10A-07EA-5F46-A6E3-358649178190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922D370-874E-9D43-94E5-394598550DC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6A3C20-A93E-3286-EE16-A8BFD66579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498863"/>
            <a:ext cx="5466000" cy="4819138"/>
          </a:xfrm>
        </p:spPr>
        <p:txBody>
          <a:bodyPr/>
          <a:lstStyle>
            <a:lvl1pPr>
              <a:defRPr lang="nl-NL"/>
            </a:lvl1pPr>
            <a:lvl2pPr>
              <a:defRPr lang="nl-NL"/>
            </a:lvl2pPr>
            <a:lvl3pPr>
              <a:defRPr lang="nl-NL"/>
            </a:lvl3pPr>
            <a:lvl4pPr>
              <a:defRPr lang="nl-NL"/>
            </a:lvl4pPr>
            <a:lvl5pPr>
              <a:defRPr lang="en-GB" dirty="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A2BC72FF-B6D3-24A0-E775-96F3CD31B8A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1498860"/>
            <a:ext cx="5466000" cy="4819139"/>
          </a:xfrm>
          <a:noFill/>
        </p:spPr>
        <p:txBody>
          <a:bodyPr/>
          <a:lstStyle>
            <a:lvl1pPr marL="0" indent="0" algn="ctr">
              <a:buNone/>
              <a:defRPr lang="da-DK" dirty="0"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71395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9821C21-1346-4447-B0F5-C8324F7E1EDB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922D370-874E-9D43-94E5-394598550DC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1A24223-9C72-6AB0-A4D4-F2474FFB16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EF08BEE-E55A-7B23-F4E3-35CED12B9BC2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00613B05-6AB3-FD40-B5CE-5CEB39FFE1C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700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F36A1454-9EC2-D642-8F91-0288A8CBE87E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12832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98034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(Sub)Title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49DB8F63-6B4F-7D48-A598-CD42A2CA1D4F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12832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0CD925E-EA60-4F0F-BB80-97C7E6372D58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394456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00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1845E59E-DEA2-3D45-8DBE-7A931726FDD7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31792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C73562A7-4CB0-9D47-8C58-A565FC594101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922D370-874E-9D43-94E5-394598550DC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6573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5985DF-3900-4E7A-B107-4D84D299E32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760696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51A74A89-E6F3-DF48-8065-3485093B4697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ctr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922D370-874E-9D43-94E5-394598550DC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826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1402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sub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483543-0ECC-F54D-8491-93886E07061F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2" name="Freeform: Shape 22">
            <a:extLst>
              <a:ext uri="{FF2B5EF4-FFF2-40B4-BE49-F238E27FC236}">
                <a16:creationId xmlns:a16="http://schemas.microsoft.com/office/drawing/2014/main" id="{7C3D230D-01D5-7846-9D05-B5D23FF74F1E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6285062-DEA1-8B4B-900B-F862D19AB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604E90B-E602-384D-943E-11823AB01B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4" name="Text Placeholder 24">
            <a:extLst>
              <a:ext uri="{FF2B5EF4-FFF2-40B4-BE49-F238E27FC236}">
                <a16:creationId xmlns:a16="http://schemas.microsoft.com/office/drawing/2014/main" id="{0AD54501-3909-964F-9029-A1FFCBF1173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163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centered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3D1515F-B13B-444C-85AD-9F8956CB29D1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2" name="Freeform: Shape 22">
            <a:extLst>
              <a:ext uri="{FF2B5EF4-FFF2-40B4-BE49-F238E27FC236}">
                <a16:creationId xmlns:a16="http://schemas.microsoft.com/office/drawing/2014/main" id="{7C3D230D-01D5-7846-9D05-B5D23FF74F1E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6285062-DEA1-8B4B-900B-F862D19AB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604E90B-E602-384D-943E-11823AB01B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921833"/>
            <a:ext cx="11112000" cy="306580"/>
          </a:xfrm>
        </p:spPr>
        <p:txBody>
          <a:bodyPr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4" name="Text Placeholder 24">
            <a:extLst>
              <a:ext uri="{FF2B5EF4-FFF2-40B4-BE49-F238E27FC236}">
                <a16:creationId xmlns:a16="http://schemas.microsoft.com/office/drawing/2014/main" id="{0AD54501-3909-964F-9029-A1FFCBF1173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826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64409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sub">
    <p:bg>
      <p:bgPr>
        <a:gradFill>
          <a:gsLst>
            <a:gs pos="2000">
              <a:srgbClr val="A51E22"/>
            </a:gs>
            <a:gs pos="58000">
              <a:schemeClr val="accent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D3CCC4-DD95-6549-A5AD-E3998CB04A37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2" name="Freeform: Shape 22">
            <a:extLst>
              <a:ext uri="{FF2B5EF4-FFF2-40B4-BE49-F238E27FC236}">
                <a16:creationId xmlns:a16="http://schemas.microsoft.com/office/drawing/2014/main" id="{7C3D230D-01D5-7846-9D05-B5D23FF74F1E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6285062-DEA1-8B4B-900B-F862D19AB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604E90B-E602-384D-943E-11823AB01B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4" name="Text Placeholder 24">
            <a:extLst>
              <a:ext uri="{FF2B5EF4-FFF2-40B4-BE49-F238E27FC236}">
                <a16:creationId xmlns:a16="http://schemas.microsoft.com/office/drawing/2014/main" id="{0AD54501-3909-964F-9029-A1FFCBF1173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4763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C641F75-21A5-8F4D-8F61-511353F17A54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2862125"/>
            <a:ext cx="11112001" cy="413617"/>
          </a:xfrm>
        </p:spPr>
        <p:txBody>
          <a:bodyPr anchor="b"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922D370-874E-9D43-94E5-394598550DC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3429001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tx2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3332117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0561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C609293-E34C-DB47-AF13-184CBFA2DF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BEB466-1A88-3F40-9BB3-AD3863D2C8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2313227"/>
            <a:ext cx="12192000" cy="1989547"/>
          </a:xfrm>
          <a:solidFill>
            <a:schemeClr val="tx1">
              <a:alpha val="66254"/>
            </a:schemeClr>
          </a:solidFill>
        </p:spPr>
        <p:txBody>
          <a:bodyPr/>
          <a:lstStyle>
            <a:lvl1pPr marL="0" indent="0">
              <a:buNone/>
              <a:defRPr sz="133"/>
            </a:lvl1pPr>
          </a:lstStyle>
          <a:p>
            <a:pPr lvl="0"/>
            <a:r>
              <a:rPr lang="en-BE"/>
              <a:t>.</a:t>
            </a:r>
          </a:p>
        </p:txBody>
      </p:sp>
      <p:sp>
        <p:nvSpPr>
          <p:cNvPr id="13" name="Date_GeneralDate">
            <a:extLst>
              <a:ext uri="{FF2B5EF4-FFF2-40B4-BE49-F238E27FC236}">
                <a16:creationId xmlns:a16="http://schemas.microsoft.com/office/drawing/2014/main" id="{3054948F-1CBD-D34A-B4D3-330EA2679F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8CD9831D-095A-E742-92E4-F66DA640AD75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8A509AD2-CC02-0540-B208-91FB5EBF9F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149CDC42-0D48-AD4B-BBA7-5540C6577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1256C47-3B02-6D4C-8525-0B764C7FA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2713945"/>
            <a:ext cx="11112001" cy="465384"/>
          </a:xfrm>
        </p:spPr>
        <p:txBody>
          <a:bodyPr anchor="b">
            <a:sp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06AB689-EE1F-B44E-84D1-30D6BDE332E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3470135"/>
            <a:ext cx="11112000" cy="272468"/>
          </a:xfrm>
        </p:spPr>
        <p:txBody>
          <a:bodyPr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133" spc="-107" baseline="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2" name="Text Placeholder 24">
            <a:extLst>
              <a:ext uri="{FF2B5EF4-FFF2-40B4-BE49-F238E27FC236}">
                <a16:creationId xmlns:a16="http://schemas.microsoft.com/office/drawing/2014/main" id="{FD8CB7B6-4C55-814D-97F2-0FA95A5DC485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826000" y="3308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solidFill>
                  <a:schemeClr val="bg1"/>
                </a:solidFill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67B58BBF-5D5C-3483-BCA4-DF373FB45EA3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11094046" y="6416765"/>
            <a:ext cx="557647" cy="30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5691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 dark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_GeneralDate">
            <a:extLst>
              <a:ext uri="{FF2B5EF4-FFF2-40B4-BE49-F238E27FC236}">
                <a16:creationId xmlns:a16="http://schemas.microsoft.com/office/drawing/2014/main" id="{4C896E66-9C0D-8B46-ACAF-B74BCC0B4F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EB1BB961-8640-DB40-A4FD-41679601DFC7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FBF41471-35A2-F445-BD44-2FBEAA97B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34B4E2B-8EC2-004A-AF8D-02DDFE623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bg1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7FEB7A5-19D3-E349-A083-6A6C527F22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2862125"/>
            <a:ext cx="11112001" cy="413617"/>
          </a:xfrm>
        </p:spPr>
        <p:txBody>
          <a:bodyPr anchor="b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922D370-874E-9D43-94E5-394598550DC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3429001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8" name="Text Placeholder 24">
            <a:extLst>
              <a:ext uri="{FF2B5EF4-FFF2-40B4-BE49-F238E27FC236}">
                <a16:creationId xmlns:a16="http://schemas.microsoft.com/office/drawing/2014/main" id="{0E8C7833-6232-8F4E-A8C1-22B315FF8D5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3332117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Freeform: Shape 22">
            <a:extLst>
              <a:ext uri="{FF2B5EF4-FFF2-40B4-BE49-F238E27FC236}">
                <a16:creationId xmlns:a16="http://schemas.microsoft.com/office/drawing/2014/main" id="{E4688F8D-0006-3373-6DAC-4AF1106FF514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</p:spTree>
    <p:extLst>
      <p:ext uri="{BB962C8B-B14F-4D97-AF65-F5344CB8AC3E}">
        <p14:creationId xmlns:p14="http://schemas.microsoft.com/office/powerpoint/2010/main" val="306700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ulleted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D9C7B1-F30D-FB47-881F-8C579E4D0672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6285062-DEA1-8B4B-900B-F862D19AB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15201"/>
            <a:ext cx="11112001" cy="413617"/>
          </a:xfrm>
        </p:spPr>
        <p:txBody>
          <a:bodyPr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604E90B-E602-384D-943E-11823AB01B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882077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4" name="Text Placeholder 24">
            <a:extLst>
              <a:ext uri="{FF2B5EF4-FFF2-40B4-BE49-F238E27FC236}">
                <a16:creationId xmlns:a16="http://schemas.microsoft.com/office/drawing/2014/main" id="{0AD54501-3909-964F-9029-A1FFCBF1173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78519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0EF9EDB-1991-8640-9ACA-612BEEE08E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1" y="1341915"/>
            <a:ext cx="11112500" cy="4837895"/>
          </a:xfrm>
        </p:spPr>
        <p:txBody>
          <a:bodyPr/>
          <a:lstStyle>
            <a:lvl1pPr marL="179996" indent="-179996">
              <a:buClr>
                <a:schemeClr val="accent1"/>
              </a:buClr>
              <a:buFont typeface="Courier New" panose="02070309020205020404" pitchFamily="49" charset="0"/>
              <a:buChar char="o"/>
              <a:defRPr spc="-107" baseline="0">
                <a:solidFill>
                  <a:schemeClr val="bg1"/>
                </a:solidFill>
              </a:defRPr>
            </a:lvl1pPr>
            <a:lvl2pPr marL="359991" indent="-179996">
              <a:buClr>
                <a:schemeClr val="accent1"/>
              </a:buClr>
              <a:buFont typeface="Courier New" panose="02070309020205020404" pitchFamily="49" charset="0"/>
              <a:buChar char="o"/>
              <a:defRPr spc="-107" baseline="0">
                <a:solidFill>
                  <a:schemeClr val="bg1"/>
                </a:solidFill>
              </a:defRPr>
            </a:lvl2pPr>
            <a:lvl3pPr marL="539987" indent="-179996">
              <a:buClr>
                <a:schemeClr val="accent1"/>
              </a:buClr>
              <a:buFont typeface="Courier New" panose="02070309020205020404" pitchFamily="49" charset="0"/>
              <a:buChar char="o"/>
              <a:defRPr spc="-107"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Text Placeholder 22">
            <a:extLst>
              <a:ext uri="{FF2B5EF4-FFF2-40B4-BE49-F238E27FC236}">
                <a16:creationId xmlns:a16="http://schemas.microsoft.com/office/drawing/2014/main" id="{923D7240-DA76-BA51-C74E-1E9EB49E539C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1867102" y="1087200"/>
            <a:ext cx="0" cy="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4" name="Text Placeholder 22">
            <a:extLst>
              <a:ext uri="{FF2B5EF4-FFF2-40B4-BE49-F238E27FC236}">
                <a16:creationId xmlns:a16="http://schemas.microsoft.com/office/drawing/2014/main" id="{85224E83-0107-037E-A055-3D9CC7FB15F7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11094046" y="6416765"/>
            <a:ext cx="557647" cy="30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214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2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FA1B373B-E009-E14C-83C4-FAD69FA4B82A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541AC78-CE6B-7F31-2F19-41EB71A99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2862125"/>
            <a:ext cx="11112001" cy="413617"/>
          </a:xfrm>
        </p:spPr>
        <p:txBody>
          <a:bodyPr anchor="b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A118A35-9F85-ADE1-6A64-F9ED1C7DB7B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3429001"/>
            <a:ext cx="11112000" cy="306580"/>
          </a:xfrm>
        </p:spPr>
        <p:txBody>
          <a:bodyPr>
            <a:spAutoFit/>
          </a:bodyPr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400" spc="-107" baseline="0">
                <a:solidFill>
                  <a:schemeClr val="bg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4" name="Text Placeholder 24">
            <a:extLst>
              <a:ext uri="{FF2B5EF4-FFF2-40B4-BE49-F238E27FC236}">
                <a16:creationId xmlns:a16="http://schemas.microsoft.com/office/drawing/2014/main" id="{8EC57868-0D29-A520-6E3C-C80617E85596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40000" y="3332117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 algn="l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2562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6" y="6410474"/>
            <a:ext cx="557295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sz="135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2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fld id="{1BBFF08E-0A76-F74E-A8F7-E7EC6660D783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7" y="1368516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1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33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420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188555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33">
                <a:noFill/>
                <a:latin typeface="+mn-lt"/>
              </a:defRPr>
            </a:lvl1pPr>
          </a:lstStyle>
          <a:p>
            <a:fld id="{1903EC0D-0B0F-2B41-B85E-911348C08AC5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3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996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59991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46031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108000" tIns="576000" rIns="108000" bIns="0" anchor="ctr" anchorCtr="0">
            <a:noAutofit/>
          </a:bodyPr>
          <a:lstStyle>
            <a:lvl1pPr algn="ctr">
              <a:lnSpc>
                <a:spcPct val="90000"/>
              </a:lnSpc>
              <a:defRPr sz="32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2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74B4C624-5426-0544-A67C-624675FE9D6C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66252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33">
                <a:noFill/>
                <a:latin typeface="+mn-lt"/>
              </a:defRPr>
            </a:lvl1pPr>
          </a:lstStyle>
          <a:p>
            <a:fld id="{88807644-A480-CC44-A19A-0AB55DBE737B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33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33">
                <a:noFill/>
              </a:defRPr>
            </a:lvl1pPr>
            <a:lvl2pPr>
              <a:defRPr sz="133"/>
            </a:lvl2pPr>
            <a:lvl3pPr>
              <a:defRPr sz="133"/>
            </a:lvl3pPr>
            <a:lvl4pPr>
              <a:defRPr sz="133"/>
            </a:lvl4pPr>
            <a:lvl5pPr>
              <a:defRPr sz="133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3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79996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59991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1425428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07C38F3-88E6-0947-89DD-B9857A27F842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2253653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991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40000" y="539999"/>
            <a:ext cx="11112001" cy="1036800"/>
          </a:xfrm>
        </p:spPr>
        <p:txBody>
          <a:bodyPr vert="horz"/>
          <a:lstStyle>
            <a:lvl1pPr rtl="0">
              <a:defRPr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GB"/>
              <a:t>Click to add title</a:t>
            </a:r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A64FECC8-EB1D-46EB-B1C9-0FD19AEEBD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52A295A-00DA-4B81-AB16-0438837EE2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313247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en-GB">
                <a:latin typeface="+mn-lt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94917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B6ED5B-228D-0D01-74A7-859BA89605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BCB13CE-F18E-4D28-61C4-FF8E42DA23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C3EC0C6-4173-2140-1DB1-F019236434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A340708-D994-5D6C-DC40-EF84D73FB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7CB303F-D5FE-D988-F512-4E7055AA4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6267450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15337-0BAA-C273-038C-E94FF92B4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2E87FD8-DD0A-5D01-77A9-C30CEC083A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D388BE5-B6B4-0FCE-82EC-0369B0265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C3F7945-2F52-C8E9-52D7-F46AF2AC05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1034F64-838B-C364-B8FA-8333835E30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5523316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3297C0-B9C4-31E9-29EE-70E3356DA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D40926A9-17F7-5D6E-C43C-A49367332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CF8BC87-F898-1872-F3DF-DABD770B2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A167844-F21C-2C4C-AE8C-BBD7C3834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21547F-B8FE-55D5-CEF8-C0D73C468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03442203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EEDCAC-909E-4F39-EED0-97A9062AF7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77C72A2-BD89-55D7-C135-91029F40A5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EFBCF73-7E3C-0EA9-14E6-8B9B5141D6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D728040-0630-7274-DE88-DF3C008B1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27ED9B6-5233-57FB-6641-606B4E998F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374E1025-7466-3994-AFCD-07085F1C4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94165607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8B57DD-BC78-7445-2BD5-CD125DF28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DAAAFE9-E3E2-D0E9-4CCB-A879FE1D62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59C4DACF-9569-9397-F7D7-CAD829B0A9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F07A4DD8-CE1C-8FCF-EDF9-2E98722736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B2E55CB3-6F1F-9857-DD8D-1949730D67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EF4C8E74-E2E0-4DAC-A017-45B47582CE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D6C0A1C1-B4DB-C21C-C097-FEE569468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5970011F-7DAE-12B4-DFAC-FF3C97C5C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4472558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E43230-191B-4CFE-9771-B50B3D0E2C7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1268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BF6CD-8776-3FDA-BE83-4646A5562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5B599556-0993-C7F5-95BA-C28545B6E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71094F5-8522-1DF1-AAF8-88B8D2546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3FD7AEC-8C87-E6B0-B248-07CB81E5D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37897646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3E097ED8-C07A-D2E8-5009-E1D6081DE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F01D25F-C801-ACCA-E900-11B6C5B46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88FB595-16E0-CE04-3D7E-68FF579EF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5924844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7FD3CD-1DB2-3502-77EF-03248B73C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15E30B6-0D9B-CCDE-978B-39C7C049A2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A2E885DB-FAD8-B892-12BE-E45E2C8A48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F3ED3E4D-357E-437E-C1BB-84D35600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6692DFB-E77B-E1C0-7611-E2F059D6E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0D461D13-FB6A-5511-E233-EB49E771B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1414240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8B3BDC-4686-8B36-439D-45D5D95F05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55F02D01-DCF9-C5AD-B33F-8A20D28B83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F0C32CA-3462-790B-D24E-2587928D08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338EB031-71FA-4A84-A92D-6E0D1B897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81C98A82-BBCD-26D2-9AFE-F95263984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96BB624-0D9E-2B8D-535A-3A3ADC423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0126999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B2578C1-A54F-696A-4417-DE5B83430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1660C2B9-C6BE-45D8-CBA9-3E692CBE0D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4568E43-F89C-E9B6-CA85-B01DBE47C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0D9F888-5F1F-119C-74D8-44E8C9AB5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641D0F2-FDD6-F699-266A-6232136D9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46597158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10B4ACC6-452F-E02B-5A23-012B03E7647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56BB273-6DC0-5A5C-0302-DAD95D0E4E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DF5BE68-D5C1-9284-C889-D01B9B860C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5F3AD33-2F6D-CE4D-5BC0-30C56DEB6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887B885-F197-D2BB-5D2C-67EB3151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60117114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cts &amp; figures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9640" y="142874"/>
            <a:ext cx="11865198" cy="3113383"/>
          </a:xfrm>
          <a:prstGeom prst="rect">
            <a:avLst/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2" y="3531455"/>
            <a:ext cx="2732806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3144544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7161" y="2544188"/>
            <a:ext cx="2392932" cy="239293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9E5B1B-04C2-B480-FE5D-748F8BBE0C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1721" y="2771753"/>
            <a:ext cx="1937802" cy="1937802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B3D6CB0-1625-E8D4-646F-E97DB6A45F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38712" y="2930654"/>
            <a:ext cx="1620000" cy="1620000"/>
          </a:xfrm>
          <a:prstGeom prst="ellipse">
            <a:avLst/>
          </a:prstGeom>
          <a:solidFill>
            <a:schemeClr val="accent5">
              <a:alpha val="53000"/>
            </a:schemeClr>
          </a:solidFill>
        </p:spPr>
        <p:txBody>
          <a:bodyPr anchor="ctr" anchorCtr="0"/>
          <a:lstStyle>
            <a:lvl1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  <a:defRPr sz="1200"/>
            </a:lvl2pPr>
            <a:lvl3pPr marL="169863" indent="-169863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 algn="ctr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 algn="ctr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0%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9C5DE50-C810-97DC-9BC1-A8491B0BA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04400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6BFFE30-228D-31EB-4DE6-46791E8BC4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145562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2123937-DF6A-4EA9-2DBE-E98BC21ED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226747" y="5012230"/>
            <a:ext cx="1878456" cy="354181"/>
          </a:xfrm>
          <a:prstGeom prst="rect">
            <a:avLst/>
          </a:prstGeom>
          <a:noFill/>
          <a:effectLst/>
        </p:spPr>
        <p:txBody>
          <a:bodyPr lIns="0" tIns="0" rIns="0" bIns="0" anchor="t" anchorCtr="0"/>
          <a:lstStyle>
            <a:lvl1pPr algn="ctr">
              <a:spcBef>
                <a:spcPts val="600"/>
              </a:spcBef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0453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559" y="2977054"/>
            <a:ext cx="4769324" cy="798420"/>
          </a:xfrm>
        </p:spPr>
        <p:txBody>
          <a:bodyPr anchor="b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present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5079B2-F2D3-5692-6268-8FD47FC601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1542" b="29164"/>
          <a:stretch/>
        </p:blipFill>
        <p:spPr>
          <a:xfrm>
            <a:off x="1552238" y="1262012"/>
            <a:ext cx="3139966" cy="113727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6EF8F3-8BE4-58AD-9410-D841277E4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188" y="3835659"/>
            <a:ext cx="4769224" cy="395288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66CEF25-86F5-7B3F-CEF3-47C35F2D1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188" y="6235959"/>
            <a:ext cx="4769224" cy="229930"/>
          </a:xfrm>
        </p:spPr>
        <p:txBody>
          <a:bodyPr anchor="b" anchorCtr="0"/>
          <a:lstStyle>
            <a:lvl1pPr algn="l">
              <a:defRPr sz="12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45927318-D2A1-B09C-A856-4214DF64A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392112"/>
            <a:ext cx="5738368" cy="6073777"/>
          </a:xfrm>
          <a:prstGeom prst="roundRect">
            <a:avLst>
              <a:gd name="adj" fmla="val 543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chemeClr val="accent5">
                <a:alpha val="14000"/>
              </a:schemeClr>
            </a:outerShdw>
          </a:effectLst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9474FD3-1721-FF99-E59A-76834FE5744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737558" y="609783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918E8A-CB60-861E-4797-9537EB23E3EA}"/>
              </a:ext>
            </a:extLst>
          </p:cNvPr>
          <p:cNvSpPr txBox="1"/>
          <p:nvPr userDrawn="1"/>
        </p:nvSpPr>
        <p:spPr>
          <a:xfrm>
            <a:off x="738188" y="6584266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</p:spTree>
    <p:extLst>
      <p:ext uri="{BB962C8B-B14F-4D97-AF65-F5344CB8AC3E}">
        <p14:creationId xmlns:p14="http://schemas.microsoft.com/office/powerpoint/2010/main" val="2649441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llustr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559" y="2977054"/>
            <a:ext cx="4769324" cy="798420"/>
          </a:xfrm>
        </p:spPr>
        <p:txBody>
          <a:bodyPr anchor="b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present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6EF8F3-8BE4-58AD-9410-D841277E4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188" y="3835659"/>
            <a:ext cx="4769224" cy="395288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66CEF25-86F5-7B3F-CEF3-47C35F2D1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188" y="6235959"/>
            <a:ext cx="4769224" cy="229930"/>
          </a:xfrm>
        </p:spPr>
        <p:txBody>
          <a:bodyPr anchor="b" anchorCtr="0"/>
          <a:lstStyle>
            <a:lvl1pPr>
              <a:defRPr sz="12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9474FD3-1721-FF99-E59A-76834FE5744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737558" y="609783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FDB1A5-46EF-9C4C-A3F2-72E89B892DD4}"/>
              </a:ext>
            </a:extLst>
          </p:cNvPr>
          <p:cNvSpPr txBox="1"/>
          <p:nvPr userDrawn="1"/>
        </p:nvSpPr>
        <p:spPr>
          <a:xfrm>
            <a:off x="738188" y="6584266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pic>
        <p:nvPicPr>
          <p:cNvPr id="3" name="Picture 2" descr="A picture containing book, vector graphics&#10;&#10;Description automatically generated">
            <a:extLst>
              <a:ext uri="{FF2B5EF4-FFF2-40B4-BE49-F238E27FC236}">
                <a16:creationId xmlns:a16="http://schemas.microsoft.com/office/drawing/2014/main" id="{661E52DD-5720-5A1D-797B-A843F6AC9A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962" y="669080"/>
            <a:ext cx="5518800" cy="5518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56CF1F-A716-0B00-E59E-74CA94D267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1542" b="29164"/>
          <a:stretch/>
        </p:blipFill>
        <p:spPr>
          <a:xfrm>
            <a:off x="726926" y="392111"/>
            <a:ext cx="2395295" cy="86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97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559" y="2605993"/>
            <a:ext cx="4769324" cy="798420"/>
          </a:xfrm>
        </p:spPr>
        <p:txBody>
          <a:bodyPr anchor="b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pt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5079B2-F2D3-5692-6268-8FD47FC601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1542" b="29164"/>
          <a:stretch/>
        </p:blipFill>
        <p:spPr>
          <a:xfrm>
            <a:off x="737558" y="392111"/>
            <a:ext cx="1977258" cy="716147"/>
          </a:xfrm>
          <a:prstGeom prst="rect">
            <a:avLst/>
          </a:prstGeom>
        </p:spPr>
      </p:pic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45927318-D2A1-B09C-A856-4214DF64A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392112"/>
            <a:ext cx="5738368" cy="6073777"/>
          </a:xfrm>
          <a:prstGeom prst="roundRect">
            <a:avLst>
              <a:gd name="adj" fmla="val 543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chemeClr val="accent5">
                <a:alpha val="14000"/>
              </a:schemeClr>
            </a:outerShdw>
          </a:effectLst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C68E4B2-22CA-27F5-80D6-10263D0E42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93F57F-3B97-57E6-0EC8-E3E10C356328}"/>
              </a:ext>
            </a:extLst>
          </p:cNvPr>
          <p:cNvSpPr txBox="1"/>
          <p:nvPr userDrawn="1"/>
        </p:nvSpPr>
        <p:spPr>
          <a:xfrm>
            <a:off x="1690655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C99BCB-3ABA-EEE9-7CA0-3374A7B2D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8188" y="3469874"/>
            <a:ext cx="4768850" cy="1949450"/>
          </a:xfrm>
        </p:spPr>
        <p:txBody>
          <a:bodyPr/>
          <a:lstStyle>
            <a:lvl1pPr>
              <a:defRPr>
                <a:latin typeface="Overpass Light" pitchFamily="2" charset="0"/>
              </a:defRPr>
            </a:lvl1pPr>
            <a:lvl2pPr marL="149225" indent="-149225">
              <a:buClr>
                <a:schemeClr val="accent2"/>
              </a:buClr>
              <a:buFont typeface="Arial" panose="020B0604020202020204" pitchFamily="34" charset="0"/>
              <a:buChar char="•"/>
              <a:defRPr/>
            </a:lvl2pPr>
            <a:lvl3pPr marL="298450" indent="-139700">
              <a:buFont typeface="Source Sans Pro" panose="020B0503030403020204" pitchFamily="34" charset="0"/>
              <a:buChar char="-"/>
              <a:defRPr/>
            </a:lvl3pPr>
            <a:lvl4pPr marL="400050" indent="-106363">
              <a:buFont typeface="Source Sans Pro" panose="020B0503030403020204" pitchFamily="34" charset="0"/>
              <a:buChar char="›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1940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CA10D8-787E-468F-8887-4EEEED5B0DC6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034487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B17CAA-6DE0-EDC4-F1DE-027F234CA05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drag &amp; drop your picture in this placeholder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6849" y="2385249"/>
            <a:ext cx="5139152" cy="798420"/>
          </a:xfrm>
        </p:spPr>
        <p:txBody>
          <a:bodyPr anchor="b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message her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6EF8F3-8BE4-58AD-9410-D841277E4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478" y="3243854"/>
            <a:ext cx="5139045" cy="395288"/>
          </a:xfrm>
        </p:spPr>
        <p:txBody>
          <a:bodyPr/>
          <a:lstStyle>
            <a:lvl1pPr algn="l">
              <a:defRPr sz="2000" b="0">
                <a:solidFill>
                  <a:schemeClr val="bg1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8444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60F4C7-18E9-FFBF-AEBD-7717FFC7F0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940513"/>
            <a:ext cx="1111250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4463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97686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A2B438-CBEF-8957-9349-1DA8293A1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14F4127-3B4F-446F-B687-4CDD145E12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940513"/>
            <a:ext cx="1111250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05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FACCA7F-4336-6A48-D2C6-B33C842B7FA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0871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1F92A4C-1D2D-EF64-E868-8FCAF49F89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03107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25470"/>
            <a:ext cx="4896780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2BBD62A-2B78-6254-1D44-2EC4BC482FF9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392113"/>
            <a:ext cx="5738368" cy="5713412"/>
          </a:xfrm>
          <a:prstGeom prst="roundRect">
            <a:avLst>
              <a:gd name="adj" fmla="val 543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chemeClr val="accent5">
                <a:alpha val="14000"/>
              </a:schemeClr>
            </a:outerShdw>
          </a:effectLst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D390A1A-454F-4A52-C1AD-5AEA4CA8FE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489678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1BB403-1EBF-E249-0061-5BDBE81A5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940513"/>
            <a:ext cx="4896780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11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left - big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0"/>
            <a:ext cx="613048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25470"/>
            <a:ext cx="4896780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ABAEA0B-94D9-08A9-ACBF-77E50641BB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063" y="6251232"/>
            <a:ext cx="1044000" cy="363600"/>
          </a:xfrm>
        </p:spPr>
        <p:txBody>
          <a:bodyPr anchor="ctr" anchorCtr="1"/>
          <a:lstStyle>
            <a:lvl1pPr>
              <a:defRPr sz="900">
                <a:latin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38C1E5-E1DE-A23E-7D62-D2CA1F22176F}"/>
              </a:ext>
            </a:extLst>
          </p:cNvPr>
          <p:cNvSpPr txBox="1"/>
          <p:nvPr userDrawn="1"/>
        </p:nvSpPr>
        <p:spPr>
          <a:xfrm>
            <a:off x="16906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A9278D7-E269-83CE-56BE-1E34FE4287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940513"/>
            <a:ext cx="4896780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362C8DAC-3AEF-CEB0-A37E-AEB92574E58B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540001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0876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left - big picture right -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0"/>
            <a:ext cx="613048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25470"/>
            <a:ext cx="4896780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2BBD62A-2B78-6254-1D44-2EC4BC482FF9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ABAEA0B-94D9-08A9-ACBF-77E50641BB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063" y="6251232"/>
            <a:ext cx="1044000" cy="363600"/>
          </a:xfrm>
        </p:spPr>
        <p:txBody>
          <a:bodyPr anchor="ctr" anchorCtr="1"/>
          <a:lstStyle>
            <a:lvl1pPr>
              <a:defRPr sz="900">
                <a:latin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4C4024-59F2-7D40-A892-CCB389AC9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489678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38C1E5-E1DE-A23E-7D62-D2CA1F22176F}"/>
              </a:ext>
            </a:extLst>
          </p:cNvPr>
          <p:cNvSpPr txBox="1"/>
          <p:nvPr userDrawn="1"/>
        </p:nvSpPr>
        <p:spPr>
          <a:xfrm>
            <a:off x="16906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A9278D7-E269-83CE-56BE-1E34FE4287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940513"/>
            <a:ext cx="4896780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96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- big pictur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4768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525470"/>
            <a:ext cx="5714752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F37661-BA66-8CDC-AF51-F37A360BC354}"/>
              </a:ext>
            </a:extLst>
          </p:cNvPr>
          <p:cNvSpPr txBox="1"/>
          <p:nvPr userDrawn="1"/>
        </p:nvSpPr>
        <p:spPr>
          <a:xfrm>
            <a:off x="70353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7CC792B-2632-D576-3F58-06C9837D3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940513"/>
            <a:ext cx="571475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 sz="1400"/>
            </a:lvl2pPr>
            <a:lvl3pPr marL="173038" indent="-173038">
              <a:tabLst/>
              <a:defRPr sz="1400"/>
            </a:lvl3pPr>
            <a:lvl4pPr marL="341313" indent="-153988">
              <a:tabLst/>
              <a:defRPr sz="1400"/>
            </a:lvl4pPr>
            <a:lvl5pPr marL="504825" indent="-149225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C8BC2D43-388A-B0B7-7222-D6E3037209B4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6096001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689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- big picture left -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4768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525470"/>
            <a:ext cx="5714752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2BBD62A-2B78-6254-1D44-2EC4BC482FF9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6096001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4C4024-59F2-7D40-A892-CCB389AC9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1" y="1063352"/>
            <a:ext cx="5714752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F37661-BA66-8CDC-AF51-F37A360BC354}"/>
              </a:ext>
            </a:extLst>
          </p:cNvPr>
          <p:cNvSpPr txBox="1"/>
          <p:nvPr userDrawn="1"/>
        </p:nvSpPr>
        <p:spPr>
          <a:xfrm>
            <a:off x="70353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7CC792B-2632-D576-3F58-06C9837D3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940513"/>
            <a:ext cx="571475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 sz="1400"/>
            </a:lvl2pPr>
            <a:lvl3pPr marL="173038" indent="-173038">
              <a:tabLst/>
              <a:defRPr sz="1400"/>
            </a:lvl3pPr>
            <a:lvl4pPr marL="341313" indent="-153988">
              <a:tabLst/>
              <a:defRPr sz="1400"/>
            </a:lvl4pPr>
            <a:lvl5pPr marL="504825" indent="-149225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30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A6CB67-82D6-4AB2-9988-57B62165668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8906334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right - big pictur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4768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F37661-BA66-8CDC-AF51-F37A360BC354}"/>
              </a:ext>
            </a:extLst>
          </p:cNvPr>
          <p:cNvSpPr txBox="1"/>
          <p:nvPr userDrawn="1"/>
        </p:nvSpPr>
        <p:spPr>
          <a:xfrm>
            <a:off x="70353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16FD94C-36CC-164B-48DF-FC7446FCA9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564" y="1920085"/>
            <a:ext cx="4200081" cy="3017830"/>
          </a:xfrm>
        </p:spPr>
        <p:txBody>
          <a:bodyPr anchor="ctr" anchorCtr="0"/>
          <a:lstStyle>
            <a:lvl1pPr>
              <a:defRPr sz="4000">
                <a:latin typeface="Overpass Light" pitchFamily="2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m </a:t>
            </a:r>
            <a:r>
              <a:rPr lang="en-US" dirty="0" err="1"/>
              <a:t>stij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48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4 colum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2716CB-8E56-DC6B-1B90-1953C0F9C59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49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F679B71-5FD4-0B85-5699-4F4FDF3B27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E56AD-DC5F-4B12-8827-487CC07A7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1" y="1668434"/>
            <a:ext cx="2698320" cy="4437091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lvl="0"/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51D16AC-00B5-5CFD-E266-F9B29FA435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97681" y="1668434"/>
            <a:ext cx="2698320" cy="4437091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89CF010-E6C0-7D54-0A93-253CFA6468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5361" y="1668434"/>
            <a:ext cx="2698320" cy="4437091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860546-A09C-F674-4494-1B4697295C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13040" y="1668434"/>
            <a:ext cx="2698320" cy="4437091"/>
          </a:xfrm>
          <a:prstGeom prst="roundRect">
            <a:avLst>
              <a:gd name="adj" fmla="val 11152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67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pictures on 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4 columns – Pictures on top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E56AD-DC5F-4B12-8827-487CC07A7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1" y="1584684"/>
            <a:ext cx="2698320" cy="4520842"/>
          </a:xfrm>
          <a:prstGeom prst="roundRect">
            <a:avLst>
              <a:gd name="adj" fmla="val 115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0784"/>
              </a:srgb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51D16AC-00B5-5CFD-E266-F9B29FA435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97681" y="1584684"/>
            <a:ext cx="2698320" cy="4520842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89CF010-E6C0-7D54-0A93-253CFA6468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5361" y="1584684"/>
            <a:ext cx="2698320" cy="4520842"/>
          </a:xfrm>
          <a:prstGeom prst="roundRect">
            <a:avLst>
              <a:gd name="adj" fmla="val 12542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860546-A09C-F674-4494-1B4697295C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13040" y="1584684"/>
            <a:ext cx="2698320" cy="4520842"/>
          </a:xfrm>
          <a:prstGeom prst="roundRect">
            <a:avLst>
              <a:gd name="adj" fmla="val 10978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0390AE-57C8-4802-3695-23577356D76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39750" y="1584683"/>
            <a:ext cx="2698750" cy="1760537"/>
          </a:xfrm>
          <a:prstGeom prst="round2SameRect">
            <a:avLst>
              <a:gd name="adj1" fmla="val 18217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DBCE2986-A5F0-5D22-34B5-EEFD294A3D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397251" y="1584683"/>
            <a:ext cx="2698750" cy="1760537"/>
          </a:xfrm>
          <a:prstGeom prst="round2SameRect">
            <a:avLst>
              <a:gd name="adj1" fmla="val 18217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7770F893-4301-C629-F561-75CE17A6996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54931" y="1584683"/>
            <a:ext cx="2698750" cy="1760537"/>
          </a:xfrm>
          <a:prstGeom prst="round2SameRect">
            <a:avLst>
              <a:gd name="adj1" fmla="val 18484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57FD166-1A16-347C-3EC1-97BA602C3D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112610" y="1584683"/>
            <a:ext cx="2698750" cy="1760537"/>
          </a:xfrm>
          <a:prstGeom prst="round2SameRect">
            <a:avLst>
              <a:gd name="adj1" fmla="val 16619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F0E1E34-735B-58E6-2D1C-DF4213734D2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75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 - pictures on 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4 columns – Pictures on top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E56AD-DC5F-4B12-8827-487CC07A7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1" y="1584684"/>
            <a:ext cx="2698320" cy="4520842"/>
          </a:xfrm>
          <a:prstGeom prst="roundRect">
            <a:avLst>
              <a:gd name="adj" fmla="val 115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51D16AC-00B5-5CFD-E266-F9B29FA435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97681" y="1584684"/>
            <a:ext cx="2698320" cy="4520842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89CF010-E6C0-7D54-0A93-253CFA6468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5361" y="1584684"/>
            <a:ext cx="2698320" cy="4520842"/>
          </a:xfrm>
          <a:prstGeom prst="roundRect">
            <a:avLst>
              <a:gd name="adj" fmla="val 12542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860546-A09C-F674-4494-1B4697295C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13040" y="1584684"/>
            <a:ext cx="2698320" cy="4520842"/>
          </a:xfrm>
          <a:prstGeom prst="roundRect">
            <a:avLst>
              <a:gd name="adj" fmla="val 10978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0390AE-57C8-4802-3695-23577356D76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39750" y="1584683"/>
            <a:ext cx="2698750" cy="3425266"/>
          </a:xfrm>
          <a:prstGeom prst="round2SameRect">
            <a:avLst>
              <a:gd name="adj1" fmla="val 10727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DBCE2986-A5F0-5D22-34B5-EEFD294A3D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397251" y="1584683"/>
            <a:ext cx="2698750" cy="3425266"/>
          </a:xfrm>
          <a:prstGeom prst="round2SameRect">
            <a:avLst>
              <a:gd name="adj1" fmla="val 11262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7770F893-4301-C629-F561-75CE17A6996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54931" y="1584683"/>
            <a:ext cx="2698750" cy="3425266"/>
          </a:xfrm>
          <a:prstGeom prst="round2SameRect">
            <a:avLst>
              <a:gd name="adj1" fmla="val 12421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57FD166-1A16-347C-3EC1-97BA602C3D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112610" y="1584683"/>
            <a:ext cx="2698750" cy="3425266"/>
          </a:xfrm>
          <a:prstGeom prst="round2SameRect">
            <a:avLst>
              <a:gd name="adj1" fmla="val 10378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F0E1E34-735B-58E6-2D1C-DF4213734D2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4272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CF684F1-8329-1707-CA53-3FC55D56673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1584683"/>
            <a:ext cx="3604511" cy="4520841"/>
          </a:xfrm>
          <a:prstGeom prst="roundRect">
            <a:avLst>
              <a:gd name="adj" fmla="val 7676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72000" tIns="1080000" rIns="72000"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31A71-DFC1-D8A2-FB60-B1D32820B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B58C4CD-8A2E-87D3-B383-376B9010EB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05CCAF-6332-4C07-85E0-501AB4CBD5D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78347" y="1584683"/>
            <a:ext cx="3604511" cy="4520841"/>
          </a:xfrm>
          <a:prstGeom prst="roundRect">
            <a:avLst>
              <a:gd name="adj" fmla="val 7676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72000" tIns="1080000" rIns="72000"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348FF3D-922A-4D48-8D64-EC0D955AFE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16944" y="1584683"/>
            <a:ext cx="3604511" cy="4520841"/>
          </a:xfrm>
          <a:prstGeom prst="roundRect">
            <a:avLst>
              <a:gd name="adj" fmla="val 7676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72000" tIns="1080000" rIns="72000"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4680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0BF9C-C7A8-B2D4-8BBB-16BC888E1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6 column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62EBD0D-9260-909E-AE49-5976DFAF6B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C1A4E4-437D-4A68-A935-491B39432A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1584683"/>
            <a:ext cx="3604511" cy="2193821"/>
          </a:xfrm>
          <a:prstGeom prst="roundRect">
            <a:avLst>
              <a:gd name="adj" fmla="val 12941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582EA0-07D7-458A-8316-4E7CA933CD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9750" y="3920020"/>
            <a:ext cx="3604511" cy="2193821"/>
          </a:xfrm>
          <a:prstGeom prst="roundRect">
            <a:avLst>
              <a:gd name="adj" fmla="val 14477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1E3CE3F-D3F8-494E-90B9-CB098CE2F62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42164" y="1584683"/>
            <a:ext cx="3604511" cy="2193821"/>
          </a:xfrm>
          <a:prstGeom prst="roundRect">
            <a:avLst>
              <a:gd name="adj" fmla="val 12722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2C30E2D-52AE-489E-AAF5-DCD5E4699D3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42164" y="3913212"/>
            <a:ext cx="3604511" cy="2193821"/>
          </a:xfrm>
          <a:prstGeom prst="roundRect">
            <a:avLst>
              <a:gd name="adj" fmla="val 1206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DB046EF-AEC6-4019-A849-05835E1CC03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44578" y="3920019"/>
            <a:ext cx="3604511" cy="2193821"/>
          </a:xfrm>
          <a:prstGeom prst="roundRect">
            <a:avLst>
              <a:gd name="adj" fmla="val 12502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789231C3-2007-4727-A132-54015648313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44578" y="1584682"/>
            <a:ext cx="3604511" cy="2193821"/>
          </a:xfrm>
          <a:prstGeom prst="roundRect">
            <a:avLst>
              <a:gd name="adj" fmla="val 12941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886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94E0851-705B-055B-3D17-0AEB366CFC63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539750" y="1376363"/>
            <a:ext cx="3708400" cy="2843945"/>
          </a:xfrm>
          <a:prstGeom prst="roundRect">
            <a:avLst>
              <a:gd name="adj" fmla="val 1205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B1F8456-1E21-E119-BE22-578933BB2B25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4319629" y="1376363"/>
            <a:ext cx="3708400" cy="2843945"/>
          </a:xfrm>
          <a:prstGeom prst="roundRect">
            <a:avLst>
              <a:gd name="adj" fmla="val 11391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1992898-2E1A-0011-D7E3-3A03F5A815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00185" y="1376363"/>
            <a:ext cx="3708400" cy="2843945"/>
          </a:xfrm>
          <a:prstGeom prst="roundRect">
            <a:avLst>
              <a:gd name="adj" fmla="val 9907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Bullet slide 3 pictur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7146A3-05D6-8D7A-25D7-D9D93835F7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451350"/>
            <a:ext cx="3633925" cy="1589088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Article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4B076976-E35D-7761-DDFD-0AC5254FC0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9629" y="4451350"/>
            <a:ext cx="3633925" cy="1589088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Article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4C7FDE1-1CD1-79D2-3751-07A2DB65B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00185" y="4451350"/>
            <a:ext cx="3633925" cy="1589088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Article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487E68A-9E71-0757-22A2-F7D11C0D898C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39749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62734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de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CFC13AD-7BDD-C31C-4ED5-1DB563A5675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99085" y="562708"/>
            <a:ext cx="2643896" cy="5564715"/>
          </a:xfrm>
          <a:prstGeom prst="roundRect">
            <a:avLst>
              <a:gd name="adj" fmla="val 14159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3B36BDF8-5AB7-E9FF-AEF5-AC3BA044ED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31790" y="1853626"/>
            <a:ext cx="3576959" cy="88543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Mobile devic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8173428-7261-EC81-4333-55A1F3D895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31629" y="3273762"/>
            <a:ext cx="3577120" cy="1369532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42C435-CC64-F28C-D8E3-03DCD53F948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6419128" y="308734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0390D96-FDFF-5861-B081-09A379EA4C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1628" y="2754067"/>
            <a:ext cx="3576959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5643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devic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D06F62-A9A4-5B8B-65D4-90C1F0F6AD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2514097"/>
            <a:ext cx="3314700" cy="2630488"/>
          </a:xfrm>
        </p:spPr>
        <p:txBody>
          <a:bodyPr anchor="ctr" anchorCtr="0"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>
                <a:latin typeface="Overpass Light" pitchFamily="2" charset="0"/>
              </a:defRPr>
            </a:lvl2pPr>
            <a:lvl3pPr>
              <a:defRPr>
                <a:latin typeface="Overpass Light" pitchFamily="2" charset="0"/>
              </a:defRPr>
            </a:lvl3pPr>
            <a:lvl4pPr>
              <a:defRPr>
                <a:latin typeface="Overpass Light" pitchFamily="2" charset="0"/>
              </a:defRPr>
            </a:lvl4pPr>
            <a:lvl5pPr>
              <a:defRPr>
                <a:latin typeface="Overpass Light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527B68-6653-8AF2-BC72-5092CCC505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85716" y="2066925"/>
            <a:ext cx="6131497" cy="3519488"/>
          </a:xfr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53E05E-744C-1033-5E95-110C86F85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Laptop devic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AE8D538-B645-450D-82AE-C1FFA9BEEA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0E577FA-9B4A-7375-1E2A-A637643F9DB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9955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devic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D06F62-A9A4-5B8B-65D4-90C1F0F6AD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92024" y="2650084"/>
            <a:ext cx="3314700" cy="2630488"/>
          </a:xfrm>
        </p:spPr>
        <p:txBody>
          <a:bodyPr anchor="ctr" anchorCtr="0"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>
                <a:latin typeface="Overpass Light" pitchFamily="2" charset="0"/>
              </a:defRPr>
            </a:lvl2pPr>
            <a:lvl3pPr>
              <a:defRPr>
                <a:latin typeface="Overpass Light" pitchFamily="2" charset="0"/>
              </a:defRPr>
            </a:lvl3pPr>
            <a:lvl4pPr>
              <a:defRPr>
                <a:latin typeface="Overpass Light" pitchFamily="2" charset="0"/>
              </a:defRPr>
            </a:lvl4pPr>
            <a:lvl5pPr>
              <a:defRPr>
                <a:latin typeface="Overpass Light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527B68-6653-8AF2-BC72-5092CCC505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187353" y="2066925"/>
            <a:ext cx="6131497" cy="3519488"/>
          </a:xfr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53E05E-744C-1033-5E95-110C86F85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Laptop devic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AE8D538-B645-450D-82AE-C1FFA9BEEA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0E577FA-9B4A-7375-1E2A-A637643F9DB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74919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1455330"/>
            <a:ext cx="5465999" cy="48626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669627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60F4C7-18E9-FFBF-AEBD-7717FFC7F0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9751" y="5073598"/>
            <a:ext cx="3059924" cy="1369532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632776"/>
            <a:ext cx="3059786" cy="8895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92929DD-2ABF-4BEF-1CAE-35296C886A63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490303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F3542FD-D14E-FB5C-3150-7EA9877CF5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2" y="4522352"/>
            <a:ext cx="3059786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6178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393EC617-F107-F91D-3C54-EC6E596EA0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9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559" y="2977054"/>
            <a:ext cx="4769324" cy="798420"/>
          </a:xfrm>
        </p:spPr>
        <p:txBody>
          <a:bodyPr anchor="b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present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5079B2-F2D3-5692-6268-8FD47FC601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31542" b="29164"/>
          <a:stretch/>
        </p:blipFill>
        <p:spPr>
          <a:xfrm>
            <a:off x="1552238" y="1262012"/>
            <a:ext cx="3139966" cy="113727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6EF8F3-8BE4-58AD-9410-D841277E4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188" y="3835659"/>
            <a:ext cx="4769224" cy="395288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66CEF25-86F5-7B3F-CEF3-47C35F2D1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188" y="6235959"/>
            <a:ext cx="4769224" cy="229930"/>
          </a:xfrm>
        </p:spPr>
        <p:txBody>
          <a:bodyPr anchor="b" anchorCtr="0"/>
          <a:lstStyle>
            <a:lvl1pPr algn="l">
              <a:defRPr sz="12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45927318-D2A1-B09C-A856-4214DF64A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392112"/>
            <a:ext cx="5738368" cy="6073777"/>
          </a:xfrm>
          <a:prstGeom prst="roundRect">
            <a:avLst>
              <a:gd name="adj" fmla="val 543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chemeClr val="accent5">
                <a:alpha val="14000"/>
              </a:schemeClr>
            </a:outerShdw>
          </a:effectLst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9474FD3-1721-FF99-E59A-76834FE5744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737558" y="609783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D918E8A-CB60-861E-4797-9537EB23E3EA}"/>
              </a:ext>
            </a:extLst>
          </p:cNvPr>
          <p:cNvSpPr txBox="1"/>
          <p:nvPr userDrawn="1"/>
        </p:nvSpPr>
        <p:spPr>
          <a:xfrm>
            <a:off x="738188" y="6584266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</p:spTree>
    <p:extLst>
      <p:ext uri="{BB962C8B-B14F-4D97-AF65-F5344CB8AC3E}">
        <p14:creationId xmlns:p14="http://schemas.microsoft.com/office/powerpoint/2010/main" val="204235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illustr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559" y="2977054"/>
            <a:ext cx="4769324" cy="798420"/>
          </a:xfrm>
        </p:spPr>
        <p:txBody>
          <a:bodyPr anchor="b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presenta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6EF8F3-8BE4-58AD-9410-D841277E4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188" y="3835659"/>
            <a:ext cx="4769224" cy="395288"/>
          </a:xfrm>
        </p:spPr>
        <p:txBody>
          <a:bodyPr/>
          <a:lstStyle>
            <a:lvl1pPr>
              <a:defRPr sz="20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66CEF25-86F5-7B3F-CEF3-47C35F2D1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188" y="6235959"/>
            <a:ext cx="4769224" cy="229930"/>
          </a:xfrm>
        </p:spPr>
        <p:txBody>
          <a:bodyPr anchor="b" anchorCtr="0"/>
          <a:lstStyle>
            <a:lvl1pPr>
              <a:defRPr sz="1200" b="0">
                <a:solidFill>
                  <a:schemeClr val="tx2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9474FD3-1721-FF99-E59A-76834FE5744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737558" y="609783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FDB1A5-46EF-9C4C-A3F2-72E89B892DD4}"/>
              </a:ext>
            </a:extLst>
          </p:cNvPr>
          <p:cNvSpPr txBox="1"/>
          <p:nvPr userDrawn="1"/>
        </p:nvSpPr>
        <p:spPr>
          <a:xfrm>
            <a:off x="738188" y="6584266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pic>
        <p:nvPicPr>
          <p:cNvPr id="3" name="Picture 2" descr="A picture containing book, vector graphics&#10;&#10;Description automatically generated">
            <a:extLst>
              <a:ext uri="{FF2B5EF4-FFF2-40B4-BE49-F238E27FC236}">
                <a16:creationId xmlns:a16="http://schemas.microsoft.com/office/drawing/2014/main" id="{661E52DD-5720-5A1D-797B-A843F6AC9A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962" y="669080"/>
            <a:ext cx="5518800" cy="5518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56CF1F-A716-0B00-E59E-74CA94D267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31542" b="29164"/>
          <a:stretch/>
        </p:blipFill>
        <p:spPr>
          <a:xfrm>
            <a:off x="726926" y="392111"/>
            <a:ext cx="2395295" cy="867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40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7559" y="2605993"/>
            <a:ext cx="4769324" cy="798420"/>
          </a:xfrm>
        </p:spPr>
        <p:txBody>
          <a:bodyPr anchor="b" anchorCtr="0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itle chapt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5079B2-F2D3-5692-6268-8FD47FC601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1542" b="29164"/>
          <a:stretch/>
        </p:blipFill>
        <p:spPr>
          <a:xfrm>
            <a:off x="737558" y="392111"/>
            <a:ext cx="1977258" cy="716147"/>
          </a:xfrm>
          <a:prstGeom prst="rect">
            <a:avLst/>
          </a:prstGeom>
        </p:spPr>
      </p:pic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45927318-D2A1-B09C-A856-4214DF64A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392112"/>
            <a:ext cx="5738368" cy="6073777"/>
          </a:xfrm>
          <a:prstGeom prst="roundRect">
            <a:avLst>
              <a:gd name="adj" fmla="val 543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chemeClr val="accent5">
                <a:alpha val="14000"/>
              </a:schemeClr>
            </a:outerShdw>
          </a:effectLst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AC68E4B2-22CA-27F5-80D6-10263D0E42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93F57F-3B97-57E6-0EC8-E3E10C356328}"/>
              </a:ext>
            </a:extLst>
          </p:cNvPr>
          <p:cNvSpPr txBox="1"/>
          <p:nvPr userDrawn="1"/>
        </p:nvSpPr>
        <p:spPr>
          <a:xfrm>
            <a:off x="1690655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C99BCB-3ABA-EEE9-7CA0-3374A7B2D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8188" y="3469874"/>
            <a:ext cx="4768850" cy="1949450"/>
          </a:xfrm>
        </p:spPr>
        <p:txBody>
          <a:bodyPr/>
          <a:lstStyle>
            <a:lvl1pPr>
              <a:defRPr>
                <a:latin typeface="Overpass Light" pitchFamily="2" charset="0"/>
              </a:defRPr>
            </a:lvl1pPr>
            <a:lvl2pPr marL="149225" indent="-149225">
              <a:buClr>
                <a:schemeClr val="accent2"/>
              </a:buClr>
              <a:buFont typeface="Arial" panose="020B0604020202020204" pitchFamily="34" charset="0"/>
              <a:buChar char="•"/>
              <a:defRPr/>
            </a:lvl2pPr>
            <a:lvl3pPr marL="298450" indent="-139700">
              <a:buFont typeface="Source Sans Pro" panose="020B0503030403020204" pitchFamily="34" charset="0"/>
              <a:buChar char="-"/>
              <a:defRPr/>
            </a:lvl3pPr>
            <a:lvl4pPr marL="400050" indent="-106363">
              <a:buFont typeface="Source Sans Pro" panose="020B0503030403020204" pitchFamily="34" charset="0"/>
              <a:buChar char="›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34542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FB17CAA-6DE0-EDC4-F1DE-027F234CA05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 anchorCtr="1"/>
          <a:lstStyle>
            <a:lvl1pPr>
              <a:defRPr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drag &amp; drop your picture in this placeholder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9E4C812-27C7-40DA-857A-1EC3C2BC1E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6849" y="2385249"/>
            <a:ext cx="5139152" cy="798420"/>
          </a:xfrm>
        </p:spPr>
        <p:txBody>
          <a:bodyPr anchor="b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Key message here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96EF8F3-8BE4-58AD-9410-D841277E4C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7478" y="3243854"/>
            <a:ext cx="5139045" cy="395288"/>
          </a:xfrm>
        </p:spPr>
        <p:txBody>
          <a:bodyPr/>
          <a:lstStyle>
            <a:lvl1pPr algn="l">
              <a:defRPr sz="2000" b="0">
                <a:solidFill>
                  <a:schemeClr val="bg1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7938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60F4C7-18E9-FFBF-AEBD-7717FFC7F0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940513"/>
            <a:ext cx="1111250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4463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0775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A2B438-CBEF-8957-9349-1DA8293A1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314F4127-3B4F-446F-B687-4CDD145E12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940513"/>
            <a:ext cx="1111250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50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FACCA7F-4336-6A48-D2C6-B33C842B7FA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2713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41F92A4C-1D2D-EF64-E868-8FCAF49F89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0997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of 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6100" y="142875"/>
            <a:ext cx="3868738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2666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1059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575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2675" y="2975649"/>
            <a:ext cx="4348820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87E4B58-0799-8024-B616-D488A9B89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5019" y="492331"/>
            <a:ext cx="3164202" cy="27391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7112459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</p:spTree>
    <p:extLst>
      <p:ext uri="{BB962C8B-B14F-4D97-AF65-F5344CB8AC3E}">
        <p14:creationId xmlns:p14="http://schemas.microsoft.com/office/powerpoint/2010/main" val="155567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EE5C5E-542F-4869-BB88-0AA7F6CDD09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23646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25470"/>
            <a:ext cx="4896780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2BBD62A-2B78-6254-1D44-2EC4BC482FF9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392113"/>
            <a:ext cx="5738368" cy="5713412"/>
          </a:xfrm>
          <a:prstGeom prst="roundRect">
            <a:avLst>
              <a:gd name="adj" fmla="val 543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chemeClr val="accent5">
                <a:alpha val="14000"/>
              </a:schemeClr>
            </a:outerShdw>
          </a:effectLst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D390A1A-454F-4A52-C1AD-5AEA4CA8FE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489678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1BB403-1EBF-E249-0061-5BDBE81A5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940513"/>
            <a:ext cx="4896780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936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 left - big 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0"/>
            <a:ext cx="613048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25470"/>
            <a:ext cx="4896780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ABAEA0B-94D9-08A9-ACBF-77E50641BB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063" y="6251232"/>
            <a:ext cx="1044000" cy="363600"/>
          </a:xfrm>
        </p:spPr>
        <p:txBody>
          <a:bodyPr anchor="ctr" anchorCtr="1"/>
          <a:lstStyle>
            <a:lvl1pPr>
              <a:defRPr sz="900">
                <a:latin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38C1E5-E1DE-A23E-7D62-D2CA1F22176F}"/>
              </a:ext>
            </a:extLst>
          </p:cNvPr>
          <p:cNvSpPr txBox="1"/>
          <p:nvPr userDrawn="1"/>
        </p:nvSpPr>
        <p:spPr>
          <a:xfrm>
            <a:off x="16906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A9278D7-E269-83CE-56BE-1E34FE4287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940513"/>
            <a:ext cx="4896780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362C8DAC-3AEF-CEB0-A37E-AEB92574E58B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540001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8939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left - big picture right -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61520" y="0"/>
            <a:ext cx="613048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25470"/>
            <a:ext cx="4896780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2BBD62A-2B78-6254-1D44-2EC4BC482FF9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ABAEA0B-94D9-08A9-ACBF-77E50641BB0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759063" y="6251232"/>
            <a:ext cx="1044000" cy="363600"/>
          </a:xfrm>
        </p:spPr>
        <p:txBody>
          <a:bodyPr anchor="ctr" anchorCtr="1"/>
          <a:lstStyle>
            <a:lvl1pPr>
              <a:defRPr sz="900">
                <a:latin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4C4024-59F2-7D40-A892-CCB389AC9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489678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F38C1E5-E1DE-A23E-7D62-D2CA1F22176F}"/>
              </a:ext>
            </a:extLst>
          </p:cNvPr>
          <p:cNvSpPr txBox="1"/>
          <p:nvPr userDrawn="1"/>
        </p:nvSpPr>
        <p:spPr>
          <a:xfrm>
            <a:off x="16906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A9278D7-E269-83CE-56BE-1E34FE4287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1940513"/>
            <a:ext cx="4896780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173038" indent="-173038">
              <a:tabLst/>
              <a:defRPr/>
            </a:lvl3pPr>
            <a:lvl4pPr marL="341313" indent="-153988">
              <a:tabLst/>
              <a:defRPr/>
            </a:lvl4pPr>
            <a:lvl5pPr marL="504825" indent="-1492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79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- big pictur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4768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525470"/>
            <a:ext cx="5714752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F37661-BA66-8CDC-AF51-F37A360BC354}"/>
              </a:ext>
            </a:extLst>
          </p:cNvPr>
          <p:cNvSpPr txBox="1"/>
          <p:nvPr userDrawn="1"/>
        </p:nvSpPr>
        <p:spPr>
          <a:xfrm>
            <a:off x="70353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7CC792B-2632-D576-3F58-06C9837D3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940513"/>
            <a:ext cx="571475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 sz="1400"/>
            </a:lvl2pPr>
            <a:lvl3pPr marL="173038" indent="-173038">
              <a:tabLst/>
              <a:defRPr sz="1400"/>
            </a:lvl3pPr>
            <a:lvl4pPr marL="341313" indent="-153988">
              <a:tabLst/>
              <a:defRPr sz="1400"/>
            </a:lvl4pPr>
            <a:lvl5pPr marL="504825" indent="-149225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C8BC2D43-388A-B0B7-7222-D6E3037209B4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6096001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2763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- big picture left -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4768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275FBA-489C-5ADE-B86C-A8DF82756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1" y="525470"/>
            <a:ext cx="5714752" cy="52547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2BBD62A-2B78-6254-1D44-2EC4BC482FF9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6096001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E4C4024-59F2-7D40-A892-CCB389AC99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1" y="1063352"/>
            <a:ext cx="5714752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F37661-BA66-8CDC-AF51-F37A360BC354}"/>
              </a:ext>
            </a:extLst>
          </p:cNvPr>
          <p:cNvSpPr txBox="1"/>
          <p:nvPr userDrawn="1"/>
        </p:nvSpPr>
        <p:spPr>
          <a:xfrm>
            <a:off x="70353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47CC792B-2632-D576-3F58-06C9837D3D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1940513"/>
            <a:ext cx="5714751" cy="4165011"/>
          </a:xfrm>
        </p:spPr>
        <p:txBody>
          <a:bodyPr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 sz="1400"/>
            </a:lvl2pPr>
            <a:lvl3pPr marL="173038" indent="-173038">
              <a:tabLst/>
              <a:defRPr sz="1400"/>
            </a:lvl3pPr>
            <a:lvl4pPr marL="341313" indent="-153988">
              <a:tabLst/>
              <a:defRPr sz="1400"/>
            </a:lvl4pPr>
            <a:lvl5pPr marL="504825" indent="-149225"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75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right - big pictur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5E8B1B3B-9443-322A-0242-BA15AECF04F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54768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F37661-BA66-8CDC-AF51-F37A360BC354}"/>
              </a:ext>
            </a:extLst>
          </p:cNvPr>
          <p:cNvSpPr txBox="1"/>
          <p:nvPr userDrawn="1"/>
        </p:nvSpPr>
        <p:spPr>
          <a:xfrm>
            <a:off x="7035357" y="6596965"/>
            <a:ext cx="13865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16FD94C-36CC-164B-48DF-FC7446FCA9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1564" y="1920085"/>
            <a:ext cx="4200081" cy="3017830"/>
          </a:xfrm>
        </p:spPr>
        <p:txBody>
          <a:bodyPr anchor="ctr" anchorCtr="0"/>
          <a:lstStyle>
            <a:lvl1pPr>
              <a:defRPr sz="4000">
                <a:latin typeface="Overpass Light" pitchFamily="2" charset="0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m </a:t>
            </a:r>
            <a:r>
              <a:rPr lang="en-US" dirty="0" err="1"/>
              <a:t>stijl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8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4 colum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2716CB-8E56-DC6B-1B90-1953C0F9C59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49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BF679B71-5FD4-0B85-5699-4F4FDF3B27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E56AD-DC5F-4B12-8827-487CC07A7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1" y="1668434"/>
            <a:ext cx="2698320" cy="4437091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lvl="0"/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51D16AC-00B5-5CFD-E266-F9B29FA435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97681" y="1668434"/>
            <a:ext cx="2698320" cy="4437091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89CF010-E6C0-7D54-0A93-253CFA6468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5361" y="1668434"/>
            <a:ext cx="2698320" cy="4437091"/>
          </a:xfrm>
          <a:prstGeom prst="roundRect">
            <a:avLst>
              <a:gd name="adj" fmla="val 11326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860546-A09C-F674-4494-1B4697295C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13040" y="1668434"/>
            <a:ext cx="2698320" cy="4437091"/>
          </a:xfrm>
          <a:prstGeom prst="roundRect">
            <a:avLst>
              <a:gd name="adj" fmla="val 11152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144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95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- pictures on 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4 columns – Pictures on top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E56AD-DC5F-4B12-8827-487CC07A7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1" y="1584684"/>
            <a:ext cx="2698320" cy="4520842"/>
          </a:xfrm>
          <a:prstGeom prst="roundRect">
            <a:avLst>
              <a:gd name="adj" fmla="val 115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0784"/>
              </a:srgb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51D16AC-00B5-5CFD-E266-F9B29FA435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97681" y="1584684"/>
            <a:ext cx="2698320" cy="4520842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89CF010-E6C0-7D54-0A93-253CFA6468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5361" y="1584684"/>
            <a:ext cx="2698320" cy="4520842"/>
          </a:xfrm>
          <a:prstGeom prst="roundRect">
            <a:avLst>
              <a:gd name="adj" fmla="val 12542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860546-A09C-F674-4494-1B4697295C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13040" y="1584684"/>
            <a:ext cx="2698320" cy="4520842"/>
          </a:xfrm>
          <a:prstGeom prst="roundRect">
            <a:avLst>
              <a:gd name="adj" fmla="val 10978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chemeClr val="accent5">
                <a:alpha val="21000"/>
              </a:schemeClr>
            </a:outerShdw>
          </a:effectLst>
        </p:spPr>
        <p:txBody>
          <a:bodyPr lIns="108000" tIns="2016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0390AE-57C8-4802-3695-23577356D76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39750" y="1584683"/>
            <a:ext cx="2698750" cy="1760537"/>
          </a:xfrm>
          <a:prstGeom prst="round2SameRect">
            <a:avLst>
              <a:gd name="adj1" fmla="val 18217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DBCE2986-A5F0-5D22-34B5-EEFD294A3D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397251" y="1584683"/>
            <a:ext cx="2698750" cy="1760537"/>
          </a:xfrm>
          <a:prstGeom prst="round2SameRect">
            <a:avLst>
              <a:gd name="adj1" fmla="val 18217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7770F893-4301-C629-F561-75CE17A6996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54931" y="1584683"/>
            <a:ext cx="2698750" cy="1760537"/>
          </a:xfrm>
          <a:prstGeom prst="round2SameRect">
            <a:avLst>
              <a:gd name="adj1" fmla="val 18484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57FD166-1A16-347C-3EC1-97BA602C3D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112610" y="1584683"/>
            <a:ext cx="2698750" cy="1760537"/>
          </a:xfrm>
          <a:prstGeom prst="round2SameRect">
            <a:avLst>
              <a:gd name="adj1" fmla="val 16619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F0E1E34-735B-58E6-2D1C-DF4213734D2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724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 - pictures on 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4 columns – Pictures on top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E9E56AD-DC5F-4B12-8827-487CC07A7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1" y="1584684"/>
            <a:ext cx="2698320" cy="4520842"/>
          </a:xfrm>
          <a:prstGeom prst="roundRect">
            <a:avLst>
              <a:gd name="adj" fmla="val 11500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251D16AC-00B5-5CFD-E266-F9B29FA435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97681" y="1584684"/>
            <a:ext cx="2698320" cy="4520842"/>
          </a:xfrm>
          <a:prstGeom prst="roundRect">
            <a:avLst>
              <a:gd name="adj" fmla="val 11847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C89CF010-E6C0-7D54-0A93-253CFA64683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55361" y="1584684"/>
            <a:ext cx="2698320" cy="4520842"/>
          </a:xfrm>
          <a:prstGeom prst="roundRect">
            <a:avLst>
              <a:gd name="adj" fmla="val 12542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1860546-A09C-F674-4494-1B4697295C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13040" y="1584684"/>
            <a:ext cx="2698320" cy="4520842"/>
          </a:xfrm>
          <a:prstGeom prst="roundRect">
            <a:avLst>
              <a:gd name="adj" fmla="val 10978"/>
            </a:avLst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108000" tIns="342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2pPr>
            <a:lvl3pPr marL="134938" marR="0" indent="-1349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8288" marR="0" indent="-122238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Source Sans Pro" panose="020B0503030403020204" pitchFamily="34" charset="0"/>
              <a:buChar char="-"/>
              <a:tabLst/>
              <a:defRPr sz="1400"/>
            </a:lvl4pPr>
            <a:lvl5pPr marL="406400" marR="0" indent="-1127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›"/>
              <a:tabLst/>
              <a:defRPr sz="14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E0390AE-57C8-4802-3695-23577356D76A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39750" y="1584683"/>
            <a:ext cx="2698750" cy="3425266"/>
          </a:xfrm>
          <a:prstGeom prst="round2SameRect">
            <a:avLst>
              <a:gd name="adj1" fmla="val 10727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DBCE2986-A5F0-5D22-34B5-EEFD294A3DC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397251" y="1584683"/>
            <a:ext cx="2698750" cy="3425266"/>
          </a:xfrm>
          <a:prstGeom prst="round2SameRect">
            <a:avLst>
              <a:gd name="adj1" fmla="val 11262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7770F893-4301-C629-F561-75CE17A6996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54931" y="1584683"/>
            <a:ext cx="2698750" cy="3425266"/>
          </a:xfrm>
          <a:prstGeom prst="round2SameRect">
            <a:avLst>
              <a:gd name="adj1" fmla="val 12421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57FD166-1A16-347C-3EC1-97BA602C3DD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112610" y="1584683"/>
            <a:ext cx="2698750" cy="3425266"/>
          </a:xfrm>
          <a:prstGeom prst="round2SameRect">
            <a:avLst>
              <a:gd name="adj1" fmla="val 10378"/>
              <a:gd name="adj2" fmla="val 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F0E1E34-735B-58E6-2D1C-DF4213734D2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7760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CF684F1-8329-1707-CA53-3FC55D56673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1584683"/>
            <a:ext cx="3604511" cy="4520841"/>
          </a:xfrm>
          <a:prstGeom prst="roundRect">
            <a:avLst>
              <a:gd name="adj" fmla="val 7676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72000" tIns="1080000" rIns="72000"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431A71-DFC1-D8A2-FB60-B1D32820B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3 column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B58C4CD-8A2E-87D3-B383-376B9010EB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05CCAF-6332-4C07-85E0-501AB4CBD5D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78347" y="1584683"/>
            <a:ext cx="3604511" cy="4520841"/>
          </a:xfrm>
          <a:prstGeom prst="roundRect">
            <a:avLst>
              <a:gd name="adj" fmla="val 7676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72000" tIns="1080000" rIns="72000"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348FF3D-922A-4D48-8D64-EC0D955AFE7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16944" y="1584683"/>
            <a:ext cx="3604511" cy="4520841"/>
          </a:xfrm>
          <a:prstGeom prst="roundRect">
            <a:avLst>
              <a:gd name="adj" fmla="val 7676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lIns="72000" tIns="1080000" rIns="72000"/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117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918A9D-26E7-48AA-BB44-E86336848EA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C295970-974B-C048-613D-29A3C4B36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795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FDF6BCC-564F-7869-C65A-AC6D5CED2EA0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4D0BF9C-C7A8-B2D4-8BBB-16BC888E12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6 column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62EBD0D-9260-909E-AE49-5976DFAF6B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5C1A4E4-437D-4A68-A935-491B39432A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1584683"/>
            <a:ext cx="3604511" cy="2193821"/>
          </a:xfrm>
          <a:prstGeom prst="roundRect">
            <a:avLst>
              <a:gd name="adj" fmla="val 12941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6582EA0-07D7-458A-8316-4E7CA933CD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9750" y="3920020"/>
            <a:ext cx="3604511" cy="2193821"/>
          </a:xfrm>
          <a:prstGeom prst="roundRect">
            <a:avLst>
              <a:gd name="adj" fmla="val 14477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1E3CE3F-D3F8-494E-90B9-CB098CE2F62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342164" y="1584683"/>
            <a:ext cx="3604511" cy="2193821"/>
          </a:xfrm>
          <a:prstGeom prst="roundRect">
            <a:avLst>
              <a:gd name="adj" fmla="val 12722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2C30E2D-52AE-489E-AAF5-DCD5E4699D3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342164" y="3913212"/>
            <a:ext cx="3604511" cy="2193821"/>
          </a:xfrm>
          <a:prstGeom prst="roundRect">
            <a:avLst>
              <a:gd name="adj" fmla="val 12063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DB046EF-AEC6-4019-A849-05835E1CC03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44578" y="3920019"/>
            <a:ext cx="3604511" cy="2193821"/>
          </a:xfrm>
          <a:prstGeom prst="roundRect">
            <a:avLst>
              <a:gd name="adj" fmla="val 12502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789231C3-2007-4727-A132-54015648313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44578" y="1584682"/>
            <a:ext cx="3604511" cy="2193821"/>
          </a:xfrm>
          <a:prstGeom prst="roundRect">
            <a:avLst>
              <a:gd name="adj" fmla="val 12941"/>
            </a:avLst>
          </a:prstGeom>
          <a:solidFill>
            <a:schemeClr val="bg1">
              <a:lumMod val="95000"/>
            </a:schemeClr>
          </a:solidFill>
          <a:effectLst>
            <a:outerShdw blurRad="63500" sx="102000" sy="102000" algn="ctr" rotWithShape="0">
              <a:srgbClr val="91A7D1">
                <a:alpha val="21000"/>
              </a:srgbClr>
            </a:outerShdw>
          </a:effectLst>
        </p:spPr>
        <p:txBody>
          <a:bodyPr wrap="square" lIns="72000" tIns="216000" rIns="72000">
            <a:normAutofit/>
          </a:bodyPr>
          <a:lstStyle>
            <a:lvl1pPr>
              <a:defRPr lang="en-US" sz="1600" b="0" kern="120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3pPr marL="360363" indent="-184150">
              <a:defRPr/>
            </a:lvl3pPr>
            <a:lvl4pPr marL="628650" indent="-185738">
              <a:defRPr/>
            </a:lvl4pPr>
            <a:lvl5pPr marL="803275" indent="-174625"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 err="1"/>
              <a:t>Klikken</a:t>
            </a:r>
            <a:r>
              <a:rPr lang="en-US" dirty="0"/>
              <a:t> om de </a:t>
            </a:r>
            <a:r>
              <a:rPr lang="en-US" dirty="0" err="1"/>
              <a:t>tekststijl</a:t>
            </a:r>
            <a:r>
              <a:rPr lang="en-US" dirty="0"/>
              <a:t> van het model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werken</a:t>
            </a:r>
            <a:endParaRPr lang="en-US" dirty="0"/>
          </a:p>
          <a:p>
            <a:pPr lvl="1"/>
            <a:r>
              <a:rPr lang="en-US" dirty="0" err="1"/>
              <a:t>Twee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2"/>
            <a:r>
              <a:rPr lang="en-US" dirty="0" err="1"/>
              <a:t>D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3"/>
            <a:r>
              <a:rPr lang="en-US" dirty="0" err="1"/>
              <a:t>Vier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  <a:p>
            <a:pPr lvl="4"/>
            <a:r>
              <a:rPr lang="en-US" dirty="0" err="1"/>
              <a:t>Vijfde</a:t>
            </a:r>
            <a:r>
              <a:rPr lang="en-US" dirty="0"/>
              <a:t> </a:t>
            </a:r>
            <a:r>
              <a:rPr lang="en-US" dirty="0" err="1"/>
              <a:t>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84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94E0851-705B-055B-3D17-0AEB366CFC63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539750" y="1376363"/>
            <a:ext cx="3708400" cy="2843945"/>
          </a:xfrm>
          <a:prstGeom prst="roundRect">
            <a:avLst>
              <a:gd name="adj" fmla="val 12050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EB1F8456-1E21-E119-BE22-578933BB2B25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4319629" y="1376363"/>
            <a:ext cx="3708400" cy="2843945"/>
          </a:xfrm>
          <a:prstGeom prst="roundRect">
            <a:avLst>
              <a:gd name="adj" fmla="val 11391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1992898-2E1A-0011-D7E3-3A03F5A815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00185" y="1376363"/>
            <a:ext cx="3708400" cy="2843945"/>
          </a:xfrm>
          <a:prstGeom prst="roundRect">
            <a:avLst>
              <a:gd name="adj" fmla="val 9907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 b="0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697864-81F7-4672-BEFA-95D718CF5A80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04A79B4-4F9A-F924-DD3A-B23418593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Bullet slide 3 pictur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7146A3-05D6-8D7A-25D7-D9D93835F7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451350"/>
            <a:ext cx="3633925" cy="1589088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Article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4B076976-E35D-7761-DDFD-0AC5254FC0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9629" y="4451350"/>
            <a:ext cx="3633925" cy="1589088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Article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E4C7FDE1-1CD1-79D2-3751-07A2DB65BC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00185" y="4451350"/>
            <a:ext cx="3633925" cy="1589088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Article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487E68A-9E71-0757-22A2-F7D11C0D898C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39749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4071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de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CFC13AD-7BDD-C31C-4ED5-1DB563A5675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99085" y="562708"/>
            <a:ext cx="2643896" cy="5564715"/>
          </a:xfrm>
          <a:prstGeom prst="roundRect">
            <a:avLst>
              <a:gd name="adj" fmla="val 14159"/>
            </a:avLst>
          </a:prstGeo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6" name="Title 6">
            <a:extLst>
              <a:ext uri="{FF2B5EF4-FFF2-40B4-BE49-F238E27FC236}">
                <a16:creationId xmlns:a16="http://schemas.microsoft.com/office/drawing/2014/main" id="{3B36BDF8-5AB7-E9FF-AEF5-AC3BA044ED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31790" y="1853626"/>
            <a:ext cx="3576959" cy="88543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Mobile devic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8173428-7261-EC81-4333-55A1F3D895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31629" y="3273762"/>
            <a:ext cx="3577120" cy="1369532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C42C435-CC64-F28C-D8E3-03DCD53F948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6419128" y="308734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A0390D96-FDFF-5861-B081-09A379EA4C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31628" y="2754067"/>
            <a:ext cx="3576959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03601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devic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D06F62-A9A4-5B8B-65D4-90C1F0F6AD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9750" y="2514097"/>
            <a:ext cx="3314700" cy="2630488"/>
          </a:xfrm>
        </p:spPr>
        <p:txBody>
          <a:bodyPr anchor="ctr" anchorCtr="0"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>
                <a:latin typeface="Overpass Light" pitchFamily="2" charset="0"/>
              </a:defRPr>
            </a:lvl2pPr>
            <a:lvl3pPr>
              <a:defRPr>
                <a:latin typeface="Overpass Light" pitchFamily="2" charset="0"/>
              </a:defRPr>
            </a:lvl3pPr>
            <a:lvl4pPr>
              <a:defRPr>
                <a:latin typeface="Overpass Light" pitchFamily="2" charset="0"/>
              </a:defRPr>
            </a:lvl4pPr>
            <a:lvl5pPr>
              <a:defRPr>
                <a:latin typeface="Overpass Light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527B68-6653-8AF2-BC72-5092CCC505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585716" y="2066925"/>
            <a:ext cx="6131497" cy="3519488"/>
          </a:xfr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53E05E-744C-1033-5E95-110C86F85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Laptop devic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AE8D538-B645-450D-82AE-C1FFA9BEEA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0E577FA-9B4A-7375-1E2A-A637643F9DB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387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devic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D06F62-A9A4-5B8B-65D4-90C1F0F6AD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92024" y="2650084"/>
            <a:ext cx="3314700" cy="2630488"/>
          </a:xfrm>
        </p:spPr>
        <p:txBody>
          <a:bodyPr anchor="ctr" anchorCtr="0"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>
              <a:defRPr>
                <a:latin typeface="Overpass Light" pitchFamily="2" charset="0"/>
              </a:defRPr>
            </a:lvl2pPr>
            <a:lvl3pPr>
              <a:defRPr>
                <a:latin typeface="Overpass Light" pitchFamily="2" charset="0"/>
              </a:defRPr>
            </a:lvl3pPr>
            <a:lvl4pPr>
              <a:defRPr>
                <a:latin typeface="Overpass Light" pitchFamily="2" charset="0"/>
              </a:defRPr>
            </a:lvl4pPr>
            <a:lvl5pPr>
              <a:defRPr>
                <a:latin typeface="Overpass Light" pitchFamily="2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3527B68-6653-8AF2-BC72-5092CCC505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187353" y="2066925"/>
            <a:ext cx="6131497" cy="3519488"/>
          </a:xfrm>
          <a:solidFill>
            <a:schemeClr val="bg1">
              <a:lumMod val="95000"/>
            </a:schemeClr>
          </a:solidFill>
          <a:effectLst/>
        </p:spPr>
        <p:txBody>
          <a:bodyPr vert="horz" lIns="0" tIns="0" rIns="0" bIns="0" rtlCol="0" anchor="ctr" anchorCtr="1">
            <a:noAutofit/>
          </a:bodyPr>
          <a:lstStyle>
            <a:lvl1pPr>
              <a:defRPr lang="en-US">
                <a:solidFill>
                  <a:schemeClr val="bg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53E05E-744C-1033-5E95-110C86F85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25470"/>
            <a:ext cx="11112001" cy="52547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Laptop devic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8AE8D538-B645-450D-82AE-C1FFA9BEEA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063352"/>
            <a:ext cx="11112500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0E577FA-9B4A-7375-1E2A-A637643F9DB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40266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7401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60F4C7-18E9-FFBF-AEBD-7717FFC7F0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9751" y="5073598"/>
            <a:ext cx="3059924" cy="1369532"/>
          </a:xfrm>
        </p:spPr>
        <p:txBody>
          <a:bodyPr/>
          <a:lstStyle>
            <a:lvl1pPr>
              <a:defRPr lang="en-US" sz="1600" b="0" kern="1200" noProof="0" dirty="0">
                <a:solidFill>
                  <a:schemeClr val="tx2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3632776"/>
            <a:ext cx="3059786" cy="8895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92929DD-2ABF-4BEF-1CAE-35296C886A63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490303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F3542FD-D14E-FB5C-3150-7EA9877CF5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2" y="4522352"/>
            <a:ext cx="3059786" cy="296978"/>
          </a:xfrm>
        </p:spPr>
        <p:txBody>
          <a:bodyPr anchor="b" anchorCtr="0"/>
          <a:lstStyle>
            <a:lvl1pPr>
              <a:defRPr sz="2000" b="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31127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393EC617-F107-F91D-3C54-EC6E596EA0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US" smtClean="0"/>
              <a:pPr algn="l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55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2D3D0F-D0D5-FD23-2D42-6F67BACC6D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39749" y="6568163"/>
            <a:ext cx="288000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Overpass Light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Overpass Light" pitchFamily="2" charset="0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C65A3BC-914A-D986-461E-60FE05F47C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FACCA7F-4336-6A48-D2C6-B33C842B7FA7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539750" y="105001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04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1822C969-FAE3-423C-8DB3-712F70D0A50A}"/>
              </a:ext>
            </a:extLst>
          </p:cNvPr>
          <p:cNvSpPr/>
          <p:nvPr userDrawn="1"/>
        </p:nvSpPr>
        <p:spPr>
          <a:xfrm>
            <a:off x="1200" y="0"/>
            <a:ext cx="6094800" cy="6861600"/>
          </a:xfrm>
          <a:prstGeom prst="rect">
            <a:avLst/>
          </a:prstGeom>
          <a:solidFill>
            <a:srgbClr val="244D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>
              <a:solidFill>
                <a:schemeClr val="bg1"/>
              </a:solidFill>
            </a:endParaRPr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D3555C2F-5B96-4A49-903B-078B6051EE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690" y="4580897"/>
            <a:ext cx="5123820" cy="556486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nl-BE"/>
              <a:t>Click </a:t>
            </a:r>
            <a:r>
              <a:rPr lang="nl-BE" err="1"/>
              <a:t>to</a:t>
            </a:r>
            <a:r>
              <a:rPr lang="nl-BE"/>
              <a:t> </a:t>
            </a:r>
            <a:r>
              <a:rPr lang="nl-BE" err="1"/>
              <a:t>add</a:t>
            </a:r>
            <a:r>
              <a:rPr lang="nl-BE"/>
              <a:t> </a:t>
            </a:r>
            <a:r>
              <a:rPr lang="nl-BE" err="1"/>
              <a:t>title</a:t>
            </a:r>
            <a:endParaRPr lang="nl-BE"/>
          </a:p>
        </p:txBody>
      </p:sp>
      <p:sp>
        <p:nvSpPr>
          <p:cNvPr id="9" name="Text Placeholder 24">
            <a:extLst>
              <a:ext uri="{FF2B5EF4-FFF2-40B4-BE49-F238E27FC236}">
                <a16:creationId xmlns:a16="http://schemas.microsoft.com/office/drawing/2014/main" id="{354B0B1F-8F2A-4383-AF7E-2E44AD77BDDB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90B8958-088C-2249-81EA-08BC8F037B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12240" y="1216274"/>
            <a:ext cx="3463654" cy="1415738"/>
          </a:xfrm>
          <a:prstGeom prst="rect">
            <a:avLst/>
          </a:prstGeom>
        </p:spPr>
      </p:pic>
      <p:sp>
        <p:nvSpPr>
          <p:cNvPr id="12" name="Tijdelijke aanduiding voor afbeelding 3">
            <a:extLst>
              <a:ext uri="{FF2B5EF4-FFF2-40B4-BE49-F238E27FC236}">
                <a16:creationId xmlns:a16="http://schemas.microsoft.com/office/drawing/2014/main" id="{ABB930CA-7D67-1249-8E6F-96D033843D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4802" y="0"/>
            <a:ext cx="6095611" cy="685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/>
            </a:lvl1pPr>
            <a:lvl2pPr marL="179995" indent="0">
              <a:buNone/>
              <a:defRPr sz="1600"/>
            </a:lvl2pPr>
          </a:lstStyle>
          <a:p>
            <a:pPr lvl="1"/>
            <a:r>
              <a:rPr lang="nl-BE"/>
              <a:t>Click icon </a:t>
            </a:r>
            <a:r>
              <a:rPr lang="nl-BE" err="1"/>
              <a:t>to</a:t>
            </a:r>
            <a:r>
              <a:rPr lang="nl-BE"/>
              <a:t> </a:t>
            </a:r>
            <a:r>
              <a:rPr lang="nl-BE" err="1"/>
              <a:t>add</a:t>
            </a:r>
            <a:r>
              <a:rPr lang="nl-BE"/>
              <a:t> picture</a:t>
            </a:r>
          </a:p>
        </p:txBody>
      </p:sp>
      <p:sp>
        <p:nvSpPr>
          <p:cNvPr id="11" name="Tijdelijke aanduiding voor datum 1">
            <a:extLst>
              <a:ext uri="{FF2B5EF4-FFF2-40B4-BE49-F238E27FC236}">
                <a16:creationId xmlns:a16="http://schemas.microsoft.com/office/drawing/2014/main" id="{F503A101-15F2-4B67-A36C-E6CF584429F4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2004001" y="5511393"/>
            <a:ext cx="2088000" cy="360000"/>
          </a:xfrm>
        </p:spPr>
        <p:txBody>
          <a:bodyPr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514834AE-D0AD-4DD2-ADE8-EBBAE1FD6543}" type="datetime4">
              <a:rPr lang="en-GB" smtClean="0"/>
              <a:t>13 September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1367775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En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53F2DF22-07DE-42A4-B5D1-A993442B6F3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6094413" cy="685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sz="1600"/>
            </a:lvl1pPr>
            <a:lvl2pPr>
              <a:defRPr sz="1600"/>
            </a:lvl2pPr>
          </a:lstStyle>
          <a:p>
            <a:pPr marL="359991" marR="0" lvl="1" indent="0" algn="l" defTabSz="914377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nl-BE"/>
              <a:t>Click icon to add picture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907A4EFF-459D-461E-8F49-DC51691EF58C}"/>
              </a:ext>
            </a:extLst>
          </p:cNvPr>
          <p:cNvSpPr/>
          <p:nvPr userDrawn="1"/>
        </p:nvSpPr>
        <p:spPr>
          <a:xfrm>
            <a:off x="6096000" y="0"/>
            <a:ext cx="6096000" cy="6861600"/>
          </a:xfrm>
          <a:prstGeom prst="rect">
            <a:avLst/>
          </a:prstGeom>
          <a:solidFill>
            <a:srgbClr val="244D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4809C0-CA3F-4CEF-BDBC-6F5C28804E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0"/>
            <a:ext cx="6094800" cy="5131558"/>
          </a:xfrm>
        </p:spPr>
        <p:txBody>
          <a:bodyPr anchor="b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Appendix A</a:t>
            </a:r>
            <a:endParaRPr lang="nl-BE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B146452A-CC47-482D-A414-C6F6A3736CA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  <a:prstGeom prst="rect">
            <a:avLst/>
          </a:prstGeo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79996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59991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presenters name</a:t>
            </a:r>
          </a:p>
        </p:txBody>
      </p:sp>
      <p:sp>
        <p:nvSpPr>
          <p:cNvPr id="10" name="Text Placeholder 24">
            <a:extLst>
              <a:ext uri="{FF2B5EF4-FFF2-40B4-BE49-F238E27FC236}">
                <a16:creationId xmlns:a16="http://schemas.microsoft.com/office/drawing/2014/main" id="{E30AE35D-8EBE-48E7-AB9E-331B43938913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0E0C9A-CF1B-154C-A7BD-7D653615D4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98694" y="1216274"/>
            <a:ext cx="3463654" cy="141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63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1EDFA3F-7AF2-E2DD-04A0-D0E6914E2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84560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639827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00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3BC894B-5CA4-0CFA-546F-9415A052B9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0956" y="1056648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466507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84CC9C7-766F-F1BC-53AC-D8ACA8D3D8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7099" y="1114736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78688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8F3E92-33B2-4150-BC9F-37FDDC54B7B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5CA0587-D91B-7D73-6783-B9D1DC08D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19959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956B4C6-E283-4F2F-9E23-1FB0A72F003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991E4FD-E1D9-41D4-3F90-9E93F0A7E7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89395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12DFFBB-80C1-46EE-B94D-8B96B6A5A01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1900020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678059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867122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790301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2" name="Image 37">
            <a:extLst>
              <a:ext uri="{FF2B5EF4-FFF2-40B4-BE49-F238E27FC236}">
                <a16:creationId xmlns:a16="http://schemas.microsoft.com/office/drawing/2014/main" id="{FEDFA7DA-0C29-1FC5-A0BB-9F74CF1FD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25509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7815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A5440D2-CD0B-BE61-3AC9-C592B63B6E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52122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677226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AA0D86-3CE0-4FB8-A676-A4500D3EA39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4" name="Image 37">
            <a:extLst>
              <a:ext uri="{FF2B5EF4-FFF2-40B4-BE49-F238E27FC236}">
                <a16:creationId xmlns:a16="http://schemas.microsoft.com/office/drawing/2014/main" id="{E5031CCC-F20C-BD98-92B8-EA7A2A8EB7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702543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8534FA-5351-407A-A7FE-E2CCE9D157E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5156412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E43903-8D86-4378-B1E5-1D9AE3087BC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4801129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0DCDF2-C4AD-414C-A27B-9D0E94C1E68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3801925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43C4-FF99-4088-BC2D-0DCFB63A2F6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96856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5985DF-3900-4E7A-B107-4D84D299E32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491155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37680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E43230-191B-4CFE-9771-B50B3D0E2C7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541182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CA10D8-787E-468F-8887-4EEEED5B0DC6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007679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A6CB67-82D6-4AB2-9988-57B62165668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65479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9958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14887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EE5C5E-542F-4869-BB88-0AA7F6CDD09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989343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918A9D-26E7-48AA-BB44-E86336848EA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C295970-974B-C048-613D-29A3C4B36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104180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1EDFA3F-7AF2-E2DD-04A0-D0E6914E2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84560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9883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A5440D2-CD0B-BE61-3AC9-C592B63B6E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52122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915227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51486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center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15077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E30F41-5A6E-E7D7-C09F-0B49753127F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9749" y="1055077"/>
            <a:ext cx="11112501" cy="368910"/>
          </a:xfrm>
        </p:spPr>
        <p:txBody>
          <a:bodyPr/>
          <a:lstStyle>
            <a:lvl1pPr algn="ctr"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2444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00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3BC894B-5CA4-0CFA-546F-9415A052B9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0956" y="1056648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34614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84CC9C7-766F-F1BC-53AC-D8ACA8D3D8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7099" y="1114736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91847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8F3E92-33B2-4150-BC9F-37FDDC54B7B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5CA0587-D91B-7D73-6783-B9D1DC08D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675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3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956B4C6-E283-4F2F-9E23-1FB0A72F003F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991E4FD-E1D9-41D4-3F90-9E93F0A7E7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972298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8AAC0-404E-449F-8285-894567DF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12DFFBB-80C1-46EE-B94D-8B96B6A5A01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07077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7067055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32208436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37551619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pic>
        <p:nvPicPr>
          <p:cNvPr id="2" name="Image 37">
            <a:extLst>
              <a:ext uri="{FF2B5EF4-FFF2-40B4-BE49-F238E27FC236}">
                <a16:creationId xmlns:a16="http://schemas.microsoft.com/office/drawing/2014/main" id="{FEDFA7DA-0C29-1FC5-A0BB-9F74CF1FD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914971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018278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AA0D86-3CE0-4FB8-A676-A4500D3EA39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pic>
        <p:nvPicPr>
          <p:cNvPr id="4" name="Image 37">
            <a:extLst>
              <a:ext uri="{FF2B5EF4-FFF2-40B4-BE49-F238E27FC236}">
                <a16:creationId xmlns:a16="http://schemas.microsoft.com/office/drawing/2014/main" id="{E5031CCC-F20C-BD98-92B8-EA7A2A8EB7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93229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8534FA-5351-407A-A7FE-E2CCE9D157EB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85275410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E43903-8D86-4378-B1E5-1D9AE3087BC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383325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E832301-3D10-4D78-A57F-F414D19A77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1" y="540000"/>
            <a:ext cx="11196000" cy="1036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2816C4-03DE-40E4-9BCC-952A8FBBB8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000" y="1799999"/>
            <a:ext cx="11196000" cy="4545239"/>
          </a:xfrm>
          <a:prstGeom prst="rect">
            <a:avLst/>
          </a:prstGeom>
        </p:spPr>
        <p:txBody>
          <a:bodyPr/>
          <a:lstStyle>
            <a:lvl1pPr marL="180000" indent="-180000">
              <a:buFont typeface="Arial" panose="020B0604020202020204" pitchFamily="34" charset="0"/>
              <a:buChar char="•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>
                <a:solidFill>
                  <a:srgbClr val="EF2637"/>
                </a:solidFill>
              </a:defRPr>
            </a:lvl4pPr>
          </a:lstStyle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</p:txBody>
      </p:sp>
      <p:sp>
        <p:nvSpPr>
          <p:cNvPr id="18" name="Tijdelijke aanduiding voor dianummer 5">
            <a:extLst>
              <a:ext uri="{FF2B5EF4-FFF2-40B4-BE49-F238E27FC236}">
                <a16:creationId xmlns:a16="http://schemas.microsoft.com/office/drawing/2014/main" id="{C0FA374A-86B8-4E85-A087-74F76AC984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998" y="6537426"/>
            <a:ext cx="36306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sz="8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823F2F74-81A6-4944-BF64-7D76A6F6A69E}" type="slidenum">
              <a:rPr lang="nl-BE" smtClean="0"/>
              <a:pPr/>
              <a:t>‹#›</a:t>
            </a:fld>
            <a:endParaRPr lang="nl-BE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4F900BA8-D25B-4B3B-90F3-1BCD77FE1B1E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.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5C2AA6B-ECAB-4B14-BF43-6C70848F735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40000" y="1072800"/>
            <a:ext cx="11196000" cy="504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subtitle</a:t>
            </a:r>
            <a:endParaRPr lang="en-GB" dirty="0"/>
          </a:p>
        </p:txBody>
      </p:sp>
      <p:pic>
        <p:nvPicPr>
          <p:cNvPr id="10" name="Afbeelding 21">
            <a:extLst>
              <a:ext uri="{FF2B5EF4-FFF2-40B4-BE49-F238E27FC236}">
                <a16:creationId xmlns:a16="http://schemas.microsoft.com/office/drawing/2014/main" id="{8C846E40-05A1-DD47-BB39-E8BD2E3FF6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50" t="11784" r="12367" b="29624"/>
          <a:stretch/>
        </p:blipFill>
        <p:spPr>
          <a:xfrm>
            <a:off x="10543645" y="6318000"/>
            <a:ext cx="1293573" cy="38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188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0DCDF2-C4AD-414C-A27B-9D0E94C1E68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3760095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43C4-FF99-4088-BC2D-0DCFB63A2F69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4937814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5985DF-3900-4E7A-B107-4D84D299E32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06182217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99337544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E43230-191B-4CFE-9771-B50B3D0E2C7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86526613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CA10D8-787E-468F-8887-4EEEED5B0DC6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5832649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A6CB67-82D6-4AB2-9988-57B62165668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034396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189642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EE5C5E-542F-4869-BB88-0AA7F6CDD091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07418981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918A9D-26E7-48AA-BB44-E86336848EA1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C295970-974B-C048-613D-29A3C4B36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6476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540000"/>
            <a:ext cx="11112001" cy="1036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tit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40000" y="1072800"/>
            <a:ext cx="11112000" cy="504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1"/>
                </a:solidFill>
              </a:defRPr>
            </a:lvl1pPr>
            <a:lvl2pPr marL="800080" indent="-342891" algn="l">
              <a:buFont typeface="Arial" panose="020B0604020202020204" pitchFamily="34" charset="0"/>
              <a:buChar char="•"/>
              <a:defRPr sz="2000"/>
            </a:lvl2pPr>
            <a:lvl3pPr marL="1200121" indent="-285744" algn="l">
              <a:buFont typeface="Arial" panose="020B0604020202020204" pitchFamily="34" charset="0"/>
              <a:buChar char="•"/>
              <a:defRPr sz="2000"/>
            </a:lvl3pPr>
            <a:lvl4pPr marL="1657309" indent="-285744" algn="l">
              <a:buFont typeface="Arial" panose="020B0604020202020204" pitchFamily="34" charset="0"/>
              <a:buChar char="•"/>
              <a:defRPr sz="2000"/>
            </a:lvl4pPr>
            <a:lvl5pPr marL="2114498" indent="-285744" algn="l">
              <a:buFont typeface="Arial" panose="020B0604020202020204" pitchFamily="34" charset="0"/>
              <a:buChar char="•"/>
              <a:defRPr sz="2000"/>
            </a:lvl5pPr>
            <a:lvl6pPr marL="2571686" indent="-285744" algn="l">
              <a:buFont typeface="Arial" panose="020B0604020202020204" pitchFamily="34" charset="0"/>
              <a:buChar char="•"/>
              <a:defRPr sz="2000"/>
            </a:lvl6pPr>
            <a:lvl7pPr marL="3028875" indent="-285744" algn="l">
              <a:buFont typeface="Arial" panose="020B0604020202020204" pitchFamily="34" charset="0"/>
              <a:buChar char="•"/>
              <a:defRPr sz="2000"/>
            </a:lvl7pPr>
            <a:lvl8pPr marL="3486064" indent="-285744" algn="l">
              <a:buFont typeface="Arial" panose="020B0604020202020204" pitchFamily="34" charset="0"/>
              <a:buChar char="•"/>
              <a:defRPr sz="2000"/>
            </a:lvl8pPr>
            <a:lvl9pPr marL="3943252" indent="-285744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</a:t>
            </a:r>
            <a:r>
              <a:rPr lang="nl-NL" dirty="0" err="1"/>
              <a:t>subtitle</a:t>
            </a:r>
            <a:endParaRPr lang="en-GB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4ECE26D6-B7AE-497C-889A-61B732EDCB1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EF2637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8BCCCE-104D-4EE5-9E06-6D0D579381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0000" y="1800000"/>
            <a:ext cx="5466000" cy="4581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D73375C-FB87-443B-908D-E017565C58F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86000" y="1799999"/>
            <a:ext cx="5466000" cy="4581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dirty="0"/>
              <a:t>First lev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7CEB8939-5104-41E0-AE3E-92875F6169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998" y="6537426"/>
            <a:ext cx="36306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sz="8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823F2F74-81A6-4944-BF64-7D76A6F6A69E}" type="slidenum">
              <a:rPr lang="nl-BE" smtClean="0"/>
              <a:pPr/>
              <a:t>‹#›</a:t>
            </a:fld>
            <a:endParaRPr lang="nl-BE" dirty="0"/>
          </a:p>
        </p:txBody>
      </p:sp>
      <p:pic>
        <p:nvPicPr>
          <p:cNvPr id="10" name="Afbeelding 21">
            <a:extLst>
              <a:ext uri="{FF2B5EF4-FFF2-40B4-BE49-F238E27FC236}">
                <a16:creationId xmlns:a16="http://schemas.microsoft.com/office/drawing/2014/main" id="{E3F7BCCB-1986-4A45-93C3-0935BEC944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50" t="11784" r="12367" b="29624"/>
          <a:stretch/>
        </p:blipFill>
        <p:spPr>
          <a:xfrm>
            <a:off x="10543645" y="6318000"/>
            <a:ext cx="1293573" cy="385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015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pPr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1EDFA3F-7AF2-E2DD-04A0-D0E6914E2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84560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063662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fr-FR"/>
              <a:t>Cliquez sur l'icône pour ajouter une imag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pPr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A5440D2-CD0B-BE61-3AC9-C592B63B6E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52122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45131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86976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32687463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0072800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8F3E92-33B2-4150-BC9F-37FDDC54B7B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50305658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88F8D-B026-49AE-ADC6-D0EAA90E0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C2433C-E47C-4693-92A0-2F92A5543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3AAB00-41E0-4118-8183-579087B3F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D788AA-17D4-4170-9E6B-5F7A2D0B4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869247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956B4C6-E283-4F2F-9E23-1FB0A72F003F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586415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8AAC0-404E-449F-8285-894567DF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12DFFBB-80C1-46EE-B94D-8B96B6A5A01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35559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_ 3 items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FAC80A8-43B5-4B29-BD72-E933DC337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FAC80A8-43B5-4B29-BD72-E933DC337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DD14EA3-80E7-4838-9CB3-30BAB1CFE7E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err="1"/>
          </a:p>
        </p:txBody>
      </p:sp>
      <p:sp>
        <p:nvSpPr>
          <p:cNvPr id="16" name="Tijdelijke aanduiding vo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979973" y="4012770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/>
              <a:t>First point on </a:t>
            </a:r>
            <a:r>
              <a:rPr lang="nl-NL" err="1"/>
              <a:t>the</a:t>
            </a:r>
            <a:r>
              <a:rPr lang="nl-NL"/>
              <a:t> agenda </a:t>
            </a:r>
            <a:endParaRPr lang="nl-BE"/>
          </a:p>
        </p:txBody>
      </p:sp>
      <p:sp>
        <p:nvSpPr>
          <p:cNvPr id="18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979973" y="4836191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/>
              <a:t>second point on </a:t>
            </a:r>
            <a:r>
              <a:rPr lang="nl-NL" err="1"/>
              <a:t>the</a:t>
            </a:r>
            <a:r>
              <a:rPr lang="nl-NL"/>
              <a:t> agenda </a:t>
            </a:r>
            <a:endParaRPr lang="nl-BE"/>
          </a:p>
        </p:txBody>
      </p:sp>
      <p:sp>
        <p:nvSpPr>
          <p:cNvPr id="19" name="Tijdelijke aanduiding voor tekst 6"/>
          <p:cNvSpPr>
            <a:spLocks noGrp="1"/>
          </p:cNvSpPr>
          <p:nvPr>
            <p:ph type="body" sz="quarter" idx="12" hasCustomPrompt="1"/>
          </p:nvPr>
        </p:nvSpPr>
        <p:spPr>
          <a:xfrm>
            <a:off x="979973" y="5729251"/>
            <a:ext cx="10223028" cy="548640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anchor="ctr"/>
          <a:lstStyle>
            <a:lvl1pPr marL="261938" indent="0">
              <a:buNone/>
              <a:defRPr sz="2400" cap="all" baseline="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nl-NL" err="1"/>
              <a:t>third</a:t>
            </a:r>
            <a:r>
              <a:rPr lang="nl-NL"/>
              <a:t> point on </a:t>
            </a:r>
            <a:r>
              <a:rPr lang="nl-NL" err="1"/>
              <a:t>the</a:t>
            </a:r>
            <a:r>
              <a:rPr lang="nl-NL"/>
              <a:t> agenda 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679126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ntent + img Gr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0131B0C7-393B-C0BD-A04B-6BF7AC9BC3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881755" y="-7710"/>
            <a:ext cx="4310245" cy="686571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BE" dirty="0"/>
              <a:t>IMG HERE</a:t>
            </a:r>
          </a:p>
        </p:txBody>
      </p:sp>
      <p:sp>
        <p:nvSpPr>
          <p:cNvPr id="8" name="Text Placeholder 19">
            <a:extLst>
              <a:ext uri="{FF2B5EF4-FFF2-40B4-BE49-F238E27FC236}">
                <a16:creationId xmlns:a16="http://schemas.microsoft.com/office/drawing/2014/main" id="{9C6E97B4-F71F-90BC-5991-61E7CA60ED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1767" y="412809"/>
            <a:ext cx="5340956" cy="615951"/>
          </a:xfr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BE" sz="3600" b="1" i="0" kern="1200" dirty="0">
                <a:solidFill>
                  <a:schemeClr val="tx1"/>
                </a:solidFill>
                <a:latin typeface="Poppins" pitchFamily="2" charset="77"/>
                <a:ea typeface="+mj-ea"/>
                <a:cs typeface="Poppins" pitchFamily="2" charset="77"/>
              </a:defRPr>
            </a:lvl1pPr>
          </a:lstStyle>
          <a:p>
            <a:pPr lvl="0"/>
            <a:r>
              <a:rPr lang="en-GB" dirty="0"/>
              <a:t>Title</a:t>
            </a:r>
            <a:endParaRPr lang="en-BE" dirty="0"/>
          </a:p>
        </p:txBody>
      </p:sp>
      <p:sp>
        <p:nvSpPr>
          <p:cNvPr id="9" name="Text Placeholder 19">
            <a:extLst>
              <a:ext uri="{FF2B5EF4-FFF2-40B4-BE49-F238E27FC236}">
                <a16:creationId xmlns:a16="http://schemas.microsoft.com/office/drawing/2014/main" id="{3BEC84A8-0234-C685-90CF-E51D1FC377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768" y="1511997"/>
            <a:ext cx="6797733" cy="4933195"/>
          </a:xfr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BE" sz="1800" b="0" i="0" kern="1200" dirty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Poppins" pitchFamily="2" charset="77"/>
              </a:defRPr>
            </a:lvl1pPr>
          </a:lstStyle>
          <a:p>
            <a:pPr lvl="0"/>
            <a:r>
              <a:rPr lang="en-GB" dirty="0"/>
              <a:t>Type your longer text here. 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Ut </a:t>
            </a:r>
            <a:r>
              <a:rPr lang="en-GB" dirty="0" err="1"/>
              <a:t>enim</a:t>
            </a:r>
            <a:r>
              <a:rPr lang="en-GB" dirty="0"/>
              <a:t> ad minim </a:t>
            </a:r>
            <a:r>
              <a:rPr lang="en-GB" dirty="0" err="1"/>
              <a:t>veniam</a:t>
            </a:r>
            <a:r>
              <a:rPr lang="en-GB" dirty="0"/>
              <a:t>, </a:t>
            </a:r>
            <a:r>
              <a:rPr lang="en-GB" dirty="0" err="1"/>
              <a:t>quis</a:t>
            </a:r>
            <a:r>
              <a:rPr lang="en-GB" dirty="0"/>
              <a:t> </a:t>
            </a:r>
            <a:r>
              <a:rPr lang="en-GB" dirty="0" err="1"/>
              <a:t>nostrud</a:t>
            </a:r>
            <a:r>
              <a:rPr lang="en-GB" dirty="0"/>
              <a:t> exercitation </a:t>
            </a:r>
            <a:r>
              <a:rPr lang="en-GB" dirty="0" err="1"/>
              <a:t>ullamco</a:t>
            </a:r>
            <a:r>
              <a:rPr lang="en-GB" dirty="0"/>
              <a:t> </a:t>
            </a:r>
            <a:r>
              <a:rPr lang="en-GB" dirty="0" err="1"/>
              <a:t>laboris</a:t>
            </a:r>
            <a:r>
              <a:rPr lang="en-GB" dirty="0"/>
              <a:t> nisi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aliquip</a:t>
            </a:r>
            <a:r>
              <a:rPr lang="en-GB" dirty="0"/>
              <a:t> ex </a:t>
            </a:r>
            <a:r>
              <a:rPr lang="en-GB" dirty="0" err="1"/>
              <a:t>ea</a:t>
            </a:r>
            <a:r>
              <a:rPr lang="en-GB" dirty="0"/>
              <a:t> </a:t>
            </a:r>
            <a:r>
              <a:rPr lang="en-GB" dirty="0" err="1"/>
              <a:t>commodo</a:t>
            </a:r>
            <a:r>
              <a:rPr lang="en-GB" dirty="0"/>
              <a:t> </a:t>
            </a:r>
            <a:r>
              <a:rPr lang="en-GB" dirty="0" err="1"/>
              <a:t>consequ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Duis </a:t>
            </a:r>
            <a:r>
              <a:rPr lang="en-GB" dirty="0" err="1"/>
              <a:t>aute</a:t>
            </a:r>
            <a:r>
              <a:rPr lang="en-GB" dirty="0"/>
              <a:t> </a:t>
            </a:r>
            <a:r>
              <a:rPr lang="en-GB" dirty="0" err="1"/>
              <a:t>irure</a:t>
            </a:r>
            <a:r>
              <a:rPr lang="en-GB" dirty="0"/>
              <a:t> </a:t>
            </a:r>
            <a:r>
              <a:rPr lang="en-GB" dirty="0" err="1"/>
              <a:t>dolor</a:t>
            </a:r>
            <a:r>
              <a:rPr lang="en-GB" dirty="0"/>
              <a:t> in </a:t>
            </a:r>
            <a:r>
              <a:rPr lang="en-GB" dirty="0" err="1"/>
              <a:t>reprehenderit</a:t>
            </a:r>
            <a:r>
              <a:rPr lang="en-GB" dirty="0"/>
              <a:t> in </a:t>
            </a:r>
            <a:r>
              <a:rPr lang="en-GB" dirty="0" err="1"/>
              <a:t>voluptate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esse</a:t>
            </a:r>
            <a:r>
              <a:rPr lang="en-GB" dirty="0"/>
              <a:t> </a:t>
            </a:r>
            <a:r>
              <a:rPr lang="en-GB" dirty="0" err="1"/>
              <a:t>cillum</a:t>
            </a:r>
            <a:r>
              <a:rPr lang="en-GB" dirty="0"/>
              <a:t> dolore </a:t>
            </a:r>
            <a:r>
              <a:rPr lang="en-GB" dirty="0" err="1"/>
              <a:t>eu</a:t>
            </a:r>
            <a:r>
              <a:rPr lang="en-GB" dirty="0"/>
              <a:t> </a:t>
            </a:r>
            <a:r>
              <a:rPr lang="en-GB" dirty="0" err="1"/>
              <a:t>fugiat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pariatur</a:t>
            </a:r>
            <a:r>
              <a:rPr lang="en-GB" dirty="0"/>
              <a:t>. </a:t>
            </a:r>
            <a:r>
              <a:rPr lang="en-GB" dirty="0" err="1"/>
              <a:t>Excepteur</a:t>
            </a:r>
            <a:r>
              <a:rPr lang="en-GB" dirty="0"/>
              <a:t> </a:t>
            </a:r>
            <a:r>
              <a:rPr lang="en-GB" dirty="0" err="1"/>
              <a:t>sint</a:t>
            </a:r>
            <a:r>
              <a:rPr lang="en-GB" dirty="0"/>
              <a:t> </a:t>
            </a:r>
            <a:r>
              <a:rPr lang="en-GB" dirty="0" err="1"/>
              <a:t>occaecat</a:t>
            </a:r>
            <a:r>
              <a:rPr lang="en-GB" dirty="0"/>
              <a:t> </a:t>
            </a:r>
            <a:r>
              <a:rPr lang="en-GB" dirty="0" err="1"/>
              <a:t>cupidatat</a:t>
            </a:r>
            <a:r>
              <a:rPr lang="en-GB" dirty="0"/>
              <a:t> non </a:t>
            </a:r>
            <a:r>
              <a:rPr lang="en-GB" dirty="0" err="1"/>
              <a:t>proident</a:t>
            </a:r>
            <a:r>
              <a:rPr lang="en-GB" dirty="0"/>
              <a:t>, sunt in culpa qui </a:t>
            </a:r>
            <a:r>
              <a:rPr lang="en-GB" dirty="0" err="1"/>
              <a:t>officia</a:t>
            </a:r>
            <a:r>
              <a:rPr lang="en-GB" dirty="0"/>
              <a:t> </a:t>
            </a:r>
            <a:r>
              <a:rPr lang="en-GB" dirty="0" err="1"/>
              <a:t>deserunt</a:t>
            </a:r>
            <a:r>
              <a:rPr lang="en-GB" dirty="0"/>
              <a:t> </a:t>
            </a:r>
            <a:r>
              <a:rPr lang="en-GB" dirty="0" err="1"/>
              <a:t>mollit</a:t>
            </a:r>
            <a:r>
              <a:rPr lang="en-GB" dirty="0"/>
              <a:t> </a:t>
            </a:r>
            <a:r>
              <a:rPr lang="en-GB" dirty="0" err="1"/>
              <a:t>anim</a:t>
            </a:r>
            <a:r>
              <a:rPr lang="en-GB" dirty="0"/>
              <a:t> id </a:t>
            </a:r>
            <a:r>
              <a:rPr lang="en-GB" dirty="0" err="1"/>
              <a:t>est</a:t>
            </a:r>
            <a:r>
              <a:rPr lang="en-GB" dirty="0"/>
              <a:t> </a:t>
            </a:r>
            <a:r>
              <a:rPr lang="en-GB" dirty="0" err="1"/>
              <a:t>laborum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 </a:t>
            </a:r>
            <a:r>
              <a:rPr lang="en-GB" dirty="0" err="1"/>
              <a:t>incididunt</a:t>
            </a:r>
            <a:r>
              <a:rPr lang="en-GB" dirty="0"/>
              <a:t> </a:t>
            </a:r>
            <a:r>
              <a:rPr lang="en-GB" dirty="0" err="1"/>
              <a:t>ut</a:t>
            </a:r>
            <a:r>
              <a:rPr lang="en-GB" dirty="0"/>
              <a:t> labore et dolore magna </a:t>
            </a:r>
            <a:r>
              <a:rPr lang="en-GB" dirty="0" err="1"/>
              <a:t>aliqua</a:t>
            </a:r>
            <a:r>
              <a:rPr lang="en-GB" dirty="0"/>
              <a:t>. Ut </a:t>
            </a:r>
            <a:r>
              <a:rPr lang="en-GB" dirty="0" err="1"/>
              <a:t>enim</a:t>
            </a:r>
            <a:r>
              <a:rPr lang="en-GB" dirty="0"/>
              <a:t> ad minim </a:t>
            </a:r>
            <a:r>
              <a:rPr lang="en-GB" dirty="0" err="1"/>
              <a:t>veniam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Quis</a:t>
            </a:r>
            <a:r>
              <a:rPr lang="en-GB" dirty="0"/>
              <a:t> in </a:t>
            </a:r>
            <a:r>
              <a:rPr lang="en-GB" dirty="0" err="1"/>
              <a:t>voluptate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esse</a:t>
            </a:r>
            <a:r>
              <a:rPr lang="en-GB" dirty="0"/>
              <a:t> </a:t>
            </a:r>
            <a:r>
              <a:rPr lang="en-GB" dirty="0" err="1"/>
              <a:t>cillum</a:t>
            </a:r>
            <a:r>
              <a:rPr lang="en-GB" dirty="0"/>
              <a:t> dolore </a:t>
            </a:r>
            <a:r>
              <a:rPr lang="en-GB" dirty="0" err="1"/>
              <a:t>eu</a:t>
            </a:r>
            <a:r>
              <a:rPr lang="en-GB" dirty="0"/>
              <a:t> </a:t>
            </a:r>
            <a:r>
              <a:rPr lang="en-GB" dirty="0" err="1"/>
              <a:t>fugiat</a:t>
            </a:r>
            <a:r>
              <a:rPr lang="en-GB" dirty="0"/>
              <a:t> </a:t>
            </a:r>
            <a:r>
              <a:rPr lang="en-GB" dirty="0" err="1"/>
              <a:t>nulla</a:t>
            </a:r>
            <a:r>
              <a:rPr lang="en-GB" dirty="0"/>
              <a:t> </a:t>
            </a:r>
            <a:r>
              <a:rPr lang="en-GB" dirty="0" err="1"/>
              <a:t>pariatur</a:t>
            </a:r>
            <a:r>
              <a:rPr lang="en-GB" dirty="0"/>
              <a:t>. </a:t>
            </a:r>
            <a:r>
              <a:rPr lang="en-GB" dirty="0" err="1"/>
              <a:t>Excepteur</a:t>
            </a:r>
            <a:r>
              <a:rPr lang="en-GB" dirty="0"/>
              <a:t> </a:t>
            </a:r>
            <a:r>
              <a:rPr lang="en-GB" dirty="0" err="1"/>
              <a:t>sint</a:t>
            </a:r>
            <a:r>
              <a:rPr lang="en-GB" dirty="0"/>
              <a:t> </a:t>
            </a:r>
            <a:r>
              <a:rPr lang="en-GB" dirty="0" err="1"/>
              <a:t>occaecat</a:t>
            </a:r>
            <a:r>
              <a:rPr lang="en-GB" dirty="0"/>
              <a:t> </a:t>
            </a:r>
            <a:r>
              <a:rPr lang="en-GB" dirty="0" err="1"/>
              <a:t>cupidatat</a:t>
            </a:r>
            <a:r>
              <a:rPr lang="en-GB" dirty="0"/>
              <a:t> non </a:t>
            </a:r>
            <a:r>
              <a:rPr lang="en-GB" dirty="0" err="1"/>
              <a:t>proident</a:t>
            </a:r>
            <a:r>
              <a:rPr lang="en-GB" dirty="0"/>
              <a:t>, sunt in culpa qui </a:t>
            </a:r>
            <a:r>
              <a:rPr lang="en-GB" dirty="0" err="1"/>
              <a:t>officia</a:t>
            </a:r>
            <a:r>
              <a:rPr lang="en-GB" dirty="0"/>
              <a:t> </a:t>
            </a:r>
            <a:r>
              <a:rPr lang="en-GB" dirty="0" err="1"/>
              <a:t>deserunt</a:t>
            </a:r>
            <a:r>
              <a:rPr lang="en-GB" dirty="0"/>
              <a:t> </a:t>
            </a:r>
            <a:r>
              <a:rPr lang="en-GB" dirty="0" err="1"/>
              <a:t>mollit</a:t>
            </a:r>
            <a:r>
              <a:rPr lang="en-GB" dirty="0"/>
              <a:t> </a:t>
            </a:r>
            <a:r>
              <a:rPr lang="en-GB" dirty="0" err="1"/>
              <a:t>anim</a:t>
            </a:r>
            <a:r>
              <a:rPr lang="en-GB" dirty="0"/>
              <a:t> id </a:t>
            </a:r>
            <a:r>
              <a:rPr lang="en-GB" dirty="0" err="1"/>
              <a:t>est</a:t>
            </a:r>
            <a:r>
              <a:rPr lang="en-GB" dirty="0"/>
              <a:t> </a:t>
            </a:r>
            <a:r>
              <a:rPr lang="en-GB" dirty="0" err="1"/>
              <a:t>laborum</a:t>
            </a:r>
            <a:r>
              <a:rPr lang="en-GB" dirty="0"/>
              <a:t>. </a:t>
            </a:r>
            <a:endParaRPr lang="en-BE" dirty="0"/>
          </a:p>
          <a:p>
            <a:pPr lvl="0"/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101788824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6664637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-1 Title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8FA5DC-941D-419E-AE48-E680EAC24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A31C6-1835-4D53-B4B7-A6F503596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E65A0-8B6C-40D3-80D6-C703B807A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0214610-D04C-46DC-B3E1-9322C7825B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9750" y="1690688"/>
            <a:ext cx="11112500" cy="4627562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789289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-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8FA5DC-941D-419E-AE48-E680EAC24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F7AB95-F39E-493C-BB05-68AAF2763AC5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A31C6-1835-4D53-B4B7-A6F503596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4E65A0-8B6C-40D3-80D6-C703B807A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708136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_1 title_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487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68339490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_1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9938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49430529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-2 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3961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7942680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line-2 titles-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25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69227212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E30C89-3C36-4994-AFE1-02A244FE27A6}"/>
              </a:ext>
            </a:extLst>
          </p:cNvPr>
          <p:cNvSpPr/>
          <p:nvPr userDrawn="1"/>
        </p:nvSpPr>
        <p:spPr>
          <a:xfrm>
            <a:off x="4702629" y="1628617"/>
            <a:ext cx="7678057" cy="5229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0" y="1799999"/>
            <a:ext cx="7315200" cy="469094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12453315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E30C89-3C36-4994-AFE1-02A244FE27A6}"/>
              </a:ext>
            </a:extLst>
          </p:cNvPr>
          <p:cNvSpPr/>
          <p:nvPr userDrawn="1"/>
        </p:nvSpPr>
        <p:spPr>
          <a:xfrm>
            <a:off x="4702629" y="1628617"/>
            <a:ext cx="7678057" cy="52293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20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0" y="2161417"/>
            <a:ext cx="7315200" cy="432953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9B6D8-6DC7-43CC-A657-AFAB0B3C3F22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1" i="0" u="none" strike="noStrike" kern="1200" cap="none" spc="0" normalizeH="0" baseline="0" noProof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483F95-3397-4587-AF43-BC9F077F6F6B}"/>
              </a:ext>
            </a:extLst>
          </p:cNvPr>
          <p:cNvSpPr/>
          <p:nvPr userDrawn="1"/>
        </p:nvSpPr>
        <p:spPr>
          <a:xfrm>
            <a:off x="467430" y="1715433"/>
            <a:ext cx="1731524" cy="389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  <a:sym typeface="Verdana"/>
              </a:rPr>
              <a:t>The Off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82329F-3A02-4AFC-9D2F-3734D1404921}"/>
              </a:ext>
            </a:extLst>
          </p:cNvPr>
          <p:cNvSpPr/>
          <p:nvPr userDrawn="1"/>
        </p:nvSpPr>
        <p:spPr>
          <a:xfrm>
            <a:off x="4876800" y="1720396"/>
            <a:ext cx="2698265" cy="3892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  <a:sym typeface="Verdana"/>
              </a:rPr>
              <a:t>The Conditions</a:t>
            </a:r>
          </a:p>
        </p:txBody>
      </p:sp>
    </p:spTree>
    <p:extLst>
      <p:ext uri="{BB962C8B-B14F-4D97-AF65-F5344CB8AC3E}">
        <p14:creationId xmlns:p14="http://schemas.microsoft.com/office/powerpoint/2010/main" val="1088113647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722929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XXXXXXXXXXXXXXXXXXXXXXXXXXXX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fr-FR"/>
              <a:t>Modifiez le style des sous-titres du masqu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528691"/>
            <a:ext cx="5466000" cy="578931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9474" y="540001"/>
            <a:ext cx="5466000" cy="5778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EEE23F-63EF-4625-A41F-9338F0AD8F25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t>.</a:t>
            </a:r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766753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8891FC6-D16D-4192-A5E5-3E9276516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620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8891FC6-D16D-4192-A5E5-3E9276516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DA22BA-10F2-48C8-9079-4682621066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9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39999" y="1072800"/>
            <a:ext cx="11111999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1799998"/>
            <a:ext cx="5466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8324820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Z 1 picture en ha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8891FC6-D16D-4192-A5E5-3E92765164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884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8891FC6-D16D-4192-A5E5-3E9276516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FDA22BA-10F2-48C8-9079-4682621066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9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39999" y="1072800"/>
            <a:ext cx="11111999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20075" y="212436"/>
            <a:ext cx="3431924" cy="1883064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24072392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62529951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0441C3-C954-4759-A16F-CD594574DB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417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0441C3-C954-4759-A16F-CD594574DB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E0ACA5-9C94-4ABA-9E3F-C4B26EC428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1999" cy="1036800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39999" y="1072800"/>
            <a:ext cx="11111999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1799998"/>
            <a:ext cx="5466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72544073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55852660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8534FA-5351-407A-A7FE-E2CCE9D157EB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3560111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AA0D86-3CE0-4FB8-A676-A4500D3EA39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82042117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E43903-8D86-4378-B1E5-1D9AE3087BC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91343751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D929B9-49C9-4486-A2E2-F442F12EB7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D929B9-49C9-4486-A2E2-F442F12EB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FE0F61-A30C-48A3-94B1-F10DE633B2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9F71188B-9B2A-4450-8698-4599A1E66E4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43305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18659967-0EC4-48FD-B745-818BA59B88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8393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  <p:sp>
        <p:nvSpPr>
          <p:cNvPr id="14" name="Tijdelijke aanduiding voor afbeelding 4">
            <a:extLst>
              <a:ext uri="{FF2B5EF4-FFF2-40B4-BE49-F238E27FC236}">
                <a16:creationId xmlns:a16="http://schemas.microsoft.com/office/drawing/2014/main" id="{D0D930D4-A731-41D4-A515-D488345355D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2456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</p:spTree>
    <p:extLst>
      <p:ext uri="{BB962C8B-B14F-4D97-AF65-F5344CB8AC3E}">
        <p14:creationId xmlns:p14="http://schemas.microsoft.com/office/powerpoint/2010/main" val="253735863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94193-B38D-45CF-BC64-BBC11B0A9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7" name="Date Placeholder 7">
            <a:extLst>
              <a:ext uri="{FF2B5EF4-FFF2-40B4-BE49-F238E27FC236}">
                <a16:creationId xmlns:a16="http://schemas.microsoft.com/office/drawing/2014/main" id="{6BBAC931-F540-4C81-A8A9-E5BFC6A5B50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27749" y="6542765"/>
            <a:ext cx="2355251" cy="180000"/>
          </a:xfrm>
        </p:spPr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596E7D-3257-4B1A-AE67-0852F4F9C8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363000" y="6542765"/>
            <a:ext cx="5466000" cy="180000"/>
          </a:xfrm>
        </p:spPr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C004664-D9D6-45FE-AA5E-67250510D8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</p:spPr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915CA772-8A9A-4918-9954-46050BE3B24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43305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82DEE86-9814-4C3E-A0BC-81298755AD5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8393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  <p:sp>
        <p:nvSpPr>
          <p:cNvPr id="14" name="Tijdelijke aanduiding voor afbeelding 4">
            <a:extLst>
              <a:ext uri="{FF2B5EF4-FFF2-40B4-BE49-F238E27FC236}">
                <a16:creationId xmlns:a16="http://schemas.microsoft.com/office/drawing/2014/main" id="{61DA5588-A183-4CE1-9733-DD86F5E744E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062456" y="1628618"/>
            <a:ext cx="4068000" cy="5209691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bg1">
                <a:lumMod val="95000"/>
              </a:schemeClr>
            </a:solidFill>
          </a:ln>
        </p:spPr>
        <p:txBody>
          <a:bodyPr/>
          <a:lstStyle>
            <a:lvl1pPr marL="0" indent="0"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</p:spTree>
    <p:extLst>
      <p:ext uri="{BB962C8B-B14F-4D97-AF65-F5344CB8AC3E}">
        <p14:creationId xmlns:p14="http://schemas.microsoft.com/office/powerpoint/2010/main" val="3693716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80112" y="142875"/>
            <a:ext cx="5654726" cy="5876925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CBC92AE-F84C-0CA9-47D4-DABD02BCD7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226" y="492331"/>
            <a:ext cx="3164202" cy="27722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144777 w 3164202"/>
              <a:gd name="connsiteY6" fmla="*/ 2432921 h 2739101"/>
              <a:gd name="connsiteX7" fmla="*/ 0 w 3164202"/>
              <a:gd name="connsiteY7" fmla="*/ 2437022 h 2739101"/>
              <a:gd name="connsiteX8" fmla="*/ 0 w 3164202"/>
              <a:gd name="connsiteY8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144777 w 3164202"/>
              <a:gd name="connsiteY7" fmla="*/ 2432921 h 2739101"/>
              <a:gd name="connsiteX8" fmla="*/ 0 w 3164202"/>
              <a:gd name="connsiteY8" fmla="*/ 2437022 h 2739101"/>
              <a:gd name="connsiteX9" fmla="*/ 0 w 3164202"/>
              <a:gd name="connsiteY9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310279 w 3164202"/>
              <a:gd name="connsiteY7" fmla="*/ 2424646 h 2739101"/>
              <a:gd name="connsiteX8" fmla="*/ 144777 w 3164202"/>
              <a:gd name="connsiteY8" fmla="*/ 2432921 h 2739101"/>
              <a:gd name="connsiteX9" fmla="*/ 0 w 3164202"/>
              <a:gd name="connsiteY9" fmla="*/ 2437022 h 2739101"/>
              <a:gd name="connsiteX10" fmla="*/ 0 w 3164202"/>
              <a:gd name="connsiteY10" fmla="*/ 0 h 27391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2064603 w 3164202"/>
              <a:gd name="connsiteY4" fmla="*/ 2739101 h 2772201"/>
              <a:gd name="connsiteX5" fmla="*/ 1688085 w 3164202"/>
              <a:gd name="connsiteY5" fmla="*/ 2437059 h 2772201"/>
              <a:gd name="connsiteX6" fmla="*/ 517157 w 3164202"/>
              <a:gd name="connsiteY6" fmla="*/ 2428784 h 2772201"/>
              <a:gd name="connsiteX7" fmla="*/ 521295 w 3164202"/>
              <a:gd name="connsiteY7" fmla="*/ 2772201 h 2772201"/>
              <a:gd name="connsiteX8" fmla="*/ 144777 w 3164202"/>
              <a:gd name="connsiteY8" fmla="*/ 2432921 h 2772201"/>
              <a:gd name="connsiteX9" fmla="*/ 0 w 3164202"/>
              <a:gd name="connsiteY9" fmla="*/ 2437022 h 2772201"/>
              <a:gd name="connsiteX10" fmla="*/ 0 w 3164202"/>
              <a:gd name="connsiteY10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1688085 w 3164202"/>
              <a:gd name="connsiteY4" fmla="*/ 2437059 h 2772201"/>
              <a:gd name="connsiteX5" fmla="*/ 517157 w 3164202"/>
              <a:gd name="connsiteY5" fmla="*/ 2428784 h 2772201"/>
              <a:gd name="connsiteX6" fmla="*/ 521295 w 3164202"/>
              <a:gd name="connsiteY6" fmla="*/ 2772201 h 2772201"/>
              <a:gd name="connsiteX7" fmla="*/ 144777 w 3164202"/>
              <a:gd name="connsiteY7" fmla="*/ 2432921 h 2772201"/>
              <a:gd name="connsiteX8" fmla="*/ 0 w 3164202"/>
              <a:gd name="connsiteY8" fmla="*/ 2437022 h 2772201"/>
              <a:gd name="connsiteX9" fmla="*/ 0 w 3164202"/>
              <a:gd name="connsiteY9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517157 w 3164202"/>
              <a:gd name="connsiteY4" fmla="*/ 2428784 h 2772201"/>
              <a:gd name="connsiteX5" fmla="*/ 521295 w 3164202"/>
              <a:gd name="connsiteY5" fmla="*/ 2772201 h 2772201"/>
              <a:gd name="connsiteX6" fmla="*/ 144777 w 3164202"/>
              <a:gd name="connsiteY6" fmla="*/ 2432921 h 2772201"/>
              <a:gd name="connsiteX7" fmla="*/ 0 w 3164202"/>
              <a:gd name="connsiteY7" fmla="*/ 2437022 h 2772201"/>
              <a:gd name="connsiteX8" fmla="*/ 0 w 3164202"/>
              <a:gd name="connsiteY8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517157 w 3164202"/>
              <a:gd name="connsiteY3" fmla="*/ 2428784 h 2772201"/>
              <a:gd name="connsiteX4" fmla="*/ 521295 w 3164202"/>
              <a:gd name="connsiteY4" fmla="*/ 2772201 h 2772201"/>
              <a:gd name="connsiteX5" fmla="*/ 144777 w 3164202"/>
              <a:gd name="connsiteY5" fmla="*/ 2432921 h 2772201"/>
              <a:gd name="connsiteX6" fmla="*/ 0 w 3164202"/>
              <a:gd name="connsiteY6" fmla="*/ 2437022 h 2772201"/>
              <a:gd name="connsiteX7" fmla="*/ 0 w 3164202"/>
              <a:gd name="connsiteY7" fmla="*/ 0 h 27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722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517157" y="2428784"/>
                </a:lnTo>
                <a:cubicBezTo>
                  <a:pt x="518536" y="2543256"/>
                  <a:pt x="519916" y="2657729"/>
                  <a:pt x="521295" y="2772201"/>
                </a:cubicBezTo>
                <a:lnTo>
                  <a:pt x="144777" y="2432921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96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00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B3BC894B-5CA4-0CFA-546F-9415A052B9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0956" y="1056648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556049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0DCDF2-C4AD-414C-A27B-9D0E94C1E682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976286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43C4-FF99-4088-BC2D-0DCFB63A2F69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74424724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5985DF-3900-4E7A-B107-4D84D299E32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4732654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27002863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E43230-191B-4CFE-9771-B50B3D0E2C7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1910293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CA10D8-787E-468F-8887-4EEEED5B0DC6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622526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A6CB67-82D6-4AB2-9988-57B62165668A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062886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88892358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l-NL"/>
              <a:t>Klikken om de ondertitelstijl van het model te bewerk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EE5C5E-542F-4869-BB88-0AA7F6CDD091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05564456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918A9D-26E7-48AA-BB44-E86336848EA1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2495798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84CC9C7-766F-F1BC-53AC-D8ACA8D3D8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7099" y="1114736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26157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0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pPr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280659177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nl-NL"/>
              <a:t>Klik op het pictogram als u een afbeelding wilt toevoege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0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pPr/>
              <a:t>13 September 2023</a:t>
            </a:fld>
            <a:endParaRPr lang="en-GB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presenters name</a:t>
            </a:r>
          </a:p>
        </p:txBody>
      </p:sp>
    </p:spTree>
    <p:extLst>
      <p:ext uri="{BB962C8B-B14F-4D97-AF65-F5344CB8AC3E}">
        <p14:creationId xmlns:p14="http://schemas.microsoft.com/office/powerpoint/2010/main" val="3977136992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86603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_NL "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E5A50A-5D4D-449F-8523-F022CD09E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E5A50A-5D4D-449F-8523-F022CD09E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738AD67A-E340-4654-8D53-90EB8B2D85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l-BE" sz="2000" noProof="0" err="1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725929" y="4282053"/>
            <a:ext cx="3609976" cy="377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/>
              <a:t>Your name</a:t>
            </a:r>
          </a:p>
        </p:txBody>
      </p:sp>
      <p:sp>
        <p:nvSpPr>
          <p:cNvPr id="5" name="Tekstvak 4"/>
          <p:cNvSpPr txBox="1"/>
          <p:nvPr userDrawn="1"/>
        </p:nvSpPr>
        <p:spPr>
          <a:xfrm>
            <a:off x="1604582" y="3198167"/>
            <a:ext cx="3609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2400" b="1"/>
              <a:t>Thank you</a:t>
            </a:r>
          </a:p>
        </p:txBody>
      </p:sp>
      <p:sp>
        <p:nvSpPr>
          <p:cNvPr id="6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1725927" y="4741224"/>
            <a:ext cx="3609976" cy="3778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nl-NL"/>
              <a:t>Email</a:t>
            </a:r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7199" y="5687066"/>
            <a:ext cx="489488" cy="489488"/>
          </a:xfrm>
          <a:prstGeom prst="rect">
            <a:avLst/>
          </a:prstGeom>
        </p:spPr>
      </p:pic>
      <p:sp>
        <p:nvSpPr>
          <p:cNvPr id="15" name="Tekstvak 14"/>
          <p:cNvSpPr txBox="1"/>
          <p:nvPr userDrawn="1"/>
        </p:nvSpPr>
        <p:spPr>
          <a:xfrm>
            <a:off x="1725926" y="5398243"/>
            <a:ext cx="3230122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/>
              <a:t>Discover</a:t>
            </a:r>
            <a:r>
              <a:rPr lang="nl-BE" sz="1440" b="1" baseline="0"/>
              <a:t> </a:t>
            </a:r>
            <a:r>
              <a:rPr lang="nl-BE" sz="1440" b="1" baseline="0">
                <a:solidFill>
                  <a:schemeClr val="tx1">
                    <a:lumMod val="65000"/>
                    <a:lumOff val="35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post.media</a:t>
            </a:r>
            <a:r>
              <a:rPr lang="nl-BE" sz="1440" b="1" baseline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nl-BE" sz="144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kstvak 15"/>
          <p:cNvSpPr txBox="1"/>
          <p:nvPr userDrawn="1"/>
        </p:nvSpPr>
        <p:spPr>
          <a:xfrm>
            <a:off x="1725929" y="5685280"/>
            <a:ext cx="3403855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 err="1"/>
              <a:t>Subscribe</a:t>
            </a:r>
            <a:r>
              <a:rPr lang="nl-BE" sz="1440"/>
              <a:t> </a:t>
            </a:r>
            <a:r>
              <a:rPr lang="nl-BE" sz="1440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 </a:t>
            </a:r>
            <a:r>
              <a:rPr lang="nl-BE" sz="1440" u="none" err="1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ur</a:t>
            </a:r>
            <a:r>
              <a:rPr lang="nl-BE" sz="1440" u="none">
                <a:solidFill>
                  <a:schemeClr val="tx1">
                    <a:lumMod val="65000"/>
                    <a:lumOff val="35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enews</a:t>
            </a:r>
            <a:endParaRPr lang="nl-BE" sz="1440" u="non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7" name="Afbeelding 16">
            <a:hlinkClick r:id="rId10"/>
          </p:cNvPr>
          <p:cNvPicPr>
            <a:picLocks noChangeAspect="1"/>
          </p:cNvPicPr>
          <p:nvPr userDrawn="1"/>
        </p:nvPicPr>
        <p:blipFill rotWithShape="1">
          <a:blip r:embed="rId11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07623" y="6246276"/>
            <a:ext cx="254282" cy="361514"/>
          </a:xfrm>
          <a:prstGeom prst="rect">
            <a:avLst/>
          </a:prstGeom>
        </p:spPr>
      </p:pic>
      <p:pic>
        <p:nvPicPr>
          <p:cNvPr id="18" name="Afbeelding 17">
            <a:hlinkClick r:id="rId12"/>
          </p:cNvPr>
          <p:cNvPicPr>
            <a:picLocks noChangeAspect="1"/>
          </p:cNvPicPr>
          <p:nvPr userDrawn="1"/>
        </p:nvPicPr>
        <p:blipFill rotWithShape="1">
          <a:blip r:embed="rId13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>
          <a:xfrm>
            <a:off x="2926558" y="6246281"/>
            <a:ext cx="266687" cy="361512"/>
          </a:xfrm>
          <a:prstGeom prst="rect">
            <a:avLst/>
          </a:prstGeom>
        </p:spPr>
      </p:pic>
      <p:pic>
        <p:nvPicPr>
          <p:cNvPr id="19" name="Afbeelding 18">
            <a:hlinkClick r:id="rId14"/>
          </p:cNvPr>
          <p:cNvPicPr>
            <a:picLocks noChangeAspect="1"/>
          </p:cNvPicPr>
          <p:nvPr userDrawn="1"/>
        </p:nvPicPr>
        <p:blipFill rotWithShape="1">
          <a:blip r:embed="rId15" cstate="screen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0873" y="6246281"/>
            <a:ext cx="317394" cy="361512"/>
          </a:xfrm>
          <a:prstGeom prst="rect">
            <a:avLst/>
          </a:prstGeom>
        </p:spPr>
      </p:pic>
      <p:sp>
        <p:nvSpPr>
          <p:cNvPr id="20" name="Tekstvak 19"/>
          <p:cNvSpPr txBox="1"/>
          <p:nvPr userDrawn="1"/>
        </p:nvSpPr>
        <p:spPr>
          <a:xfrm>
            <a:off x="1725926" y="5954957"/>
            <a:ext cx="3541018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/>
              <a:t>Register</a:t>
            </a:r>
            <a:r>
              <a:rPr lang="nl-BE" sz="1440"/>
              <a:t> </a:t>
            </a:r>
            <a:r>
              <a:rPr lang="nl-BE" sz="1440">
                <a:solidFill>
                  <a:schemeClr val="tx1">
                    <a:lumMod val="65000"/>
                    <a:lumOff val="35000"/>
                  </a:schemeClr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or </a:t>
            </a:r>
            <a:r>
              <a:rPr lang="nl-BE" sz="1440" u="none">
                <a:solidFill>
                  <a:schemeClr val="tx1">
                    <a:lumMod val="65000"/>
                    <a:lumOff val="35000"/>
                  </a:schemeClr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rkle magazine</a:t>
            </a:r>
            <a:endParaRPr lang="nl-BE" sz="1440" u="none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Tekstvak 20"/>
          <p:cNvSpPr txBox="1"/>
          <p:nvPr userDrawn="1"/>
        </p:nvSpPr>
        <p:spPr>
          <a:xfrm>
            <a:off x="1725929" y="6241993"/>
            <a:ext cx="1200629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40" b="1"/>
              <a:t>Follow </a:t>
            </a:r>
            <a:r>
              <a:rPr lang="nl-BE" sz="1440" b="1" err="1"/>
              <a:t>us</a:t>
            </a:r>
            <a:endParaRPr lang="nl-BE" sz="1440" u="none"/>
          </a:p>
        </p:txBody>
      </p:sp>
    </p:spTree>
    <p:extLst>
      <p:ext uri="{BB962C8B-B14F-4D97-AF65-F5344CB8AC3E}">
        <p14:creationId xmlns:p14="http://schemas.microsoft.com/office/powerpoint/2010/main" val="1145780547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sion slides _ 3 image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4"/>
          <p:cNvSpPr>
            <a:spLocks noGrp="1"/>
          </p:cNvSpPr>
          <p:nvPr>
            <p:ph type="pic" sz="quarter" idx="13" hasCustomPrompt="1"/>
          </p:nvPr>
        </p:nvSpPr>
        <p:spPr>
          <a:xfrm>
            <a:off x="812160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  <p:sp>
        <p:nvSpPr>
          <p:cNvPr id="5" name="Tijdelijke aanduiding voor afbeelding 4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  <p:sp>
        <p:nvSpPr>
          <p:cNvPr id="7" name="Tijdelijke aanduiding voor afbeelding 4"/>
          <p:cNvSpPr>
            <a:spLocks noGrp="1"/>
          </p:cNvSpPr>
          <p:nvPr>
            <p:ph type="pic" sz="quarter" idx="12" hasCustomPrompt="1"/>
          </p:nvPr>
        </p:nvSpPr>
        <p:spPr>
          <a:xfrm>
            <a:off x="4060800" y="1337040"/>
            <a:ext cx="4060800" cy="5520960"/>
          </a:xfrm>
          <a:prstGeom prst="rect">
            <a:avLst/>
          </a:prstGeom>
          <a:pattFill prst="lgCheck">
            <a:fgClr>
              <a:schemeClr val="bg1">
                <a:lumMod val="60000"/>
                <a:lumOff val="40000"/>
              </a:schemeClr>
            </a:fgClr>
            <a:bgClr>
              <a:schemeClr val="bg1">
                <a:lumMod val="20000"/>
                <a:lumOff val="80000"/>
              </a:schemeClr>
            </a:bgClr>
          </a:pattFill>
          <a:ln>
            <a:solidFill>
              <a:schemeClr val="accent1"/>
            </a:solidFill>
          </a:ln>
        </p:spPr>
        <p:txBody>
          <a:bodyPr/>
          <a:lstStyle>
            <a:lvl1pPr marL="0" indent="0">
              <a:buNone/>
              <a:defRPr sz="1440">
                <a:solidFill>
                  <a:schemeClr val="bg2"/>
                </a:solidFill>
              </a:defRPr>
            </a:lvl1pPr>
          </a:lstStyle>
          <a:p>
            <a:r>
              <a:rPr lang="nl-BE" err="1"/>
              <a:t>Drag</a:t>
            </a:r>
            <a:r>
              <a:rPr lang="nl-BE"/>
              <a:t> &amp; drop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2400"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671477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without circle _ title +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385009" y="6351106"/>
            <a:ext cx="399698" cy="240066"/>
          </a:xfrm>
          <a:prstGeom prst="rect">
            <a:avLst/>
          </a:prstGeom>
        </p:spPr>
        <p:txBody>
          <a:bodyPr vert="horz" lIns="0" tIns="45720" rIns="0" bIns="45720" rtlCol="0" anchor="ctr">
            <a:spAutoFit/>
          </a:bodyPr>
          <a:lstStyle>
            <a:lvl1pPr algn="ctr">
              <a:defRPr sz="960" b="0" i="0">
                <a:solidFill>
                  <a:srgbClr val="3C525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722C0783-541A-6B44-A9C1-3DE573A34C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idx="1" hasCustomPrompt="1"/>
          </p:nvPr>
        </p:nvSpPr>
        <p:spPr>
          <a:xfrm>
            <a:off x="468998" y="1522033"/>
            <a:ext cx="10373604" cy="5090263"/>
          </a:xfrm>
          <a:prstGeom prst="rect">
            <a:avLst/>
          </a:prstGeom>
        </p:spPr>
        <p:txBody>
          <a:bodyPr vert="horz" lIns="72000" tIns="45720" rIns="91440" bIns="45720" rtlCol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2231307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slide _ 2 circles _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385009" y="6351106"/>
            <a:ext cx="399698" cy="240066"/>
          </a:xfrm>
          <a:prstGeom prst="rect">
            <a:avLst/>
          </a:prstGeom>
        </p:spPr>
        <p:txBody>
          <a:bodyPr vert="horz" lIns="0" tIns="45720" rIns="0" bIns="45720" rtlCol="0" anchor="ctr">
            <a:spAutoFit/>
          </a:bodyPr>
          <a:lstStyle>
            <a:lvl1pPr algn="ctr">
              <a:defRPr sz="960" b="0" i="0">
                <a:solidFill>
                  <a:srgbClr val="3C5255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722C0783-541A-6B44-A9C1-3DE573A34C2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203210" y="376418"/>
            <a:ext cx="10318290" cy="6366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47090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79999"/>
            <a:ext cx="5556000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58F3E92-33B2-4150-BC9F-37FDDC54B7B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0CAA9CB-414E-4439-8FF4-3402581F65A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5CA0587-D91B-7D73-6783-B9D1DC08D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625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930878"/>
            <a:ext cx="5556000" cy="33854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88380" y="1022878"/>
            <a:ext cx="560762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956B4C6-E283-4F2F-9E23-1FB0A72F003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965888F-EEF8-48A3-8E75-CBDC7480B17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991E4FD-E1D9-41D4-3F90-9E93F0A7E7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294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8AAC0-404E-449F-8285-894567DF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12DFFBB-80C1-46EE-B94D-8B96B6A5A01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41400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87CE353-738D-40C0-ACB8-E00BEBE3BC0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95048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09B6D8-6DC7-43CC-A657-AFAB0B3C3F2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798E569-63B2-4034-BB85-14552065A1D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6484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2BD6050-9902-4CB4-B215-6B073B72A5F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83690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83659B7-AB63-42E7-ADA8-A496C46A366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C0321FA-444F-426B-B2ED-076EF559744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2" name="Image 37">
            <a:extLst>
              <a:ext uri="{FF2B5EF4-FFF2-40B4-BE49-F238E27FC236}">
                <a16:creationId xmlns:a16="http://schemas.microsoft.com/office/drawing/2014/main" id="{FEDFA7DA-0C29-1FC5-A0BB-9F74CF1FD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5197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D849FD-D333-42FA-8F56-91E19F38BE14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3421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</p:spTree>
    <p:extLst>
      <p:ext uri="{BB962C8B-B14F-4D97-AF65-F5344CB8AC3E}">
        <p14:creationId xmlns:p14="http://schemas.microsoft.com/office/powerpoint/2010/main" val="3849442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1AA0D86-3CE0-4FB8-A676-A4500D3EA39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11727A5-D83B-4634-8474-2DBD259C99A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4" name="Image 37">
            <a:extLst>
              <a:ext uri="{FF2B5EF4-FFF2-40B4-BE49-F238E27FC236}">
                <a16:creationId xmlns:a16="http://schemas.microsoft.com/office/drawing/2014/main" id="{E5031CCC-F20C-BD98-92B8-EA7A2A8EB7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3739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18534FA-5351-407A-A7FE-E2CCE9D157EB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0A8CAD4-4E70-4AB6-90CF-6AC7AD97E12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0000" y="17676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42522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5E43903-8D86-4378-B1E5-1D9AE3087BC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F8E9832-5DA6-404A-9DDE-D87FE874A5A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73816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0DCDF2-C4AD-414C-A27B-9D0E94C1E682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632494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843C4-FF99-4088-BC2D-0DCFB63A2F69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C2D58CA-785E-422D-8BB1-ED06876810C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1525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5985DF-3900-4E7A-B107-4D84D299E32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BA283B4-DBE5-47BD-B80A-684255DC679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55616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DADE-EBB8-478D-A637-CE8104DC098F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29100C1F-88C1-4E8F-BFBE-3CC7068B4DC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400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FE43230-191B-4CFE-9771-B50B3D0E2C7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65BFD3B7-7352-48F9-A1A3-44272C7B096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2239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3CA10D8-787E-468F-8887-4EEEED5B0DC6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138566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6A6CB67-82D6-4AB2-9988-57B62165668A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9751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- 2 ageronde ho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F6C6124-3B2A-EB1C-B9FF-600007EF4C0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7FA9BE0-7ED7-DCA3-CE9A-C818221A94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11008" y="142875"/>
            <a:ext cx="4123830" cy="5876925"/>
          </a:xfrm>
          <a:custGeom>
            <a:avLst/>
            <a:gdLst>
              <a:gd name="connsiteX0" fmla="*/ 0 w 4123830"/>
              <a:gd name="connsiteY0" fmla="*/ 0 h 5876925"/>
              <a:gd name="connsiteX1" fmla="*/ 3925957 w 4123830"/>
              <a:gd name="connsiteY1" fmla="*/ 0 h 5876925"/>
              <a:gd name="connsiteX2" fmla="*/ 4123830 w 4123830"/>
              <a:gd name="connsiteY2" fmla="*/ 197873 h 5876925"/>
              <a:gd name="connsiteX3" fmla="*/ 4123830 w 4123830"/>
              <a:gd name="connsiteY3" fmla="*/ 5679052 h 5876925"/>
              <a:gd name="connsiteX4" fmla="*/ 3925957 w 4123830"/>
              <a:gd name="connsiteY4" fmla="*/ 5876925 h 5876925"/>
              <a:gd name="connsiteX5" fmla="*/ 0 w 4123830"/>
              <a:gd name="connsiteY5" fmla="*/ 5876925 h 587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23830" h="5876925">
                <a:moveTo>
                  <a:pt x="0" y="0"/>
                </a:moveTo>
                <a:lnTo>
                  <a:pt x="3925957" y="0"/>
                </a:lnTo>
                <a:cubicBezTo>
                  <a:pt x="4035239" y="0"/>
                  <a:pt x="4123830" y="88591"/>
                  <a:pt x="4123830" y="197873"/>
                </a:cubicBezTo>
                <a:lnTo>
                  <a:pt x="4123830" y="5679052"/>
                </a:lnTo>
                <a:cubicBezTo>
                  <a:pt x="4123830" y="5788334"/>
                  <a:pt x="4035239" y="5876925"/>
                  <a:pt x="3925957" y="5876925"/>
                </a:cubicBezTo>
                <a:lnTo>
                  <a:pt x="0" y="5876925"/>
                </a:lnTo>
                <a:close/>
              </a:path>
            </a:pathLst>
          </a:custGeom>
          <a:solidFill>
            <a:srgbClr val="F4F6FA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17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D0A94B6-68A5-495B-AA7A-A8EC3EF24E6E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88F3A0C-F912-4743-825A-199494EBEA0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0992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2EE5C5E-542F-4869-BB88-0AA7F6CDD09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E21ECD7-D66E-45EC-989B-3121A5A8AD37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158811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22096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1080000"/>
            <a:ext cx="4009965" cy="52416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1918A9D-26E7-48AA-BB44-E86336848EA1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3685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lt1">
                  <a:alpha val="10000"/>
                </a:schemeClr>
              </a:solidFill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48FAF3D-5ADA-4DAE-A733-8283CEDDDE3D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39749" y="540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  <a:endParaRPr lang="en-GB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C295970-974B-C048-613D-29A3C4B36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9516" y="6403165"/>
            <a:ext cx="731009" cy="38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975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52C18CDF-3482-4D29-9B49-0E5DC51A238B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F4141-3482-410C-8350-31CEB79763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1EDFA3F-7AF2-E2DD-04A0-D0E6914E29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84560"/>
            <a:ext cx="3114803" cy="162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77506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6095999" y="6912000"/>
            <a:ext cx="0" cy="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00">
                <a:noFill/>
                <a:latin typeface="+mn-lt"/>
              </a:defRPr>
            </a:lvl1pPr>
          </a:lstStyle>
          <a:p>
            <a:fld id="{12C24620-2A9B-45CC-9058-CE14DA704C57}" type="datetime4">
              <a:rPr lang="en-GB" smtClean="0"/>
              <a:pPr/>
              <a:t>13 September 2023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6419C8-8BF5-4DA7-B1F7-A255360DD4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5502032"/>
            <a:ext cx="6096000" cy="815962"/>
          </a:xfrm>
        </p:spPr>
        <p:txBody>
          <a:bodyPr lIns="540000" rIns="54000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18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360000" indent="0"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s name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A5440D2-CD0B-BE61-3AC9-C592B63B6E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3100" y="1052122"/>
            <a:ext cx="3114803" cy="1624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0498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539748" y="497904"/>
            <a:ext cx="1110932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39748" y="1815926"/>
            <a:ext cx="2160798" cy="3708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9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87404" y="1803052"/>
            <a:ext cx="2160798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685733" y="1803052"/>
            <a:ext cx="2160798" cy="1554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0545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3939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9929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295258" y="4891099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14626" y="20117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95258" y="2682221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72963" y="3229525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6572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41352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53483FF-F3DE-4A66-B3C5-7E1686BDA7C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42215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,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6480000" tIns="0" rIns="648000" anchor="ctr" anchorCtr="0"/>
          <a:lstStyle>
            <a:lvl1pPr marL="0" indent="0" algn="l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" y="-1"/>
            <a:ext cx="6096000" cy="6861600"/>
          </a:xfrm>
          <a:solidFill>
            <a:schemeClr val="bg1">
              <a:alpha val="80000"/>
            </a:schemeClr>
          </a:solidFill>
        </p:spPr>
        <p:txBody>
          <a:bodyPr lIns="540000" tIns="3420000" rIns="540000" bIns="1756800" anchor="b">
            <a:normAutofit/>
          </a:bodyPr>
          <a:lstStyle>
            <a:lvl1pPr algn="ctr">
              <a:lnSpc>
                <a:spcPct val="90000"/>
              </a:lnSpc>
              <a:defRPr sz="4000" baseline="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1867101" y="1087200"/>
            <a:ext cx="2361801" cy="1296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004001" y="5478300"/>
            <a:ext cx="2088000" cy="360000"/>
          </a:xfrm>
          <a:prstGeom prst="rect">
            <a:avLst/>
          </a:prstGeom>
          <a:noFill/>
        </p:spPr>
        <p:txBody>
          <a:bodyPr anchor="ctr" anchorCtr="0"/>
          <a:lstStyle>
            <a:lvl1pPr algn="ctr"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DBB459-6F01-4B86-978B-A4747423925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2778001" y="5353073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620988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540000"/>
            <a:ext cx="5556000" cy="57780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554834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57EFB9A-7491-4209-A141-D1B949E7AE59}"/>
              </a:ext>
            </a:extLst>
          </p:cNvPr>
          <p:cNvSpPr/>
          <p:nvPr/>
        </p:nvSpPr>
        <p:spPr>
          <a:xfrm>
            <a:off x="2886632" y="932841"/>
            <a:ext cx="9305368" cy="5928759"/>
          </a:xfrm>
          <a:custGeom>
            <a:avLst/>
            <a:gdLst>
              <a:gd name="connsiteX0" fmla="*/ 9305368 w 9305368"/>
              <a:gd name="connsiteY0" fmla="*/ 707051 h 5928759"/>
              <a:gd name="connsiteX1" fmla="*/ 9305368 w 9305368"/>
              <a:gd name="connsiteY1" fmla="*/ 3687844 h 5928759"/>
              <a:gd name="connsiteX2" fmla="*/ 9167304 w 9305368"/>
              <a:gd name="connsiteY2" fmla="*/ 3823450 h 5928759"/>
              <a:gd name="connsiteX3" fmla="*/ 6817885 w 9305368"/>
              <a:gd name="connsiteY3" fmla="*/ 5730500 h 5928759"/>
              <a:gd name="connsiteX4" fmla="*/ 6518882 w 9305368"/>
              <a:gd name="connsiteY4" fmla="*/ 5928759 h 5928759"/>
              <a:gd name="connsiteX5" fmla="*/ 106785 w 9305368"/>
              <a:gd name="connsiteY5" fmla="*/ 5928759 h 5928759"/>
              <a:gd name="connsiteX6" fmla="*/ 80484 w 9305368"/>
              <a:gd name="connsiteY6" fmla="*/ 5831126 h 5928759"/>
              <a:gd name="connsiteX7" fmla="*/ 857407 w 9305368"/>
              <a:gd name="connsiteY7" fmla="*/ 1802134 h 5928759"/>
              <a:gd name="connsiteX8" fmla="*/ 2069749 w 9305368"/>
              <a:gd name="connsiteY8" fmla="*/ 1435159 h 5928759"/>
              <a:gd name="connsiteX9" fmla="*/ 3996386 w 9305368"/>
              <a:gd name="connsiteY9" fmla="*/ 5006654 h 5928759"/>
              <a:gd name="connsiteX10" fmla="*/ 9227805 w 9305368"/>
              <a:gd name="connsiteY10" fmla="*/ 818498 h 5928759"/>
              <a:gd name="connsiteX11" fmla="*/ 6840474 w 9305368"/>
              <a:gd name="connsiteY11" fmla="*/ 0 h 5928759"/>
              <a:gd name="connsiteX12" fmla="*/ 3596646 w 9305368"/>
              <a:gd name="connsiteY12" fmla="*/ 3093111 h 5928759"/>
              <a:gd name="connsiteX13" fmla="*/ 2620218 w 9305368"/>
              <a:gd name="connsiteY13" fmla="*/ 1271320 h 5928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05368" h="5928759">
                <a:moveTo>
                  <a:pt x="9305368" y="707051"/>
                </a:moveTo>
                <a:lnTo>
                  <a:pt x="9305368" y="3687844"/>
                </a:lnTo>
                <a:lnTo>
                  <a:pt x="9167304" y="3823450"/>
                </a:lnTo>
                <a:cubicBezTo>
                  <a:pt x="8409989" y="4540167"/>
                  <a:pt x="7615748" y="5186450"/>
                  <a:pt x="6817885" y="5730500"/>
                </a:cubicBezTo>
                <a:lnTo>
                  <a:pt x="6518882" y="5928759"/>
                </a:lnTo>
                <a:lnTo>
                  <a:pt x="106785" y="5928759"/>
                </a:lnTo>
                <a:lnTo>
                  <a:pt x="80484" y="5831126"/>
                </a:lnTo>
                <a:cubicBezTo>
                  <a:pt x="-142928" y="4840416"/>
                  <a:pt x="93346" y="3455386"/>
                  <a:pt x="857407" y="1802134"/>
                </a:cubicBezTo>
                <a:lnTo>
                  <a:pt x="2069749" y="1435159"/>
                </a:lnTo>
                <a:cubicBezTo>
                  <a:pt x="837748" y="4095761"/>
                  <a:pt x="1702768" y="5701292"/>
                  <a:pt x="3996386" y="5006654"/>
                </a:cubicBezTo>
                <a:cubicBezTo>
                  <a:pt x="5738484" y="4477536"/>
                  <a:pt x="7803774" y="2773514"/>
                  <a:pt x="9227805" y="818498"/>
                </a:cubicBezTo>
                <a:close/>
                <a:moveTo>
                  <a:pt x="6840474" y="0"/>
                </a:moveTo>
                <a:cubicBezTo>
                  <a:pt x="6217921" y="1356515"/>
                  <a:pt x="4763111" y="2739237"/>
                  <a:pt x="3596646" y="3093111"/>
                </a:cubicBezTo>
                <a:cubicBezTo>
                  <a:pt x="2430175" y="3446986"/>
                  <a:pt x="1991111" y="2627835"/>
                  <a:pt x="2620218" y="127132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2448000"/>
            <a:ext cx="5556000" cy="38700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0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D11CF52-7747-43ED-8463-0F8FE243E6D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539750" y="540000"/>
            <a:ext cx="5556000" cy="1577558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3800">
                <a:solidFill>
                  <a:schemeClr val="bg1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GB" dirty="0"/>
              <a:t>0X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9974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- grey sh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E053643-D2DC-7A63-88C8-C77CEC06D50C}"/>
              </a:ext>
            </a:extLst>
          </p:cNvPr>
          <p:cNvSpPr/>
          <p:nvPr userDrawn="1"/>
        </p:nvSpPr>
        <p:spPr>
          <a:xfrm>
            <a:off x="6433900" y="142875"/>
            <a:ext cx="5600937" cy="5876926"/>
          </a:xfrm>
          <a:prstGeom prst="roundRect">
            <a:avLst>
              <a:gd name="adj" fmla="val 216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2777B02-2B16-E6BA-CDEC-5FD493ABF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1" y="1586803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C3CDB27-DC06-CE33-FB98-34EA0F53868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515196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549202-1EEF-4FD2-9B3B-501C38B5E5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1199892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3EEFBBC-BFBF-F95C-D047-92320BA1D4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979786"/>
            <a:ext cx="4731744" cy="1666690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913B67C-BF01-236E-C3E4-8B0848052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001" y="5712648"/>
            <a:ext cx="4731493" cy="307152"/>
          </a:xfrm>
          <a:prstGeom prst="rect">
            <a:avLst/>
          </a:prstGeom>
          <a:noFill/>
          <a:effectLst/>
        </p:spPr>
        <p:txBody>
          <a:bodyPr lIns="0" tIns="0" r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defRPr sz="900" i="1">
                <a:solidFill>
                  <a:schemeClr val="tx2"/>
                </a:solidFill>
              </a:defRPr>
            </a:lvl1pPr>
            <a:lvl2pPr marL="171450" indent="-171450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2pPr>
            <a:lvl3pPr marL="327025" indent="-1444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-"/>
              <a:defRPr sz="1200"/>
            </a:lvl3pPr>
            <a:lvl4pPr marL="463550" indent="-123825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4pPr>
            <a:lvl5pPr marL="625475" indent="-161925">
              <a:lnSpc>
                <a:spcPct val="9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 dirty="0"/>
              <a:t>Source: xxx</a:t>
            </a:r>
          </a:p>
          <a:p>
            <a:pPr lvl="0"/>
            <a:r>
              <a:rPr lang="en-US" dirty="0"/>
              <a:t>Notes: xxx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F5E53BF-65E3-2E01-34F4-66D5F0DCCE3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40226" y="492331"/>
            <a:ext cx="3164202" cy="27722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144777 w 3164202"/>
              <a:gd name="connsiteY6" fmla="*/ 2432921 h 2739101"/>
              <a:gd name="connsiteX7" fmla="*/ 0 w 3164202"/>
              <a:gd name="connsiteY7" fmla="*/ 2437022 h 2739101"/>
              <a:gd name="connsiteX8" fmla="*/ 0 w 3164202"/>
              <a:gd name="connsiteY8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144777 w 3164202"/>
              <a:gd name="connsiteY7" fmla="*/ 2432921 h 2739101"/>
              <a:gd name="connsiteX8" fmla="*/ 0 w 3164202"/>
              <a:gd name="connsiteY8" fmla="*/ 2437022 h 2739101"/>
              <a:gd name="connsiteX9" fmla="*/ 0 w 3164202"/>
              <a:gd name="connsiteY9" fmla="*/ 0 h 2739101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517157 w 3164202"/>
              <a:gd name="connsiteY6" fmla="*/ 2428784 h 2739101"/>
              <a:gd name="connsiteX7" fmla="*/ 310279 w 3164202"/>
              <a:gd name="connsiteY7" fmla="*/ 2424646 h 2739101"/>
              <a:gd name="connsiteX8" fmla="*/ 144777 w 3164202"/>
              <a:gd name="connsiteY8" fmla="*/ 2432921 h 2739101"/>
              <a:gd name="connsiteX9" fmla="*/ 0 w 3164202"/>
              <a:gd name="connsiteY9" fmla="*/ 2437022 h 2739101"/>
              <a:gd name="connsiteX10" fmla="*/ 0 w 3164202"/>
              <a:gd name="connsiteY10" fmla="*/ 0 h 27391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2064603 w 3164202"/>
              <a:gd name="connsiteY4" fmla="*/ 2739101 h 2772201"/>
              <a:gd name="connsiteX5" fmla="*/ 1688085 w 3164202"/>
              <a:gd name="connsiteY5" fmla="*/ 2437059 h 2772201"/>
              <a:gd name="connsiteX6" fmla="*/ 517157 w 3164202"/>
              <a:gd name="connsiteY6" fmla="*/ 2428784 h 2772201"/>
              <a:gd name="connsiteX7" fmla="*/ 521295 w 3164202"/>
              <a:gd name="connsiteY7" fmla="*/ 2772201 h 2772201"/>
              <a:gd name="connsiteX8" fmla="*/ 144777 w 3164202"/>
              <a:gd name="connsiteY8" fmla="*/ 2432921 h 2772201"/>
              <a:gd name="connsiteX9" fmla="*/ 0 w 3164202"/>
              <a:gd name="connsiteY9" fmla="*/ 2437022 h 2772201"/>
              <a:gd name="connsiteX10" fmla="*/ 0 w 3164202"/>
              <a:gd name="connsiteY10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1688085 w 3164202"/>
              <a:gd name="connsiteY4" fmla="*/ 2437059 h 2772201"/>
              <a:gd name="connsiteX5" fmla="*/ 517157 w 3164202"/>
              <a:gd name="connsiteY5" fmla="*/ 2428784 h 2772201"/>
              <a:gd name="connsiteX6" fmla="*/ 521295 w 3164202"/>
              <a:gd name="connsiteY6" fmla="*/ 2772201 h 2772201"/>
              <a:gd name="connsiteX7" fmla="*/ 144777 w 3164202"/>
              <a:gd name="connsiteY7" fmla="*/ 2432921 h 2772201"/>
              <a:gd name="connsiteX8" fmla="*/ 0 w 3164202"/>
              <a:gd name="connsiteY8" fmla="*/ 2437022 h 2772201"/>
              <a:gd name="connsiteX9" fmla="*/ 0 w 3164202"/>
              <a:gd name="connsiteY9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2060465 w 3164202"/>
              <a:gd name="connsiteY3" fmla="*/ 2432921 h 2772201"/>
              <a:gd name="connsiteX4" fmla="*/ 517157 w 3164202"/>
              <a:gd name="connsiteY4" fmla="*/ 2428784 h 2772201"/>
              <a:gd name="connsiteX5" fmla="*/ 521295 w 3164202"/>
              <a:gd name="connsiteY5" fmla="*/ 2772201 h 2772201"/>
              <a:gd name="connsiteX6" fmla="*/ 144777 w 3164202"/>
              <a:gd name="connsiteY6" fmla="*/ 2432921 h 2772201"/>
              <a:gd name="connsiteX7" fmla="*/ 0 w 3164202"/>
              <a:gd name="connsiteY7" fmla="*/ 2437022 h 2772201"/>
              <a:gd name="connsiteX8" fmla="*/ 0 w 3164202"/>
              <a:gd name="connsiteY8" fmla="*/ 0 h 2772201"/>
              <a:gd name="connsiteX0" fmla="*/ 0 w 3164202"/>
              <a:gd name="connsiteY0" fmla="*/ 0 h 2772201"/>
              <a:gd name="connsiteX1" fmla="*/ 3164202 w 3164202"/>
              <a:gd name="connsiteY1" fmla="*/ 0 h 2772201"/>
              <a:gd name="connsiteX2" fmla="*/ 3164202 w 3164202"/>
              <a:gd name="connsiteY2" fmla="*/ 2437022 h 2772201"/>
              <a:gd name="connsiteX3" fmla="*/ 517157 w 3164202"/>
              <a:gd name="connsiteY3" fmla="*/ 2428784 h 2772201"/>
              <a:gd name="connsiteX4" fmla="*/ 521295 w 3164202"/>
              <a:gd name="connsiteY4" fmla="*/ 2772201 h 2772201"/>
              <a:gd name="connsiteX5" fmla="*/ 144777 w 3164202"/>
              <a:gd name="connsiteY5" fmla="*/ 2432921 h 2772201"/>
              <a:gd name="connsiteX6" fmla="*/ 0 w 3164202"/>
              <a:gd name="connsiteY6" fmla="*/ 2437022 h 2772201"/>
              <a:gd name="connsiteX7" fmla="*/ 0 w 3164202"/>
              <a:gd name="connsiteY7" fmla="*/ 0 h 27722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722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517157" y="2428784"/>
                </a:lnTo>
                <a:cubicBezTo>
                  <a:pt x="518536" y="2543256"/>
                  <a:pt x="519916" y="2657729"/>
                  <a:pt x="521295" y="2772201"/>
                </a:cubicBezTo>
                <a:lnTo>
                  <a:pt x="144777" y="2432921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866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68AAC0-404E-449F-8285-894567DF7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417DE6-006C-4F5D-A298-C7A21DF843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540001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5535FCD-6DFC-4214-B5B6-F2A9A9D429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80998" y="540000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5EEF294-93D9-4174-834B-43CF8617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24002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C06B890-BD10-4320-872B-0DBD66D0CF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0998" y="1224001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294C33B-6BE7-496D-A953-5C72FA2E5C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1908003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CF3F617-D230-4FDC-A0ED-DBAB231BAA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0998" y="1908002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FDAB7A0D-F476-44A0-9914-D2759AB752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592004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49DDA39-0B1E-4BB7-8EEF-35EF7FBEC9F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0998" y="2592003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00B00C0-FD92-4AD5-AC26-301C84699F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3276005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1EE5CC3-9E29-4F21-845B-9159D7BDF7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0998" y="3276004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7B558ADF-7254-4DC1-B00F-967D64FEDB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9749" y="3960006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DE3FEB12-8E32-4DBE-9F75-8294E9EDFE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480997" y="3960005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8958C81-5416-42BC-B6D1-FEDE62EB66F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39749" y="4644007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6EA9C23-B525-44BE-89AC-2E2DE54C1FF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80997" y="4644006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2CB76FE-557B-4CB6-BC80-E22D565FB5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9749" y="5328008"/>
            <a:ext cx="755650" cy="684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GB" dirty="0"/>
              <a:t>0X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5FCCA66-2ABB-4421-A080-25EF1A659D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480997" y="5328007"/>
            <a:ext cx="10171251" cy="68400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3200"/>
            </a:lvl1pPr>
            <a:lvl2pPr marL="180000" indent="0">
              <a:buNone/>
              <a:defRPr sz="3200"/>
            </a:lvl2pPr>
            <a:lvl3pPr marL="360000" indent="0">
              <a:buNone/>
              <a:defRPr sz="3200"/>
            </a:lvl3pPr>
            <a:lvl4pPr>
              <a:buNone/>
              <a:defRPr sz="3200"/>
            </a:lvl4pPr>
            <a:lvl5pPr>
              <a:buNone/>
              <a:defRPr sz="3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Date Placeholder 2" hidden="1">
            <a:extLst>
              <a:ext uri="{FF2B5EF4-FFF2-40B4-BE49-F238E27FC236}">
                <a16:creationId xmlns:a16="http://schemas.microsoft.com/office/drawing/2014/main" id="{A01A0F49-8126-491C-901C-4EA2C7B978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5" name="Footer Placeholder 7" hidden="1">
            <a:extLst>
              <a:ext uri="{FF2B5EF4-FFF2-40B4-BE49-F238E27FC236}">
                <a16:creationId xmlns:a16="http://schemas.microsoft.com/office/drawing/2014/main" id="{F2538FDB-55CA-481C-A621-CD47151D9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352270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numbered li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BDBB2A-9F79-453E-9D32-F13B821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8D65DF-C5EE-4D6F-9656-5B9F687B3A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540000"/>
            <a:ext cx="11112001" cy="5778000"/>
          </a:xfrm>
        </p:spPr>
        <p:txBody>
          <a:bodyPr/>
          <a:lstStyle>
            <a:lvl1pPr marL="754063" indent="-754063">
              <a:buFont typeface="+mj-lt"/>
              <a:buAutoNum type="arabicPeriod"/>
              <a:defRPr sz="3200"/>
            </a:lvl1pPr>
            <a:lvl2pPr marL="936000">
              <a:defRPr sz="2000"/>
            </a:lvl2pPr>
            <a:lvl3pPr marL="1116000">
              <a:defRPr sz="2000"/>
            </a:lvl3pPr>
            <a:lvl4pPr marL="756000">
              <a:defRPr sz="2000"/>
            </a:lvl4pPr>
            <a:lvl5pPr marL="756000"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Date Placeholder 2" hidden="1">
            <a:extLst>
              <a:ext uri="{FF2B5EF4-FFF2-40B4-BE49-F238E27FC236}">
                <a16:creationId xmlns:a16="http://schemas.microsoft.com/office/drawing/2014/main" id="{3E03A02E-F54C-4F9C-A8E1-5F5B893DD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1BD5B7B-F5C3-4798-A67D-02335EE0D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541807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8" y="1799999"/>
            <a:ext cx="11112002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84878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CD3117E-B60F-4822-93AC-A9DE6F996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6B86B8F-AC8D-446D-A62B-10219760F30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22662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D2F542F7-FF6F-4D96-97E4-2D22D907D7A3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B5CA329-C8B3-4E2D-B6D6-A19A9EA59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6000" cy="103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57C3ECB-AE0D-447F-9EFF-66A3211A875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6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45E466-FEDB-4059-A1F6-50CF160A5AF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86001" y="540000"/>
            <a:ext cx="5466000" cy="5778000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61AB4C9-DAFA-4C4A-A4BB-E0F07DDB08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8163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32DA16FB-BFEC-4577-822F-75BA08F0DBC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019406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2C8BE476-974C-489A-ADF6-1EB245EB4C7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2788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540000" y="540000"/>
            <a:ext cx="11112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4D89DFC-F9D3-49FC-868A-674492E6A29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19998" y="1252800"/>
            <a:ext cx="5286001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980000"/>
            <a:ext cx="5284800" cy="415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720000"/>
            <a:ext cx="5284800" cy="541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2A063D8-4351-4D83-B872-4D51C7070F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526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91890DE2-7BAC-4109-9786-E455C7A75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0B97ECB-30FB-483F-9500-9BE5F3628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4000" y="1799999"/>
            <a:ext cx="3584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068000" y="1799999"/>
            <a:ext cx="3584001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3676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3519000"/>
            <a:ext cx="5465999" cy="279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6000" y="540001"/>
            <a:ext cx="5466000" cy="27542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0E163AAD-9553-403C-B944-2CD0F8309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998" cy="275423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A2F2782-F6F8-49A7-9AE9-6D58C30EBF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799"/>
            <a:ext cx="5465998" cy="2221435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83028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advisors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90B2A66-3CD0-294C-5843-6C6D409928FA}"/>
              </a:ext>
            </a:extLst>
          </p:cNvPr>
          <p:cNvSpPr/>
          <p:nvPr userDrawn="1"/>
        </p:nvSpPr>
        <p:spPr>
          <a:xfrm>
            <a:off x="157162" y="3976025"/>
            <a:ext cx="11877676" cy="2043774"/>
          </a:xfrm>
          <a:prstGeom prst="roundRect">
            <a:avLst>
              <a:gd name="adj" fmla="val 6545"/>
            </a:avLst>
          </a:prstGeom>
          <a:solidFill>
            <a:srgbClr val="F4F6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dirty="0" err="1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C5F2C75-8C94-3544-3C45-7E1C832FBD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66100" y="142876"/>
            <a:ext cx="3868738" cy="3483694"/>
          </a:xfrm>
          <a:prstGeom prst="roundRect">
            <a:avLst>
              <a:gd name="adj" fmla="val 4475"/>
            </a:avLst>
          </a:prstGeom>
          <a:solidFill>
            <a:srgbClr val="F4F6FA"/>
          </a:solidFill>
          <a:ln>
            <a:noFill/>
          </a:ln>
        </p:spPr>
        <p:txBody>
          <a:bodyPr anchor="ctr" anchorCtr="0"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1" y="1293036"/>
            <a:ext cx="4731745" cy="87046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64A2C6-3235-BE69-9DE6-4AC56C2D83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2221429"/>
            <a:ext cx="4731745" cy="274585"/>
          </a:xfrm>
        </p:spPr>
        <p:txBody>
          <a:bodyPr/>
          <a:lstStyle>
            <a:lvl1pPr>
              <a:spcAft>
                <a:spcPts val="600"/>
              </a:spcAft>
              <a:defRPr sz="16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Benefit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E851B11-F393-9A5A-CD3B-0C0965D611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001" y="906125"/>
            <a:ext cx="2935547" cy="215153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txBody>
          <a:bodyPr lIns="72000" tIns="0" rIns="0" bIns="0" anchor="ctr" anchorCtr="0"/>
          <a:lstStyle>
            <a:lvl1pPr>
              <a:spcAft>
                <a:spcPts val="600"/>
              </a:spcAft>
              <a:defRPr sz="1200" b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/>
              <a:t>MAIL PRODUCT | PAPER MAIL + EMAIL</a:t>
            </a:r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1753FFB-2197-D5F5-0511-5CC04255E26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0" y="2686019"/>
            <a:ext cx="4731744" cy="1484637"/>
          </a:xfrm>
        </p:spPr>
        <p:txBody>
          <a:bodyPr/>
          <a:lstStyle>
            <a:lvl1pPr>
              <a:spcAft>
                <a:spcPts val="600"/>
              </a:spcAft>
              <a:defRPr sz="1200" b="1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lang="en-US" sz="1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0" lvl="1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87E4B58-0799-8024-B616-D488A9B89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25019" y="492331"/>
            <a:ext cx="3164202" cy="2739101"/>
          </a:xfrm>
          <a:custGeom>
            <a:avLst/>
            <a:gdLst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0 w 3164202"/>
              <a:gd name="connsiteY3" fmla="*/ 2437022 h 2437022"/>
              <a:gd name="connsiteX4" fmla="*/ 0 w 3164202"/>
              <a:gd name="connsiteY4" fmla="*/ 0 h 2437022"/>
              <a:gd name="connsiteX0" fmla="*/ 0 w 3164202"/>
              <a:gd name="connsiteY0" fmla="*/ 0 h 2437022"/>
              <a:gd name="connsiteX1" fmla="*/ 3164202 w 3164202"/>
              <a:gd name="connsiteY1" fmla="*/ 0 h 2437022"/>
              <a:gd name="connsiteX2" fmla="*/ 3164202 w 3164202"/>
              <a:gd name="connsiteY2" fmla="*/ 2437022 h 2437022"/>
              <a:gd name="connsiteX3" fmla="*/ 2060465 w 3164202"/>
              <a:gd name="connsiteY3" fmla="*/ 2432921 h 2437022"/>
              <a:gd name="connsiteX4" fmla="*/ 0 w 3164202"/>
              <a:gd name="connsiteY4" fmla="*/ 2437022 h 2437022"/>
              <a:gd name="connsiteX5" fmla="*/ 0 w 3164202"/>
              <a:gd name="connsiteY5" fmla="*/ 0 h 2437022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688085 w 3164202"/>
              <a:gd name="connsiteY4" fmla="*/ 2437059 h 2437059"/>
              <a:gd name="connsiteX5" fmla="*/ 0 w 3164202"/>
              <a:gd name="connsiteY5" fmla="*/ 2437022 h 2437059"/>
              <a:gd name="connsiteX6" fmla="*/ 0 w 3164202"/>
              <a:gd name="connsiteY6" fmla="*/ 0 h 2437059"/>
              <a:gd name="connsiteX0" fmla="*/ 0 w 3164202"/>
              <a:gd name="connsiteY0" fmla="*/ 0 h 2437059"/>
              <a:gd name="connsiteX1" fmla="*/ 3164202 w 3164202"/>
              <a:gd name="connsiteY1" fmla="*/ 0 h 2437059"/>
              <a:gd name="connsiteX2" fmla="*/ 3164202 w 3164202"/>
              <a:gd name="connsiteY2" fmla="*/ 2437022 h 2437059"/>
              <a:gd name="connsiteX3" fmla="*/ 2060465 w 3164202"/>
              <a:gd name="connsiteY3" fmla="*/ 2432921 h 2437059"/>
              <a:gd name="connsiteX4" fmla="*/ 1866000 w 3164202"/>
              <a:gd name="connsiteY4" fmla="*/ 2437059 h 2437059"/>
              <a:gd name="connsiteX5" fmla="*/ 1688085 w 3164202"/>
              <a:gd name="connsiteY5" fmla="*/ 2437059 h 2437059"/>
              <a:gd name="connsiteX6" fmla="*/ 0 w 3164202"/>
              <a:gd name="connsiteY6" fmla="*/ 2437022 h 2437059"/>
              <a:gd name="connsiteX7" fmla="*/ 0 w 3164202"/>
              <a:gd name="connsiteY7" fmla="*/ 0 h 2437059"/>
              <a:gd name="connsiteX0" fmla="*/ 0 w 3164202"/>
              <a:gd name="connsiteY0" fmla="*/ 0 h 2739101"/>
              <a:gd name="connsiteX1" fmla="*/ 3164202 w 3164202"/>
              <a:gd name="connsiteY1" fmla="*/ 0 h 2739101"/>
              <a:gd name="connsiteX2" fmla="*/ 3164202 w 3164202"/>
              <a:gd name="connsiteY2" fmla="*/ 2437022 h 2739101"/>
              <a:gd name="connsiteX3" fmla="*/ 2060465 w 3164202"/>
              <a:gd name="connsiteY3" fmla="*/ 2432921 h 2739101"/>
              <a:gd name="connsiteX4" fmla="*/ 2064603 w 3164202"/>
              <a:gd name="connsiteY4" fmla="*/ 2739101 h 2739101"/>
              <a:gd name="connsiteX5" fmla="*/ 1688085 w 3164202"/>
              <a:gd name="connsiteY5" fmla="*/ 2437059 h 2739101"/>
              <a:gd name="connsiteX6" fmla="*/ 0 w 3164202"/>
              <a:gd name="connsiteY6" fmla="*/ 2437022 h 2739101"/>
              <a:gd name="connsiteX7" fmla="*/ 0 w 3164202"/>
              <a:gd name="connsiteY7" fmla="*/ 0 h 2739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4202" h="2739101">
                <a:moveTo>
                  <a:pt x="0" y="0"/>
                </a:moveTo>
                <a:lnTo>
                  <a:pt x="3164202" y="0"/>
                </a:lnTo>
                <a:lnTo>
                  <a:pt x="3164202" y="2437022"/>
                </a:lnTo>
                <a:lnTo>
                  <a:pt x="2060465" y="2432921"/>
                </a:lnTo>
                <a:cubicBezTo>
                  <a:pt x="2061844" y="2534981"/>
                  <a:pt x="2063224" y="2637041"/>
                  <a:pt x="2064603" y="2739101"/>
                </a:cubicBezTo>
                <a:lnTo>
                  <a:pt x="1688085" y="2437059"/>
                </a:lnTo>
                <a:lnTo>
                  <a:pt x="0" y="2437022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lIns="180000" rIns="180000" bIns="0" anchor="ctr" anchorCtr="0"/>
          <a:lstStyle>
            <a:lvl1pPr>
              <a:spcAft>
                <a:spcPts val="600"/>
              </a:spcAft>
              <a:defRPr sz="20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1EA771E-20BD-3585-8EC7-0F65F1659A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4255594"/>
            <a:ext cx="4731744" cy="1484637"/>
          </a:xfrm>
        </p:spPr>
        <p:txBody>
          <a:bodyPr anchor="t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 i="1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  <a:p>
            <a:pPr lvl="1"/>
            <a:r>
              <a:rPr lang="en-US" dirty="0"/>
              <a:t>Name auth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F1F9C55-0F6B-F82C-27FD-0D1D60ADA9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5019" y="4255594"/>
            <a:ext cx="4731744" cy="1484637"/>
          </a:xfrm>
        </p:spPr>
        <p:txBody>
          <a:bodyPr anchor="t" anchorCtr="0"/>
          <a:lstStyle>
            <a:lvl1pPr>
              <a:spcAft>
                <a:spcPts val="600"/>
              </a:spcAft>
              <a:defRPr sz="1600" b="0">
                <a:solidFill>
                  <a:schemeClr val="tx2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90000"/>
              </a:lnSpc>
              <a:buClr>
                <a:schemeClr val="accent1"/>
              </a:buClr>
              <a:buNone/>
              <a:defRPr sz="1200" i="1"/>
            </a:lvl2pPr>
            <a:lvl3pPr marL="169863" indent="-169863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3pPr>
            <a:lvl4pPr marL="306388" indent="-149225">
              <a:lnSpc>
                <a:spcPct val="90000"/>
              </a:lnSpc>
              <a:buClr>
                <a:schemeClr val="accent1"/>
              </a:buClr>
              <a:buFont typeface="Source Sans Pro" panose="020B0503030403020204" pitchFamily="34" charset="0"/>
              <a:buChar char="-"/>
              <a:defRPr sz="1200"/>
            </a:lvl4pPr>
            <a:lvl5pPr marL="455613" indent="-153988">
              <a:lnSpc>
                <a:spcPct val="90000"/>
              </a:lnSpc>
              <a:buClr>
                <a:schemeClr val="accent1"/>
              </a:buClr>
              <a:buFont typeface="Arial" panose="020B0604020202020204" pitchFamily="34" charset="0"/>
              <a:buChar char="›"/>
              <a:defRPr sz="1200"/>
            </a:lvl5pPr>
          </a:lstStyle>
          <a:p>
            <a:pPr lvl="0"/>
            <a:r>
              <a:rPr lang="en-US" dirty="0"/>
              <a:t>“Quote”</a:t>
            </a:r>
          </a:p>
          <a:p>
            <a:pPr lvl="1"/>
            <a:r>
              <a:rPr lang="en-US" dirty="0"/>
              <a:t>Name author</a:t>
            </a:r>
          </a:p>
        </p:txBody>
      </p:sp>
    </p:spTree>
    <p:extLst>
      <p:ext uri="{BB962C8B-B14F-4D97-AF65-F5344CB8AC3E}">
        <p14:creationId xmlns:p14="http://schemas.microsoft.com/office/powerpoint/2010/main" val="1078557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04000" y="1799999"/>
            <a:ext cx="3584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8000" y="1799999"/>
            <a:ext cx="3584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6DE6781-6A6F-4246-A761-22D2C0DA0E4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544189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3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1799999"/>
            <a:ext cx="2643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F5EA937-D0AE-4897-90BC-212FFF837AD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009000" y="1799999"/>
            <a:ext cx="2643001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C85672A4-A279-42B5-9FAD-E1FF1B9B0876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5250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A715DA-1B2E-4AA8-B147-52F1E6D7E6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0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69773C-0B05-4A69-B684-3306E80AC50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63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6D8C6EE-10D9-4B44-997A-C5E916F905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6000" y="1799999"/>
            <a:ext cx="2643000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77DE23-3A13-4795-A245-A5B13D477D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1E419B-840A-4BAE-9E66-7822DA5EF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D6BCF9-E532-4CCC-BA37-7A921C924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7302A2-BEAD-4C77-A5AC-30438B1A8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9E0572F-D9C6-4FF5-88A5-17E504CF7C4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09000" y="1799999"/>
            <a:ext cx="2643001" cy="4518001"/>
          </a:xfrm>
          <a:noFill/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08BD39B-B04D-40B9-8633-BF4B81497F5C}"/>
              </a:ext>
            </a:extLst>
          </p:cNvPr>
          <p:cNvSpPr>
            <a:spLocks noGrp="1"/>
          </p:cNvSpPr>
          <p:nvPr>
            <p:ph type="subTitle" idx="17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52092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B580EE8B-619D-483D-88DC-D9BAE3489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0E24D17-12A9-4221-9E3C-1B2D0190468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111120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4145575"/>
            <a:ext cx="5464800" cy="216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4800" y="1800000"/>
            <a:ext cx="5464800" cy="216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5748" y="4145575"/>
            <a:ext cx="5466001" cy="216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88725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B,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999" y="540001"/>
            <a:ext cx="5465999" cy="279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9999" y="3519000"/>
            <a:ext cx="5466000" cy="279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9FA1A342-F803-427A-B3C6-012D9C910BF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6000" y="540001"/>
            <a:ext cx="5466001" cy="279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C68E6D4C-25C7-4018-8A12-3B4AD01907B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86000" y="3519000"/>
            <a:ext cx="5466001" cy="279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88925BC-B5B7-49B5-8313-8A3E51FF20B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CC5B404-7879-4676-8973-6A37DE9EE9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C29EBC6-0887-442B-8C64-DBFC4E2600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74742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on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0E3B7CE1-2D6F-4008-8860-001CEA60FA32}"/>
              </a:ext>
            </a:extLst>
          </p:cNvPr>
          <p:cNvSpPr/>
          <p:nvPr userDrawn="1"/>
        </p:nvSpPr>
        <p:spPr>
          <a:xfrm>
            <a:off x="4124000" y="540001"/>
            <a:ext cx="7528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1" y="540000"/>
            <a:ext cx="2642999" cy="577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04200" y="720001"/>
            <a:ext cx="7167600" cy="541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C6F5464-069C-470F-91A2-FF57C271097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E53C2-57CA-4025-95B3-8305AC6DC7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2403375-6898-4357-9D6F-47C3AB187E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995688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6186000" y="540000"/>
            <a:ext cx="5465999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E14006C-84F9-4053-9BA2-BC731D9D9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057BD46-2591-4C58-998A-66F93E6C5AD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5465400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66599" y="720000"/>
            <a:ext cx="5104800" cy="541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14852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, (One on 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4DAFA8FC-1007-45A9-A9E6-B2932496C0E1}"/>
              </a:ext>
            </a:extLst>
          </p:cNvPr>
          <p:cNvSpPr/>
          <p:nvPr userDrawn="1"/>
        </p:nvSpPr>
        <p:spPr>
          <a:xfrm>
            <a:off x="8829000" y="540001"/>
            <a:ext cx="2823001" cy="577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1F1FBF-FF8F-4ADE-A6C1-17D0B1BAF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7529579" cy="103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73CA4B2-94BF-4D51-BCD2-AA08459B70E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40000" y="1072800"/>
            <a:ext cx="7529578" cy="504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 spc="0" baseline="0">
                <a:solidFill>
                  <a:schemeClr val="tx2"/>
                </a:solidFill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99999"/>
            <a:ext cx="7529578" cy="451800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00104DD-2640-4550-B9DC-1CEF6D72E7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010800" y="720000"/>
            <a:ext cx="2462400" cy="541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96B3DA-0C78-468C-BDD6-ABD3B6BB4AC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8300AA8-BC51-4426-8701-3A592DE9B1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AB0CCDE-4E70-4D8D-AF3A-804A0353AF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9877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gradFill>
            <a:gsLst>
              <a:gs pos="2000">
                <a:srgbClr val="A51E22"/>
              </a:gs>
              <a:gs pos="58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2000" noProof="0" dirty="0" err="1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642DD28-5D62-4D29-84DA-26E84DAF6698}"/>
              </a:ext>
            </a:extLst>
          </p:cNvPr>
          <p:cNvSpPr/>
          <p:nvPr userDrawn="1"/>
        </p:nvSpPr>
        <p:spPr>
          <a:xfrm>
            <a:off x="11094045" y="6410472"/>
            <a:ext cx="557294" cy="305783"/>
          </a:xfrm>
          <a:custGeom>
            <a:avLst/>
            <a:gdLst>
              <a:gd name="connsiteX0" fmla="*/ 433095 w 557294"/>
              <a:gd name="connsiteY0" fmla="*/ 238966 h 305783"/>
              <a:gd name="connsiteX1" fmla="*/ 420321 w 557294"/>
              <a:gd name="connsiteY1" fmla="*/ 256456 h 305783"/>
              <a:gd name="connsiteX2" fmla="*/ 433095 w 557294"/>
              <a:gd name="connsiteY2" fmla="*/ 273750 h 305783"/>
              <a:gd name="connsiteX3" fmla="*/ 445869 w 557294"/>
              <a:gd name="connsiteY3" fmla="*/ 256456 h 305783"/>
              <a:gd name="connsiteX4" fmla="*/ 433095 w 557294"/>
              <a:gd name="connsiteY4" fmla="*/ 238966 h 305783"/>
              <a:gd name="connsiteX5" fmla="*/ 364117 w 557294"/>
              <a:gd name="connsiteY5" fmla="*/ 238966 h 305783"/>
              <a:gd name="connsiteX6" fmla="*/ 356649 w 557294"/>
              <a:gd name="connsiteY6" fmla="*/ 240145 h 305783"/>
              <a:gd name="connsiteX7" fmla="*/ 356649 w 557294"/>
              <a:gd name="connsiteY7" fmla="*/ 272964 h 305783"/>
              <a:gd name="connsiteX8" fmla="*/ 364314 w 557294"/>
              <a:gd name="connsiteY8" fmla="*/ 273947 h 305783"/>
              <a:gd name="connsiteX9" fmla="*/ 379642 w 557294"/>
              <a:gd name="connsiteY9" fmla="*/ 256456 h 305783"/>
              <a:gd name="connsiteX10" fmla="*/ 364117 w 557294"/>
              <a:gd name="connsiteY10" fmla="*/ 238966 h 305783"/>
              <a:gd name="connsiteX11" fmla="*/ 298480 w 557294"/>
              <a:gd name="connsiteY11" fmla="*/ 238966 h 305783"/>
              <a:gd name="connsiteX12" fmla="*/ 290816 w 557294"/>
              <a:gd name="connsiteY12" fmla="*/ 239949 h 305783"/>
              <a:gd name="connsiteX13" fmla="*/ 290816 w 557294"/>
              <a:gd name="connsiteY13" fmla="*/ 272964 h 305783"/>
              <a:gd name="connsiteX14" fmla="*/ 298283 w 557294"/>
              <a:gd name="connsiteY14" fmla="*/ 274143 h 305783"/>
              <a:gd name="connsiteX15" fmla="*/ 313808 w 557294"/>
              <a:gd name="connsiteY15" fmla="*/ 256456 h 305783"/>
              <a:gd name="connsiteX16" fmla="*/ 298480 w 557294"/>
              <a:gd name="connsiteY16" fmla="*/ 238966 h 305783"/>
              <a:gd name="connsiteX17" fmla="*/ 493426 w 557294"/>
              <a:gd name="connsiteY17" fmla="*/ 228354 h 305783"/>
              <a:gd name="connsiteX18" fmla="*/ 513274 w 557294"/>
              <a:gd name="connsiteY18" fmla="*/ 232284 h 305783"/>
              <a:gd name="connsiteX19" fmla="*/ 508361 w 557294"/>
              <a:gd name="connsiteY19" fmla="*/ 241717 h 305783"/>
              <a:gd name="connsiteX20" fmla="*/ 495588 w 557294"/>
              <a:gd name="connsiteY20" fmla="*/ 238573 h 305783"/>
              <a:gd name="connsiteX21" fmla="*/ 486548 w 557294"/>
              <a:gd name="connsiteY21" fmla="*/ 244272 h 305783"/>
              <a:gd name="connsiteX22" fmla="*/ 496374 w 557294"/>
              <a:gd name="connsiteY22" fmla="*/ 251740 h 305783"/>
              <a:gd name="connsiteX23" fmla="*/ 515239 w 557294"/>
              <a:gd name="connsiteY23" fmla="*/ 268444 h 305783"/>
              <a:gd name="connsiteX24" fmla="*/ 488906 w 557294"/>
              <a:gd name="connsiteY24" fmla="*/ 285148 h 305783"/>
              <a:gd name="connsiteX25" fmla="*/ 468075 w 557294"/>
              <a:gd name="connsiteY25" fmla="*/ 281218 h 305783"/>
              <a:gd name="connsiteX26" fmla="*/ 473381 w 557294"/>
              <a:gd name="connsiteY26" fmla="*/ 270802 h 305783"/>
              <a:gd name="connsiteX27" fmla="*/ 488316 w 557294"/>
              <a:gd name="connsiteY27" fmla="*/ 274340 h 305783"/>
              <a:gd name="connsiteX28" fmla="*/ 497946 w 557294"/>
              <a:gd name="connsiteY28" fmla="*/ 268444 h 305783"/>
              <a:gd name="connsiteX29" fmla="*/ 488120 w 557294"/>
              <a:gd name="connsiteY29" fmla="*/ 260976 h 305783"/>
              <a:gd name="connsiteX30" fmla="*/ 469844 w 557294"/>
              <a:gd name="connsiteY30" fmla="*/ 244469 h 305783"/>
              <a:gd name="connsiteX31" fmla="*/ 493426 w 557294"/>
              <a:gd name="connsiteY31" fmla="*/ 228354 h 305783"/>
              <a:gd name="connsiteX32" fmla="*/ 433095 w 557294"/>
              <a:gd name="connsiteY32" fmla="*/ 228354 h 305783"/>
              <a:gd name="connsiteX33" fmla="*/ 462180 w 557294"/>
              <a:gd name="connsiteY33" fmla="*/ 256653 h 305783"/>
              <a:gd name="connsiteX34" fmla="*/ 433095 w 557294"/>
              <a:gd name="connsiteY34" fmla="*/ 285148 h 305783"/>
              <a:gd name="connsiteX35" fmla="*/ 404010 w 557294"/>
              <a:gd name="connsiteY35" fmla="*/ 256653 h 305783"/>
              <a:gd name="connsiteX36" fmla="*/ 433095 w 557294"/>
              <a:gd name="connsiteY36" fmla="*/ 228354 h 305783"/>
              <a:gd name="connsiteX37" fmla="*/ 363724 w 557294"/>
              <a:gd name="connsiteY37" fmla="*/ 228354 h 305783"/>
              <a:gd name="connsiteX38" fmla="*/ 395756 w 557294"/>
              <a:gd name="connsiteY38" fmla="*/ 256456 h 305783"/>
              <a:gd name="connsiteX39" fmla="*/ 365886 w 557294"/>
              <a:gd name="connsiteY39" fmla="*/ 284559 h 305783"/>
              <a:gd name="connsiteX40" fmla="*/ 356649 w 557294"/>
              <a:gd name="connsiteY40" fmla="*/ 283380 h 305783"/>
              <a:gd name="connsiteX41" fmla="*/ 356649 w 557294"/>
              <a:gd name="connsiteY41" fmla="*/ 305783 h 305783"/>
              <a:gd name="connsiteX42" fmla="*/ 340338 w 557294"/>
              <a:gd name="connsiteY42" fmla="*/ 305783 h 305783"/>
              <a:gd name="connsiteX43" fmla="*/ 340338 w 557294"/>
              <a:gd name="connsiteY43" fmla="*/ 232284 h 305783"/>
              <a:gd name="connsiteX44" fmla="*/ 363724 w 557294"/>
              <a:gd name="connsiteY44" fmla="*/ 228354 h 305783"/>
              <a:gd name="connsiteX45" fmla="*/ 545110 w 557294"/>
              <a:gd name="connsiteY45" fmla="*/ 213419 h 305783"/>
              <a:gd name="connsiteX46" fmla="*/ 545110 w 557294"/>
              <a:gd name="connsiteY46" fmla="*/ 229533 h 305783"/>
              <a:gd name="connsiteX47" fmla="*/ 557098 w 557294"/>
              <a:gd name="connsiteY47" fmla="*/ 229533 h 305783"/>
              <a:gd name="connsiteX48" fmla="*/ 557098 w 557294"/>
              <a:gd name="connsiteY48" fmla="*/ 239752 h 305783"/>
              <a:gd name="connsiteX49" fmla="*/ 545110 w 557294"/>
              <a:gd name="connsiteY49" fmla="*/ 239752 h 305783"/>
              <a:gd name="connsiteX50" fmla="*/ 545110 w 557294"/>
              <a:gd name="connsiteY50" fmla="*/ 266675 h 305783"/>
              <a:gd name="connsiteX51" fmla="*/ 552578 w 557294"/>
              <a:gd name="connsiteY51" fmla="*/ 272571 h 305783"/>
              <a:gd name="connsiteX52" fmla="*/ 557294 w 557294"/>
              <a:gd name="connsiteY52" fmla="*/ 271785 h 305783"/>
              <a:gd name="connsiteX53" fmla="*/ 557294 w 557294"/>
              <a:gd name="connsiteY53" fmla="*/ 283183 h 305783"/>
              <a:gd name="connsiteX54" fmla="*/ 547468 w 557294"/>
              <a:gd name="connsiteY54" fmla="*/ 284755 h 305783"/>
              <a:gd name="connsiteX55" fmla="*/ 529192 w 557294"/>
              <a:gd name="connsiteY55" fmla="*/ 267658 h 305783"/>
              <a:gd name="connsiteX56" fmla="*/ 529192 w 557294"/>
              <a:gd name="connsiteY56" fmla="*/ 239752 h 305783"/>
              <a:gd name="connsiteX57" fmla="*/ 520938 w 557294"/>
              <a:gd name="connsiteY57" fmla="*/ 239752 h 305783"/>
              <a:gd name="connsiteX58" fmla="*/ 520938 w 557294"/>
              <a:gd name="connsiteY58" fmla="*/ 229533 h 305783"/>
              <a:gd name="connsiteX59" fmla="*/ 529192 w 557294"/>
              <a:gd name="connsiteY59" fmla="*/ 229533 h 305783"/>
              <a:gd name="connsiteX60" fmla="*/ 529192 w 557294"/>
              <a:gd name="connsiteY60" fmla="*/ 217349 h 305783"/>
              <a:gd name="connsiteX61" fmla="*/ 274701 w 557294"/>
              <a:gd name="connsiteY61" fmla="*/ 207327 h 305783"/>
              <a:gd name="connsiteX62" fmla="*/ 290816 w 557294"/>
              <a:gd name="connsiteY62" fmla="*/ 207327 h 305783"/>
              <a:gd name="connsiteX63" fmla="*/ 290816 w 557294"/>
              <a:gd name="connsiteY63" fmla="*/ 229730 h 305783"/>
              <a:gd name="connsiteX64" fmla="*/ 300052 w 557294"/>
              <a:gd name="connsiteY64" fmla="*/ 228551 h 305783"/>
              <a:gd name="connsiteX65" fmla="*/ 330119 w 557294"/>
              <a:gd name="connsiteY65" fmla="*/ 256456 h 305783"/>
              <a:gd name="connsiteX66" fmla="*/ 298087 w 557294"/>
              <a:gd name="connsiteY66" fmla="*/ 284559 h 305783"/>
              <a:gd name="connsiteX67" fmla="*/ 274701 w 557294"/>
              <a:gd name="connsiteY67" fmla="*/ 280628 h 305783"/>
              <a:gd name="connsiteX68" fmla="*/ 205135 w 557294"/>
              <a:gd name="connsiteY68" fmla="*/ 60135 h 305783"/>
              <a:gd name="connsiteX69" fmla="*/ 107858 w 557294"/>
              <a:gd name="connsiteY69" fmla="*/ 152892 h 305783"/>
              <a:gd name="connsiteX70" fmla="*/ 78577 w 557294"/>
              <a:gd name="connsiteY70" fmla="*/ 98260 h 305783"/>
              <a:gd name="connsiteX71" fmla="*/ 404010 w 557294"/>
              <a:gd name="connsiteY71" fmla="*/ 0 h 305783"/>
              <a:gd name="connsiteX72" fmla="*/ 113753 w 557294"/>
              <a:gd name="connsiteY72" fmla="*/ 277681 h 305783"/>
              <a:gd name="connsiteX73" fmla="*/ 25713 w 557294"/>
              <a:gd name="connsiteY73" fmla="*/ 114177 h 305783"/>
              <a:gd name="connsiteX74" fmla="*/ 62069 w 557294"/>
              <a:gd name="connsiteY74" fmla="*/ 103172 h 305783"/>
              <a:gd name="connsiteX75" fmla="*/ 119845 w 557294"/>
              <a:gd name="connsiteY75" fmla="*/ 210275 h 305783"/>
              <a:gd name="connsiteX76" fmla="*/ 310271 w 557294"/>
              <a:gd name="connsiteY76" fmla="*/ 28299 h 305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557294" h="305783">
                <a:moveTo>
                  <a:pt x="433095" y="238966"/>
                </a:moveTo>
                <a:cubicBezTo>
                  <a:pt x="424448" y="238966"/>
                  <a:pt x="420321" y="245451"/>
                  <a:pt x="420321" y="256456"/>
                </a:cubicBezTo>
                <a:cubicBezTo>
                  <a:pt x="420321" y="267265"/>
                  <a:pt x="424645" y="273750"/>
                  <a:pt x="433095" y="273750"/>
                </a:cubicBezTo>
                <a:cubicBezTo>
                  <a:pt x="441742" y="273750"/>
                  <a:pt x="445869" y="267265"/>
                  <a:pt x="445869" y="256456"/>
                </a:cubicBezTo>
                <a:cubicBezTo>
                  <a:pt x="445869" y="245648"/>
                  <a:pt x="441742" y="238966"/>
                  <a:pt x="433095" y="238966"/>
                </a:cubicBezTo>
                <a:close/>
                <a:moveTo>
                  <a:pt x="364117" y="238966"/>
                </a:moveTo>
                <a:cubicBezTo>
                  <a:pt x="361169" y="238966"/>
                  <a:pt x="358025" y="239359"/>
                  <a:pt x="356649" y="240145"/>
                </a:cubicBezTo>
                <a:lnTo>
                  <a:pt x="356649" y="272964"/>
                </a:lnTo>
                <a:cubicBezTo>
                  <a:pt x="357828" y="273554"/>
                  <a:pt x="361366" y="273947"/>
                  <a:pt x="364314" y="273947"/>
                </a:cubicBezTo>
                <a:cubicBezTo>
                  <a:pt x="374336" y="273947"/>
                  <a:pt x="379642" y="266675"/>
                  <a:pt x="379642" y="256456"/>
                </a:cubicBezTo>
                <a:cubicBezTo>
                  <a:pt x="379642" y="245451"/>
                  <a:pt x="374139" y="238966"/>
                  <a:pt x="364117" y="238966"/>
                </a:cubicBezTo>
                <a:close/>
                <a:moveTo>
                  <a:pt x="298480" y="238966"/>
                </a:moveTo>
                <a:cubicBezTo>
                  <a:pt x="295532" y="238966"/>
                  <a:pt x="292191" y="239556"/>
                  <a:pt x="290816" y="239949"/>
                </a:cubicBezTo>
                <a:lnTo>
                  <a:pt x="290816" y="272964"/>
                </a:lnTo>
                <a:cubicBezTo>
                  <a:pt x="292191" y="273554"/>
                  <a:pt x="295336" y="274143"/>
                  <a:pt x="298283" y="274143"/>
                </a:cubicBezTo>
                <a:cubicBezTo>
                  <a:pt x="308306" y="273947"/>
                  <a:pt x="313808" y="267462"/>
                  <a:pt x="313808" y="256456"/>
                </a:cubicBezTo>
                <a:cubicBezTo>
                  <a:pt x="313808" y="246237"/>
                  <a:pt x="308502" y="238966"/>
                  <a:pt x="298480" y="238966"/>
                </a:cubicBezTo>
                <a:close/>
                <a:moveTo>
                  <a:pt x="493426" y="228354"/>
                </a:moveTo>
                <a:cubicBezTo>
                  <a:pt x="501680" y="228354"/>
                  <a:pt x="508361" y="230123"/>
                  <a:pt x="513274" y="232284"/>
                </a:cubicBezTo>
                <a:lnTo>
                  <a:pt x="508361" y="241717"/>
                </a:lnTo>
                <a:cubicBezTo>
                  <a:pt x="505610" y="240342"/>
                  <a:pt x="499911" y="238573"/>
                  <a:pt x="495588" y="238573"/>
                </a:cubicBezTo>
                <a:cubicBezTo>
                  <a:pt x="489889" y="238573"/>
                  <a:pt x="486548" y="240931"/>
                  <a:pt x="486548" y="244272"/>
                </a:cubicBezTo>
                <a:cubicBezTo>
                  <a:pt x="486548" y="248399"/>
                  <a:pt x="490675" y="249971"/>
                  <a:pt x="496374" y="251740"/>
                </a:cubicBezTo>
                <a:cubicBezTo>
                  <a:pt x="504824" y="254295"/>
                  <a:pt x="515239" y="257439"/>
                  <a:pt x="515239" y="268444"/>
                </a:cubicBezTo>
                <a:cubicBezTo>
                  <a:pt x="514846" y="278467"/>
                  <a:pt x="506003" y="285148"/>
                  <a:pt x="488906" y="285148"/>
                </a:cubicBezTo>
                <a:cubicBezTo>
                  <a:pt x="480849" y="285148"/>
                  <a:pt x="472988" y="283380"/>
                  <a:pt x="468075" y="281218"/>
                </a:cubicBezTo>
                <a:lnTo>
                  <a:pt x="473381" y="270802"/>
                </a:lnTo>
                <a:cubicBezTo>
                  <a:pt x="476525" y="272571"/>
                  <a:pt x="483797" y="274340"/>
                  <a:pt x="488316" y="274340"/>
                </a:cubicBezTo>
                <a:cubicBezTo>
                  <a:pt x="494212" y="274340"/>
                  <a:pt x="497946" y="271981"/>
                  <a:pt x="497946" y="268444"/>
                </a:cubicBezTo>
                <a:cubicBezTo>
                  <a:pt x="497946" y="264514"/>
                  <a:pt x="493819" y="262745"/>
                  <a:pt x="488120" y="260976"/>
                </a:cubicBezTo>
                <a:cubicBezTo>
                  <a:pt x="480063" y="258422"/>
                  <a:pt x="469844" y="255277"/>
                  <a:pt x="469844" y="244469"/>
                </a:cubicBezTo>
                <a:cubicBezTo>
                  <a:pt x="469844" y="234839"/>
                  <a:pt x="478491" y="228354"/>
                  <a:pt x="493426" y="228354"/>
                </a:cubicBezTo>
                <a:close/>
                <a:moveTo>
                  <a:pt x="433095" y="228354"/>
                </a:moveTo>
                <a:cubicBezTo>
                  <a:pt x="451764" y="228354"/>
                  <a:pt x="462180" y="240538"/>
                  <a:pt x="462180" y="256653"/>
                </a:cubicBezTo>
                <a:cubicBezTo>
                  <a:pt x="461983" y="272964"/>
                  <a:pt x="451764" y="285148"/>
                  <a:pt x="433095" y="285148"/>
                </a:cubicBezTo>
                <a:cubicBezTo>
                  <a:pt x="414426" y="285148"/>
                  <a:pt x="404010" y="272964"/>
                  <a:pt x="404010" y="256653"/>
                </a:cubicBezTo>
                <a:cubicBezTo>
                  <a:pt x="404010" y="240342"/>
                  <a:pt x="414426" y="228354"/>
                  <a:pt x="433095" y="228354"/>
                </a:cubicBezTo>
                <a:close/>
                <a:moveTo>
                  <a:pt x="363724" y="228354"/>
                </a:moveTo>
                <a:cubicBezTo>
                  <a:pt x="384358" y="228354"/>
                  <a:pt x="395756" y="238966"/>
                  <a:pt x="395756" y="256456"/>
                </a:cubicBezTo>
                <a:cubicBezTo>
                  <a:pt x="395953" y="273161"/>
                  <a:pt x="385537" y="284559"/>
                  <a:pt x="365886" y="284559"/>
                </a:cubicBezTo>
                <a:cubicBezTo>
                  <a:pt x="362545" y="284559"/>
                  <a:pt x="358615" y="283969"/>
                  <a:pt x="356649" y="283380"/>
                </a:cubicBezTo>
                <a:lnTo>
                  <a:pt x="356649" y="305783"/>
                </a:lnTo>
                <a:lnTo>
                  <a:pt x="340338" y="305783"/>
                </a:lnTo>
                <a:lnTo>
                  <a:pt x="340338" y="232284"/>
                </a:lnTo>
                <a:cubicBezTo>
                  <a:pt x="345055" y="230123"/>
                  <a:pt x="354095" y="228354"/>
                  <a:pt x="363724" y="228354"/>
                </a:cubicBezTo>
                <a:close/>
                <a:moveTo>
                  <a:pt x="545110" y="213419"/>
                </a:moveTo>
                <a:lnTo>
                  <a:pt x="545110" y="229533"/>
                </a:lnTo>
                <a:lnTo>
                  <a:pt x="557098" y="229533"/>
                </a:lnTo>
                <a:lnTo>
                  <a:pt x="557098" y="239752"/>
                </a:lnTo>
                <a:lnTo>
                  <a:pt x="545110" y="239752"/>
                </a:lnTo>
                <a:lnTo>
                  <a:pt x="545110" y="266675"/>
                </a:lnTo>
                <a:cubicBezTo>
                  <a:pt x="545110" y="271195"/>
                  <a:pt x="548451" y="272571"/>
                  <a:pt x="552578" y="272571"/>
                </a:cubicBezTo>
                <a:cubicBezTo>
                  <a:pt x="554346" y="272571"/>
                  <a:pt x="556115" y="272178"/>
                  <a:pt x="557294" y="271785"/>
                </a:cubicBezTo>
                <a:lnTo>
                  <a:pt x="557294" y="283183"/>
                </a:lnTo>
                <a:cubicBezTo>
                  <a:pt x="555329" y="283969"/>
                  <a:pt x="551399" y="284755"/>
                  <a:pt x="547468" y="284755"/>
                </a:cubicBezTo>
                <a:cubicBezTo>
                  <a:pt x="535088" y="284755"/>
                  <a:pt x="529192" y="279056"/>
                  <a:pt x="529192" y="267658"/>
                </a:cubicBezTo>
                <a:lnTo>
                  <a:pt x="529192" y="239752"/>
                </a:lnTo>
                <a:lnTo>
                  <a:pt x="520938" y="239752"/>
                </a:lnTo>
                <a:lnTo>
                  <a:pt x="520938" y="229533"/>
                </a:lnTo>
                <a:lnTo>
                  <a:pt x="529192" y="229533"/>
                </a:lnTo>
                <a:lnTo>
                  <a:pt x="529192" y="217349"/>
                </a:lnTo>
                <a:close/>
                <a:moveTo>
                  <a:pt x="274701" y="207327"/>
                </a:moveTo>
                <a:lnTo>
                  <a:pt x="290816" y="207327"/>
                </a:lnTo>
                <a:lnTo>
                  <a:pt x="290816" y="229730"/>
                </a:lnTo>
                <a:cubicBezTo>
                  <a:pt x="292781" y="229140"/>
                  <a:pt x="296711" y="228551"/>
                  <a:pt x="300052" y="228551"/>
                </a:cubicBezTo>
                <a:cubicBezTo>
                  <a:pt x="319704" y="228354"/>
                  <a:pt x="330119" y="239556"/>
                  <a:pt x="330119" y="256456"/>
                </a:cubicBezTo>
                <a:cubicBezTo>
                  <a:pt x="330119" y="274143"/>
                  <a:pt x="318918" y="284559"/>
                  <a:pt x="298087" y="284559"/>
                </a:cubicBezTo>
                <a:cubicBezTo>
                  <a:pt x="288458" y="284559"/>
                  <a:pt x="279418" y="282790"/>
                  <a:pt x="274701" y="280628"/>
                </a:cubicBezTo>
                <a:close/>
                <a:moveTo>
                  <a:pt x="205135" y="60135"/>
                </a:moveTo>
                <a:cubicBezTo>
                  <a:pt x="186465" y="100815"/>
                  <a:pt x="142838" y="142280"/>
                  <a:pt x="107858" y="152892"/>
                </a:cubicBezTo>
                <a:cubicBezTo>
                  <a:pt x="72877" y="163504"/>
                  <a:pt x="59711" y="138939"/>
                  <a:pt x="78577" y="98260"/>
                </a:cubicBezTo>
                <a:close/>
                <a:moveTo>
                  <a:pt x="404010" y="0"/>
                </a:moveTo>
                <a:cubicBezTo>
                  <a:pt x="348592" y="121449"/>
                  <a:pt x="218497" y="245845"/>
                  <a:pt x="113753" y="277681"/>
                </a:cubicBezTo>
                <a:cubicBezTo>
                  <a:pt x="8812" y="309517"/>
                  <a:pt x="-30688" y="236215"/>
                  <a:pt x="25713" y="114177"/>
                </a:cubicBezTo>
                <a:lnTo>
                  <a:pt x="62069" y="103172"/>
                </a:lnTo>
                <a:cubicBezTo>
                  <a:pt x="25123" y="182959"/>
                  <a:pt x="51064" y="231106"/>
                  <a:pt x="119845" y="210275"/>
                </a:cubicBezTo>
                <a:cubicBezTo>
                  <a:pt x="188430" y="189444"/>
                  <a:pt x="273718" y="107889"/>
                  <a:pt x="310271" y="282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1" y="540000"/>
            <a:ext cx="4009965" cy="5778000"/>
          </a:xfrm>
        </p:spPr>
        <p:txBody>
          <a:bodyPr anchor="t" anchorCtr="0"/>
          <a:lstStyle>
            <a:lvl1pPr algn="l">
              <a:defRPr sz="6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3F2C5263-41A2-44A0-9580-1B73746EEE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B7296DA3-6B92-4088-B8C9-E3493194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3B68D43-8FEC-40A0-92D4-90A65B7F7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DDC4C33-5337-4A63-9B24-E5FFA6C09C2F}"/>
              </a:ext>
            </a:extLst>
          </p:cNvPr>
          <p:cNvSpPr/>
          <p:nvPr userDrawn="1"/>
        </p:nvSpPr>
        <p:spPr>
          <a:xfrm>
            <a:off x="4717566" y="1597115"/>
            <a:ext cx="2756868" cy="4120971"/>
          </a:xfrm>
          <a:custGeom>
            <a:avLst/>
            <a:gdLst/>
            <a:ahLst/>
            <a:cxnLst/>
            <a:rect l="l" t="t" r="r" b="b"/>
            <a:pathLst>
              <a:path w="1710491" h="2556845">
                <a:moveTo>
                  <a:pt x="780462" y="1984553"/>
                </a:moveTo>
                <a:cubicBezTo>
                  <a:pt x="864683" y="1986376"/>
                  <a:pt x="935007" y="2013714"/>
                  <a:pt x="991432" y="2066569"/>
                </a:cubicBezTo>
                <a:cubicBezTo>
                  <a:pt x="1047857" y="2119424"/>
                  <a:pt x="1077171" y="2186859"/>
                  <a:pt x="1079374" y="2268876"/>
                </a:cubicBezTo>
                <a:cubicBezTo>
                  <a:pt x="1077171" y="2352639"/>
                  <a:pt x="1047857" y="2421138"/>
                  <a:pt x="991432" y="2474373"/>
                </a:cubicBezTo>
                <a:cubicBezTo>
                  <a:pt x="935007" y="2527607"/>
                  <a:pt x="864683" y="2555098"/>
                  <a:pt x="780462" y="2556845"/>
                </a:cubicBezTo>
                <a:cubicBezTo>
                  <a:pt x="696393" y="2555098"/>
                  <a:pt x="626676" y="2527607"/>
                  <a:pt x="571313" y="2474373"/>
                </a:cubicBezTo>
                <a:cubicBezTo>
                  <a:pt x="515951" y="2421138"/>
                  <a:pt x="487244" y="2352639"/>
                  <a:pt x="485193" y="2268876"/>
                </a:cubicBezTo>
                <a:cubicBezTo>
                  <a:pt x="487244" y="2186859"/>
                  <a:pt x="515951" y="2119424"/>
                  <a:pt x="571313" y="2066569"/>
                </a:cubicBezTo>
                <a:cubicBezTo>
                  <a:pt x="626676" y="2013714"/>
                  <a:pt x="696393" y="1986376"/>
                  <a:pt x="780462" y="1984553"/>
                </a:cubicBezTo>
                <a:close/>
                <a:moveTo>
                  <a:pt x="849705" y="0"/>
                </a:moveTo>
                <a:cubicBezTo>
                  <a:pt x="1099523" y="3253"/>
                  <a:pt x="1304117" y="76012"/>
                  <a:pt x="1463486" y="218277"/>
                </a:cubicBezTo>
                <a:cubicBezTo>
                  <a:pt x="1622854" y="360543"/>
                  <a:pt x="1705189" y="552801"/>
                  <a:pt x="1710491" y="795052"/>
                </a:cubicBezTo>
                <a:cubicBezTo>
                  <a:pt x="1708302" y="995100"/>
                  <a:pt x="1645254" y="1155183"/>
                  <a:pt x="1521345" y="1275301"/>
                </a:cubicBezTo>
                <a:cubicBezTo>
                  <a:pt x="1397437" y="1395419"/>
                  <a:pt x="1225800" y="1468800"/>
                  <a:pt x="1006433" y="1495445"/>
                </a:cubicBezTo>
                <a:lnTo>
                  <a:pt x="984537" y="1739676"/>
                </a:lnTo>
                <a:lnTo>
                  <a:pt x="594616" y="1739676"/>
                </a:lnTo>
                <a:lnTo>
                  <a:pt x="558155" y="1152792"/>
                </a:lnTo>
                <a:lnTo>
                  <a:pt x="831484" y="1152792"/>
                </a:lnTo>
                <a:cubicBezTo>
                  <a:pt x="943794" y="1152032"/>
                  <a:pt x="1037465" y="1120699"/>
                  <a:pt x="1112497" y="1058794"/>
                </a:cubicBezTo>
                <a:cubicBezTo>
                  <a:pt x="1187529" y="996889"/>
                  <a:pt x="1226497" y="908975"/>
                  <a:pt x="1229401" y="795052"/>
                </a:cubicBezTo>
                <a:cubicBezTo>
                  <a:pt x="1227946" y="687669"/>
                  <a:pt x="1195217" y="602188"/>
                  <a:pt x="1131214" y="538610"/>
                </a:cubicBezTo>
                <a:cubicBezTo>
                  <a:pt x="1067212" y="475032"/>
                  <a:pt x="980663" y="442482"/>
                  <a:pt x="871569" y="440961"/>
                </a:cubicBezTo>
                <a:cubicBezTo>
                  <a:pt x="769912" y="442330"/>
                  <a:pt x="686238" y="470621"/>
                  <a:pt x="620550" y="525834"/>
                </a:cubicBezTo>
                <a:cubicBezTo>
                  <a:pt x="554861" y="581046"/>
                  <a:pt x="515822" y="654967"/>
                  <a:pt x="503434" y="747596"/>
                </a:cubicBezTo>
                <a:lnTo>
                  <a:pt x="0" y="747596"/>
                </a:lnTo>
                <a:cubicBezTo>
                  <a:pt x="17182" y="521707"/>
                  <a:pt x="97732" y="341468"/>
                  <a:pt x="241648" y="206879"/>
                </a:cubicBezTo>
                <a:cubicBezTo>
                  <a:pt x="385563" y="72290"/>
                  <a:pt x="588249" y="3330"/>
                  <a:pt x="849705" y="0"/>
                </a:cubicBez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lt1">
                  <a:alpha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96554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,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3200" cy="6861600"/>
          </a:xfrm>
          <a:noFill/>
        </p:spPr>
        <p:txBody>
          <a:bodyPr lIns="0" tIns="0" rIns="6480000" anchor="ctr" anchorCtr="0"/>
          <a:lstStyle>
            <a:lvl1pPr marL="0" indent="0" algn="r">
              <a:buNone/>
              <a:defRPr sz="16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0" y="-1"/>
            <a:ext cx="6096000" cy="6861600"/>
          </a:xfrm>
          <a:solidFill>
            <a:srgbClr val="5A5A5F">
              <a:alpha val="60000"/>
            </a:srgbClr>
          </a:solidFill>
        </p:spPr>
        <p:txBody>
          <a:bodyPr lIns="540000" tIns="1044000" rIns="540000" bIns="3420000" anchor="t" anchorCtr="0">
            <a:normAutofit/>
          </a:bodyPr>
          <a:lstStyle>
            <a:lvl1pPr algn="ctr">
              <a:lnSpc>
                <a:spcPct val="90000"/>
              </a:lnSpc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229CD0D-5C6F-4064-82CB-4DB5AD93456E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7963100" y="4093637"/>
            <a:ext cx="2361801" cy="1296000"/>
          </a:xfrm>
          <a:custGeom>
            <a:avLst/>
            <a:gdLst>
              <a:gd name="connsiteX0" fmla="*/ 7291856 w 9381598"/>
              <a:gd name="connsiteY0" fmla="*/ 4023394 h 5148000"/>
              <a:gd name="connsiteX1" fmla="*/ 7076789 w 9381598"/>
              <a:gd name="connsiteY1" fmla="*/ 4317870 h 5148000"/>
              <a:gd name="connsiteX2" fmla="*/ 7291856 w 9381598"/>
              <a:gd name="connsiteY2" fmla="*/ 4609036 h 5148000"/>
              <a:gd name="connsiteX3" fmla="*/ 7506919 w 9381598"/>
              <a:gd name="connsiteY3" fmla="*/ 4317870 h 5148000"/>
              <a:gd name="connsiteX4" fmla="*/ 7291856 w 9381598"/>
              <a:gd name="connsiteY4" fmla="*/ 4023394 h 5148000"/>
              <a:gd name="connsiteX5" fmla="*/ 6130497 w 9381598"/>
              <a:gd name="connsiteY5" fmla="*/ 4023394 h 5148000"/>
              <a:gd name="connsiteX6" fmla="*/ 6004764 w 9381598"/>
              <a:gd name="connsiteY6" fmla="*/ 4043247 h 5148000"/>
              <a:gd name="connsiteX7" fmla="*/ 6004764 w 9381598"/>
              <a:gd name="connsiteY7" fmla="*/ 4595800 h 5148000"/>
              <a:gd name="connsiteX8" fmla="*/ 6133808 w 9381598"/>
              <a:gd name="connsiteY8" fmla="*/ 4612343 h 5148000"/>
              <a:gd name="connsiteX9" fmla="*/ 6391885 w 9381598"/>
              <a:gd name="connsiteY9" fmla="*/ 4317870 h 5148000"/>
              <a:gd name="connsiteX10" fmla="*/ 6130497 w 9381598"/>
              <a:gd name="connsiteY10" fmla="*/ 4023394 h 5148000"/>
              <a:gd name="connsiteX11" fmla="*/ 5025387 w 9381598"/>
              <a:gd name="connsiteY11" fmla="*/ 4023394 h 5148000"/>
              <a:gd name="connsiteX12" fmla="*/ 4896351 w 9381598"/>
              <a:gd name="connsiteY12" fmla="*/ 4039940 h 5148000"/>
              <a:gd name="connsiteX13" fmla="*/ 4896351 w 9381598"/>
              <a:gd name="connsiteY13" fmla="*/ 4595800 h 5148000"/>
              <a:gd name="connsiteX14" fmla="*/ 5022080 w 9381598"/>
              <a:gd name="connsiteY14" fmla="*/ 4615654 h 5148000"/>
              <a:gd name="connsiteX15" fmla="*/ 5283468 w 9381598"/>
              <a:gd name="connsiteY15" fmla="*/ 4317870 h 5148000"/>
              <a:gd name="connsiteX16" fmla="*/ 5025387 w 9381598"/>
              <a:gd name="connsiteY16" fmla="*/ 4023394 h 5148000"/>
              <a:gd name="connsiteX17" fmla="*/ 8307624 w 9381598"/>
              <a:gd name="connsiteY17" fmla="*/ 3844722 h 5148000"/>
              <a:gd name="connsiteX18" fmla="*/ 8641807 w 9381598"/>
              <a:gd name="connsiteY18" fmla="*/ 3910896 h 5148000"/>
              <a:gd name="connsiteX19" fmla="*/ 8559091 w 9381598"/>
              <a:gd name="connsiteY19" fmla="*/ 4069714 h 5148000"/>
              <a:gd name="connsiteX20" fmla="*/ 8344024 w 9381598"/>
              <a:gd name="connsiteY20" fmla="*/ 4016776 h 5148000"/>
              <a:gd name="connsiteX21" fmla="*/ 8191819 w 9381598"/>
              <a:gd name="connsiteY21" fmla="*/ 4112728 h 5148000"/>
              <a:gd name="connsiteX22" fmla="*/ 8357259 w 9381598"/>
              <a:gd name="connsiteY22" fmla="*/ 4238461 h 5148000"/>
              <a:gd name="connsiteX23" fmla="*/ 8674892 w 9381598"/>
              <a:gd name="connsiteY23" fmla="*/ 4519702 h 5148000"/>
              <a:gd name="connsiteX24" fmla="*/ 8231526 w 9381598"/>
              <a:gd name="connsiteY24" fmla="*/ 4800943 h 5148000"/>
              <a:gd name="connsiteX25" fmla="*/ 7880805 w 9381598"/>
              <a:gd name="connsiteY25" fmla="*/ 4734765 h 5148000"/>
              <a:gd name="connsiteX26" fmla="*/ 7970138 w 9381598"/>
              <a:gd name="connsiteY26" fmla="*/ 4559405 h 5148000"/>
              <a:gd name="connsiteX27" fmla="*/ 8221601 w 9381598"/>
              <a:gd name="connsiteY27" fmla="*/ 4618960 h 5148000"/>
              <a:gd name="connsiteX28" fmla="*/ 8383726 w 9381598"/>
              <a:gd name="connsiteY28" fmla="*/ 4519702 h 5148000"/>
              <a:gd name="connsiteX29" fmla="*/ 8218294 w 9381598"/>
              <a:gd name="connsiteY29" fmla="*/ 4393969 h 5148000"/>
              <a:gd name="connsiteX30" fmla="*/ 7910583 w 9381598"/>
              <a:gd name="connsiteY30" fmla="*/ 4116039 h 5148000"/>
              <a:gd name="connsiteX31" fmla="*/ 8307624 w 9381598"/>
              <a:gd name="connsiteY31" fmla="*/ 3844722 h 5148000"/>
              <a:gd name="connsiteX32" fmla="*/ 7291856 w 9381598"/>
              <a:gd name="connsiteY32" fmla="*/ 3844722 h 5148000"/>
              <a:gd name="connsiteX33" fmla="*/ 7781542 w 9381598"/>
              <a:gd name="connsiteY33" fmla="*/ 4321177 h 5148000"/>
              <a:gd name="connsiteX34" fmla="*/ 7291856 w 9381598"/>
              <a:gd name="connsiteY34" fmla="*/ 4800943 h 5148000"/>
              <a:gd name="connsiteX35" fmla="*/ 6802166 w 9381598"/>
              <a:gd name="connsiteY35" fmla="*/ 4321177 h 5148000"/>
              <a:gd name="connsiteX36" fmla="*/ 7291856 w 9381598"/>
              <a:gd name="connsiteY36" fmla="*/ 3844722 h 5148000"/>
              <a:gd name="connsiteX37" fmla="*/ 6123879 w 9381598"/>
              <a:gd name="connsiteY37" fmla="*/ 3844722 h 5148000"/>
              <a:gd name="connsiteX38" fmla="*/ 6663201 w 9381598"/>
              <a:gd name="connsiteY38" fmla="*/ 4317870 h 5148000"/>
              <a:gd name="connsiteX39" fmla="*/ 6160275 w 9381598"/>
              <a:gd name="connsiteY39" fmla="*/ 4791014 h 5148000"/>
              <a:gd name="connsiteX40" fmla="*/ 6004764 w 9381598"/>
              <a:gd name="connsiteY40" fmla="*/ 4771165 h 5148000"/>
              <a:gd name="connsiteX41" fmla="*/ 6004764 w 9381598"/>
              <a:gd name="connsiteY41" fmla="*/ 5148000 h 5148000"/>
              <a:gd name="connsiteX42" fmla="*/ 5730145 w 9381598"/>
              <a:gd name="connsiteY42" fmla="*/ 5148000 h 5148000"/>
              <a:gd name="connsiteX43" fmla="*/ 5730145 w 9381598"/>
              <a:gd name="connsiteY43" fmla="*/ 3910896 h 5148000"/>
              <a:gd name="connsiteX44" fmla="*/ 6123879 w 9381598"/>
              <a:gd name="connsiteY44" fmla="*/ 3844722 h 5148000"/>
              <a:gd name="connsiteX45" fmla="*/ 9177817 w 9381598"/>
              <a:gd name="connsiteY45" fmla="*/ 3593260 h 5148000"/>
              <a:gd name="connsiteX46" fmla="*/ 9177817 w 9381598"/>
              <a:gd name="connsiteY46" fmla="*/ 3864576 h 5148000"/>
              <a:gd name="connsiteX47" fmla="*/ 9379645 w 9381598"/>
              <a:gd name="connsiteY47" fmla="*/ 3864576 h 5148000"/>
              <a:gd name="connsiteX48" fmla="*/ 9379645 w 9381598"/>
              <a:gd name="connsiteY48" fmla="*/ 4036630 h 5148000"/>
              <a:gd name="connsiteX49" fmla="*/ 9177817 w 9381598"/>
              <a:gd name="connsiteY49" fmla="*/ 4036630 h 5148000"/>
              <a:gd name="connsiteX50" fmla="*/ 9177817 w 9381598"/>
              <a:gd name="connsiteY50" fmla="*/ 4489924 h 5148000"/>
              <a:gd name="connsiteX51" fmla="*/ 9303547 w 9381598"/>
              <a:gd name="connsiteY51" fmla="*/ 4589183 h 5148000"/>
              <a:gd name="connsiteX52" fmla="*/ 9346974 w 9381598"/>
              <a:gd name="connsiteY52" fmla="*/ 4585048 h 5148000"/>
              <a:gd name="connsiteX53" fmla="*/ 9381598 w 9381598"/>
              <a:gd name="connsiteY53" fmla="*/ 4576295 h 5148000"/>
              <a:gd name="connsiteX54" fmla="*/ 9381598 w 9381598"/>
              <a:gd name="connsiteY54" fmla="*/ 4768206 h 5148000"/>
              <a:gd name="connsiteX55" fmla="*/ 9312647 w 9381598"/>
              <a:gd name="connsiteY55" fmla="*/ 4786053 h 5148000"/>
              <a:gd name="connsiteX56" fmla="*/ 9217520 w 9381598"/>
              <a:gd name="connsiteY56" fmla="*/ 4794325 h 5148000"/>
              <a:gd name="connsiteX57" fmla="*/ 8909812 w 9381598"/>
              <a:gd name="connsiteY57" fmla="*/ 4506467 h 5148000"/>
              <a:gd name="connsiteX58" fmla="*/ 8909812 w 9381598"/>
              <a:gd name="connsiteY58" fmla="*/ 4036630 h 5148000"/>
              <a:gd name="connsiteX59" fmla="*/ 8770847 w 9381598"/>
              <a:gd name="connsiteY59" fmla="*/ 4036630 h 5148000"/>
              <a:gd name="connsiteX60" fmla="*/ 8770847 w 9381598"/>
              <a:gd name="connsiteY60" fmla="*/ 3864576 h 5148000"/>
              <a:gd name="connsiteX61" fmla="*/ 8909812 w 9381598"/>
              <a:gd name="connsiteY61" fmla="*/ 3864576 h 5148000"/>
              <a:gd name="connsiteX62" fmla="*/ 8909812 w 9381598"/>
              <a:gd name="connsiteY62" fmla="*/ 3659433 h 5148000"/>
              <a:gd name="connsiteX63" fmla="*/ 4625035 w 9381598"/>
              <a:gd name="connsiteY63" fmla="*/ 3490690 h 5148000"/>
              <a:gd name="connsiteX64" fmla="*/ 4896351 w 9381598"/>
              <a:gd name="connsiteY64" fmla="*/ 3490690 h 5148000"/>
              <a:gd name="connsiteX65" fmla="*/ 4896351 w 9381598"/>
              <a:gd name="connsiteY65" fmla="*/ 3867883 h 5148000"/>
              <a:gd name="connsiteX66" fmla="*/ 5051858 w 9381598"/>
              <a:gd name="connsiteY66" fmla="*/ 3848033 h 5148000"/>
              <a:gd name="connsiteX67" fmla="*/ 5558091 w 9381598"/>
              <a:gd name="connsiteY67" fmla="*/ 4317870 h 5148000"/>
              <a:gd name="connsiteX68" fmla="*/ 5018769 w 9381598"/>
              <a:gd name="connsiteY68" fmla="*/ 4791014 h 5148000"/>
              <a:gd name="connsiteX69" fmla="*/ 4625035 w 9381598"/>
              <a:gd name="connsiteY69" fmla="*/ 4724841 h 5148000"/>
              <a:gd name="connsiteX70" fmla="*/ 3453759 w 9381598"/>
              <a:gd name="connsiteY70" fmla="*/ 1012461 h 5148000"/>
              <a:gd name="connsiteX71" fmla="*/ 1815945 w 9381598"/>
              <a:gd name="connsiteY71" fmla="*/ 2574173 h 5148000"/>
              <a:gd name="connsiteX72" fmla="*/ 1322948 w 9381598"/>
              <a:gd name="connsiteY72" fmla="*/ 1654352 h 5148000"/>
              <a:gd name="connsiteX73" fmla="*/ 6802170 w 9381598"/>
              <a:gd name="connsiteY73" fmla="*/ 0 h 5148000"/>
              <a:gd name="connsiteX74" fmla="*/ 1915208 w 9381598"/>
              <a:gd name="connsiteY74" fmla="*/ 4675213 h 5148000"/>
              <a:gd name="connsiteX75" fmla="*/ 432906 w 9381598"/>
              <a:gd name="connsiteY75" fmla="*/ 1922361 h 5148000"/>
              <a:gd name="connsiteX76" fmla="*/ 1045018 w 9381598"/>
              <a:gd name="connsiteY76" fmla="*/ 1737076 h 5148000"/>
              <a:gd name="connsiteX77" fmla="*/ 2017777 w 9381598"/>
              <a:gd name="connsiteY77" fmla="*/ 3540326 h 5148000"/>
              <a:gd name="connsiteX78" fmla="*/ 5223916 w 9381598"/>
              <a:gd name="connsiteY78" fmla="*/ 476459 h 51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9381598" h="5148000">
                <a:moveTo>
                  <a:pt x="7291856" y="4023394"/>
                </a:moveTo>
                <a:cubicBezTo>
                  <a:pt x="7146269" y="4023394"/>
                  <a:pt x="7076789" y="4132581"/>
                  <a:pt x="7076789" y="4317870"/>
                </a:cubicBezTo>
                <a:cubicBezTo>
                  <a:pt x="7076789" y="4499849"/>
                  <a:pt x="7149580" y="4609036"/>
                  <a:pt x="7291856" y="4609036"/>
                </a:cubicBezTo>
                <a:cubicBezTo>
                  <a:pt x="7437435" y="4609036"/>
                  <a:pt x="7506919" y="4499849"/>
                  <a:pt x="7506919" y="4317870"/>
                </a:cubicBezTo>
                <a:cubicBezTo>
                  <a:pt x="7506919" y="4135892"/>
                  <a:pt x="7437435" y="4023394"/>
                  <a:pt x="7291856" y="4023394"/>
                </a:cubicBezTo>
                <a:close/>
                <a:moveTo>
                  <a:pt x="6130497" y="4023394"/>
                </a:moveTo>
                <a:cubicBezTo>
                  <a:pt x="6080866" y="4023394"/>
                  <a:pt x="6027928" y="4030012"/>
                  <a:pt x="6004764" y="4043247"/>
                </a:cubicBezTo>
                <a:lnTo>
                  <a:pt x="6004764" y="4595800"/>
                </a:lnTo>
                <a:cubicBezTo>
                  <a:pt x="6024621" y="4605729"/>
                  <a:pt x="6084173" y="4612343"/>
                  <a:pt x="6133808" y="4612343"/>
                </a:cubicBezTo>
                <a:cubicBezTo>
                  <a:pt x="6302551" y="4612343"/>
                  <a:pt x="6391885" y="4489924"/>
                  <a:pt x="6391885" y="4317870"/>
                </a:cubicBezTo>
                <a:cubicBezTo>
                  <a:pt x="6391885" y="4132581"/>
                  <a:pt x="6299240" y="4023394"/>
                  <a:pt x="6130497" y="4023394"/>
                </a:cubicBezTo>
                <a:close/>
                <a:moveTo>
                  <a:pt x="5025387" y="4023394"/>
                </a:moveTo>
                <a:cubicBezTo>
                  <a:pt x="4975760" y="4023394"/>
                  <a:pt x="4919511" y="4033323"/>
                  <a:pt x="4896351" y="4039940"/>
                </a:cubicBezTo>
                <a:lnTo>
                  <a:pt x="4896351" y="4595800"/>
                </a:lnTo>
                <a:cubicBezTo>
                  <a:pt x="4919511" y="4605729"/>
                  <a:pt x="4972449" y="4615654"/>
                  <a:pt x="5022080" y="4615654"/>
                </a:cubicBezTo>
                <a:cubicBezTo>
                  <a:pt x="5190823" y="4612343"/>
                  <a:pt x="5283468" y="4503156"/>
                  <a:pt x="5283468" y="4317870"/>
                </a:cubicBezTo>
                <a:cubicBezTo>
                  <a:pt x="5283468" y="4145817"/>
                  <a:pt x="5194134" y="4023394"/>
                  <a:pt x="5025387" y="4023394"/>
                </a:cubicBezTo>
                <a:close/>
                <a:moveTo>
                  <a:pt x="8307624" y="3844722"/>
                </a:moveTo>
                <a:cubicBezTo>
                  <a:pt x="8446593" y="3844722"/>
                  <a:pt x="8559091" y="3874500"/>
                  <a:pt x="8641807" y="3910896"/>
                </a:cubicBezTo>
                <a:lnTo>
                  <a:pt x="8559091" y="4069714"/>
                </a:lnTo>
                <a:cubicBezTo>
                  <a:pt x="8512767" y="4046554"/>
                  <a:pt x="8416811" y="4016776"/>
                  <a:pt x="8344024" y="4016776"/>
                </a:cubicBezTo>
                <a:cubicBezTo>
                  <a:pt x="8248072" y="4016776"/>
                  <a:pt x="8191819" y="4056483"/>
                  <a:pt x="8191819" y="4112728"/>
                </a:cubicBezTo>
                <a:cubicBezTo>
                  <a:pt x="8191819" y="4182212"/>
                  <a:pt x="8261304" y="4208679"/>
                  <a:pt x="8357259" y="4238461"/>
                </a:cubicBezTo>
                <a:cubicBezTo>
                  <a:pt x="8499531" y="4281475"/>
                  <a:pt x="8674892" y="4334413"/>
                  <a:pt x="8674892" y="4519702"/>
                </a:cubicBezTo>
                <a:cubicBezTo>
                  <a:pt x="8668278" y="4688445"/>
                  <a:pt x="8519384" y="4800943"/>
                  <a:pt x="8231526" y="4800943"/>
                </a:cubicBezTo>
                <a:cubicBezTo>
                  <a:pt x="8095868" y="4800943"/>
                  <a:pt x="7963521" y="4771165"/>
                  <a:pt x="7880805" y="4734765"/>
                </a:cubicBezTo>
                <a:lnTo>
                  <a:pt x="7970138" y="4559405"/>
                </a:lnTo>
                <a:cubicBezTo>
                  <a:pt x="8023081" y="4589183"/>
                  <a:pt x="8145499" y="4618960"/>
                  <a:pt x="8221601" y="4618960"/>
                </a:cubicBezTo>
                <a:cubicBezTo>
                  <a:pt x="8320860" y="4618960"/>
                  <a:pt x="8383726" y="4579258"/>
                  <a:pt x="8383726" y="4519702"/>
                </a:cubicBezTo>
                <a:cubicBezTo>
                  <a:pt x="8383726" y="4453528"/>
                  <a:pt x="8314242" y="4423747"/>
                  <a:pt x="8218294" y="4393969"/>
                </a:cubicBezTo>
                <a:cubicBezTo>
                  <a:pt x="8082632" y="4350959"/>
                  <a:pt x="7910583" y="4298017"/>
                  <a:pt x="7910583" y="4116039"/>
                </a:cubicBezTo>
                <a:cubicBezTo>
                  <a:pt x="7910583" y="3953910"/>
                  <a:pt x="8056165" y="3844722"/>
                  <a:pt x="8307624" y="3844722"/>
                </a:cubicBezTo>
                <a:close/>
                <a:moveTo>
                  <a:pt x="7291856" y="3844722"/>
                </a:moveTo>
                <a:cubicBezTo>
                  <a:pt x="7606182" y="3844722"/>
                  <a:pt x="7781542" y="4049865"/>
                  <a:pt x="7781542" y="4321177"/>
                </a:cubicBezTo>
                <a:cubicBezTo>
                  <a:pt x="7778231" y="4595800"/>
                  <a:pt x="7606182" y="4800943"/>
                  <a:pt x="7291856" y="4800943"/>
                </a:cubicBezTo>
                <a:cubicBezTo>
                  <a:pt x="6977526" y="4800943"/>
                  <a:pt x="6802166" y="4595800"/>
                  <a:pt x="6802166" y="4321177"/>
                </a:cubicBezTo>
                <a:cubicBezTo>
                  <a:pt x="6802166" y="4046554"/>
                  <a:pt x="6977526" y="3844722"/>
                  <a:pt x="7291856" y="3844722"/>
                </a:cubicBezTo>
                <a:close/>
                <a:moveTo>
                  <a:pt x="6123879" y="3844722"/>
                </a:moveTo>
                <a:cubicBezTo>
                  <a:pt x="6471294" y="3844722"/>
                  <a:pt x="6663201" y="4023394"/>
                  <a:pt x="6663201" y="4317870"/>
                </a:cubicBezTo>
                <a:cubicBezTo>
                  <a:pt x="6666508" y="4599111"/>
                  <a:pt x="6491147" y="4791014"/>
                  <a:pt x="6160275" y="4791014"/>
                </a:cubicBezTo>
                <a:cubicBezTo>
                  <a:pt x="6104026" y="4791014"/>
                  <a:pt x="6037853" y="4781090"/>
                  <a:pt x="6004764" y="4771165"/>
                </a:cubicBezTo>
                <a:lnTo>
                  <a:pt x="6004764" y="5148000"/>
                </a:lnTo>
                <a:lnTo>
                  <a:pt x="5730145" y="5148000"/>
                </a:lnTo>
                <a:lnTo>
                  <a:pt x="5730145" y="3910896"/>
                </a:lnTo>
                <a:cubicBezTo>
                  <a:pt x="5809554" y="3874500"/>
                  <a:pt x="5961754" y="3844722"/>
                  <a:pt x="6123879" y="3844722"/>
                </a:cubicBezTo>
                <a:close/>
                <a:moveTo>
                  <a:pt x="9177817" y="3593260"/>
                </a:moveTo>
                <a:lnTo>
                  <a:pt x="9177817" y="3864576"/>
                </a:lnTo>
                <a:lnTo>
                  <a:pt x="9379645" y="3864576"/>
                </a:lnTo>
                <a:lnTo>
                  <a:pt x="9379645" y="4036630"/>
                </a:lnTo>
                <a:lnTo>
                  <a:pt x="9177817" y="4036630"/>
                </a:lnTo>
                <a:lnTo>
                  <a:pt x="9177817" y="4489924"/>
                </a:lnTo>
                <a:cubicBezTo>
                  <a:pt x="9177817" y="4566022"/>
                  <a:pt x="9234062" y="4589183"/>
                  <a:pt x="9303547" y="4589183"/>
                </a:cubicBezTo>
                <a:cubicBezTo>
                  <a:pt x="9318436" y="4589183"/>
                  <a:pt x="9333325" y="4587529"/>
                  <a:pt x="9346974" y="4585048"/>
                </a:cubicBezTo>
                <a:lnTo>
                  <a:pt x="9381598" y="4576295"/>
                </a:lnTo>
                <a:lnTo>
                  <a:pt x="9381598" y="4768206"/>
                </a:lnTo>
                <a:lnTo>
                  <a:pt x="9312647" y="4786053"/>
                </a:lnTo>
                <a:cubicBezTo>
                  <a:pt x="9283696" y="4791016"/>
                  <a:pt x="9250609" y="4794325"/>
                  <a:pt x="9217520" y="4794325"/>
                </a:cubicBezTo>
                <a:cubicBezTo>
                  <a:pt x="9009071" y="4794325"/>
                  <a:pt x="8909812" y="4698374"/>
                  <a:pt x="8909812" y="4506467"/>
                </a:cubicBezTo>
                <a:lnTo>
                  <a:pt x="8909812" y="4036630"/>
                </a:lnTo>
                <a:lnTo>
                  <a:pt x="8770847" y="4036630"/>
                </a:lnTo>
                <a:lnTo>
                  <a:pt x="8770847" y="3864576"/>
                </a:lnTo>
                <a:lnTo>
                  <a:pt x="8909812" y="3864576"/>
                </a:lnTo>
                <a:lnTo>
                  <a:pt x="8909812" y="3659433"/>
                </a:lnTo>
                <a:close/>
                <a:moveTo>
                  <a:pt x="4625035" y="3490690"/>
                </a:moveTo>
                <a:lnTo>
                  <a:pt x="4896351" y="3490690"/>
                </a:lnTo>
                <a:lnTo>
                  <a:pt x="4896351" y="3867883"/>
                </a:lnTo>
                <a:cubicBezTo>
                  <a:pt x="4929436" y="3857958"/>
                  <a:pt x="4995609" y="3848033"/>
                  <a:pt x="5051858" y="3848033"/>
                </a:cubicBezTo>
                <a:cubicBezTo>
                  <a:pt x="5382730" y="3844722"/>
                  <a:pt x="5558091" y="4033323"/>
                  <a:pt x="5558091" y="4317870"/>
                </a:cubicBezTo>
                <a:cubicBezTo>
                  <a:pt x="5558091" y="4615654"/>
                  <a:pt x="5369495" y="4791014"/>
                  <a:pt x="5018769" y="4791014"/>
                </a:cubicBezTo>
                <a:cubicBezTo>
                  <a:pt x="4856644" y="4791014"/>
                  <a:pt x="4704444" y="4761236"/>
                  <a:pt x="4625035" y="4724841"/>
                </a:cubicBezTo>
                <a:close/>
                <a:moveTo>
                  <a:pt x="3453759" y="1012461"/>
                </a:moveTo>
                <a:cubicBezTo>
                  <a:pt x="3139429" y="1697366"/>
                  <a:pt x="2404894" y="2395505"/>
                  <a:pt x="1815945" y="2574173"/>
                </a:cubicBezTo>
                <a:cubicBezTo>
                  <a:pt x="1226993" y="2752844"/>
                  <a:pt x="1005312" y="2339256"/>
                  <a:pt x="1322948" y="1654352"/>
                </a:cubicBezTo>
                <a:close/>
                <a:moveTo>
                  <a:pt x="6802170" y="0"/>
                </a:moveTo>
                <a:cubicBezTo>
                  <a:pt x="5869114" y="2044788"/>
                  <a:pt x="3678751" y="4139203"/>
                  <a:pt x="1915208" y="4675213"/>
                </a:cubicBezTo>
                <a:cubicBezTo>
                  <a:pt x="148354" y="5211224"/>
                  <a:pt x="-516693" y="3977074"/>
                  <a:pt x="432906" y="1922361"/>
                </a:cubicBezTo>
                <a:lnTo>
                  <a:pt x="1045018" y="1737076"/>
                </a:lnTo>
                <a:cubicBezTo>
                  <a:pt x="422981" y="3080413"/>
                  <a:pt x="859729" y="3891047"/>
                  <a:pt x="2017777" y="3540326"/>
                </a:cubicBezTo>
                <a:cubicBezTo>
                  <a:pt x="3172518" y="3189600"/>
                  <a:pt x="4608496" y="1816485"/>
                  <a:pt x="5223916" y="4764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6" name="Date_GeneralDate">
            <a:extLst>
              <a:ext uri="{FF2B5EF4-FFF2-40B4-BE49-F238E27FC236}">
                <a16:creationId xmlns:a16="http://schemas.microsoft.com/office/drawing/2014/main" id="{F8926225-31F7-4B1A-AED2-D43A39A329C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0" y="6912000"/>
            <a:ext cx="0" cy="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</p:spPr>
        <p:txBody>
          <a:bodyPr anchor="ctr" anchorCtr="0"/>
          <a:lstStyle>
            <a:lvl1pPr algn="ctr">
              <a:defRPr sz="1600">
                <a:noFill/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AF17509-579D-4712-BBDC-34B3D4695FF6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874000" y="3733239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443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8.xml"/><Relationship Id="rId18" Type="http://schemas.openxmlformats.org/officeDocument/2006/relationships/tags" Target="../tags/tag211.xml"/><Relationship Id="rId26" Type="http://schemas.openxmlformats.org/officeDocument/2006/relationships/tags" Target="../tags/tag219.xml"/><Relationship Id="rId39" Type="http://schemas.openxmlformats.org/officeDocument/2006/relationships/tags" Target="../tags/tag232.xml"/><Relationship Id="rId21" Type="http://schemas.openxmlformats.org/officeDocument/2006/relationships/tags" Target="../tags/tag214.xml"/><Relationship Id="rId34" Type="http://schemas.openxmlformats.org/officeDocument/2006/relationships/tags" Target="../tags/tag227.xml"/><Relationship Id="rId42" Type="http://schemas.openxmlformats.org/officeDocument/2006/relationships/tags" Target="../tags/tag235.xml"/><Relationship Id="rId7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7.xml"/><Relationship Id="rId16" Type="http://schemas.openxmlformats.org/officeDocument/2006/relationships/theme" Target="../theme/theme10.xml"/><Relationship Id="rId20" Type="http://schemas.openxmlformats.org/officeDocument/2006/relationships/tags" Target="../tags/tag213.xml"/><Relationship Id="rId29" Type="http://schemas.openxmlformats.org/officeDocument/2006/relationships/tags" Target="../tags/tag222.xml"/><Relationship Id="rId41" Type="http://schemas.openxmlformats.org/officeDocument/2006/relationships/tags" Target="../tags/tag234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24" Type="http://schemas.openxmlformats.org/officeDocument/2006/relationships/tags" Target="../tags/tag217.xml"/><Relationship Id="rId32" Type="http://schemas.openxmlformats.org/officeDocument/2006/relationships/tags" Target="../tags/tag225.xml"/><Relationship Id="rId37" Type="http://schemas.openxmlformats.org/officeDocument/2006/relationships/tags" Target="../tags/tag230.xml"/><Relationship Id="rId40" Type="http://schemas.openxmlformats.org/officeDocument/2006/relationships/tags" Target="../tags/tag233.xml"/><Relationship Id="rId5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60.xml"/><Relationship Id="rId23" Type="http://schemas.openxmlformats.org/officeDocument/2006/relationships/tags" Target="../tags/tag216.xml"/><Relationship Id="rId28" Type="http://schemas.openxmlformats.org/officeDocument/2006/relationships/tags" Target="../tags/tag221.xml"/><Relationship Id="rId36" Type="http://schemas.openxmlformats.org/officeDocument/2006/relationships/tags" Target="../tags/tag229.xml"/><Relationship Id="rId10" Type="http://schemas.openxmlformats.org/officeDocument/2006/relationships/slideLayout" Target="../slideLayouts/slideLayout255.xml"/><Relationship Id="rId19" Type="http://schemas.openxmlformats.org/officeDocument/2006/relationships/tags" Target="../tags/tag212.xml"/><Relationship Id="rId31" Type="http://schemas.openxmlformats.org/officeDocument/2006/relationships/tags" Target="../tags/tag224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slideLayout" Target="../slideLayouts/slideLayout259.xml"/><Relationship Id="rId22" Type="http://schemas.openxmlformats.org/officeDocument/2006/relationships/tags" Target="../tags/tag215.xml"/><Relationship Id="rId27" Type="http://schemas.openxmlformats.org/officeDocument/2006/relationships/tags" Target="../tags/tag220.xml"/><Relationship Id="rId30" Type="http://schemas.openxmlformats.org/officeDocument/2006/relationships/tags" Target="../tags/tag223.xml"/><Relationship Id="rId35" Type="http://schemas.openxmlformats.org/officeDocument/2006/relationships/tags" Target="../tags/tag228.xml"/><Relationship Id="rId43" Type="http://schemas.openxmlformats.org/officeDocument/2006/relationships/image" Target="../media/image1.png"/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7.xml"/><Relationship Id="rId17" Type="http://schemas.openxmlformats.org/officeDocument/2006/relationships/tags" Target="../tags/tag210.xml"/><Relationship Id="rId25" Type="http://schemas.openxmlformats.org/officeDocument/2006/relationships/tags" Target="../tags/tag218.xml"/><Relationship Id="rId33" Type="http://schemas.openxmlformats.org/officeDocument/2006/relationships/tags" Target="../tags/tag226.xml"/><Relationship Id="rId38" Type="http://schemas.openxmlformats.org/officeDocument/2006/relationships/tags" Target="../tags/tag231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26" Type="http://schemas.openxmlformats.org/officeDocument/2006/relationships/slideLayout" Target="../slideLayouts/slideLayout286.xml"/><Relationship Id="rId39" Type="http://schemas.openxmlformats.org/officeDocument/2006/relationships/tags" Target="../tags/tag243.xml"/><Relationship Id="rId21" Type="http://schemas.openxmlformats.org/officeDocument/2006/relationships/slideLayout" Target="../slideLayouts/slideLayout281.xml"/><Relationship Id="rId34" Type="http://schemas.openxmlformats.org/officeDocument/2006/relationships/tags" Target="../tags/tag238.xml"/><Relationship Id="rId42" Type="http://schemas.openxmlformats.org/officeDocument/2006/relationships/tags" Target="../tags/tag246.xml"/><Relationship Id="rId47" Type="http://schemas.openxmlformats.org/officeDocument/2006/relationships/tags" Target="../tags/tag251.xml"/><Relationship Id="rId50" Type="http://schemas.openxmlformats.org/officeDocument/2006/relationships/tags" Target="../tags/tag254.xml"/><Relationship Id="rId55" Type="http://schemas.openxmlformats.org/officeDocument/2006/relationships/tags" Target="../tags/tag259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84.xml"/><Relationship Id="rId32" Type="http://schemas.openxmlformats.org/officeDocument/2006/relationships/tags" Target="../tags/tag236.xml"/><Relationship Id="rId37" Type="http://schemas.openxmlformats.org/officeDocument/2006/relationships/tags" Target="../tags/tag241.xml"/><Relationship Id="rId40" Type="http://schemas.openxmlformats.org/officeDocument/2006/relationships/tags" Target="../tags/tag244.xml"/><Relationship Id="rId45" Type="http://schemas.openxmlformats.org/officeDocument/2006/relationships/tags" Target="../tags/tag249.xml"/><Relationship Id="rId53" Type="http://schemas.openxmlformats.org/officeDocument/2006/relationships/tags" Target="../tags/tag257.xml"/><Relationship Id="rId58" Type="http://schemas.openxmlformats.org/officeDocument/2006/relationships/image" Target="../media/image2.png"/><Relationship Id="rId5" Type="http://schemas.openxmlformats.org/officeDocument/2006/relationships/slideLayout" Target="../slideLayouts/slideLayout265.xml"/><Relationship Id="rId19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Relationship Id="rId2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290.xml"/><Relationship Id="rId35" Type="http://schemas.openxmlformats.org/officeDocument/2006/relationships/tags" Target="../tags/tag239.xml"/><Relationship Id="rId43" Type="http://schemas.openxmlformats.org/officeDocument/2006/relationships/tags" Target="../tags/tag247.xml"/><Relationship Id="rId48" Type="http://schemas.openxmlformats.org/officeDocument/2006/relationships/tags" Target="../tags/tag252.xml"/><Relationship Id="rId56" Type="http://schemas.openxmlformats.org/officeDocument/2006/relationships/tags" Target="../tags/tag260.xml"/><Relationship Id="rId8" Type="http://schemas.openxmlformats.org/officeDocument/2006/relationships/slideLayout" Target="../slideLayouts/slideLayout268.xml"/><Relationship Id="rId51" Type="http://schemas.openxmlformats.org/officeDocument/2006/relationships/tags" Target="../tags/tag255.xml"/><Relationship Id="rId3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5" Type="http://schemas.openxmlformats.org/officeDocument/2006/relationships/slideLayout" Target="../slideLayouts/slideLayout285.xml"/><Relationship Id="rId33" Type="http://schemas.openxmlformats.org/officeDocument/2006/relationships/tags" Target="../tags/tag237.xml"/><Relationship Id="rId38" Type="http://schemas.openxmlformats.org/officeDocument/2006/relationships/tags" Target="../tags/tag242.xml"/><Relationship Id="rId46" Type="http://schemas.openxmlformats.org/officeDocument/2006/relationships/tags" Target="../tags/tag250.xml"/><Relationship Id="rId59" Type="http://schemas.openxmlformats.org/officeDocument/2006/relationships/image" Target="../media/image3.svg"/><Relationship Id="rId20" Type="http://schemas.openxmlformats.org/officeDocument/2006/relationships/slideLayout" Target="../slideLayouts/slideLayout280.xml"/><Relationship Id="rId41" Type="http://schemas.openxmlformats.org/officeDocument/2006/relationships/tags" Target="../tags/tag245.xml"/><Relationship Id="rId54" Type="http://schemas.openxmlformats.org/officeDocument/2006/relationships/tags" Target="../tags/tag258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28" Type="http://schemas.openxmlformats.org/officeDocument/2006/relationships/slideLayout" Target="../slideLayouts/slideLayout288.xml"/><Relationship Id="rId36" Type="http://schemas.openxmlformats.org/officeDocument/2006/relationships/tags" Target="../tags/tag240.xml"/><Relationship Id="rId49" Type="http://schemas.openxmlformats.org/officeDocument/2006/relationships/tags" Target="../tags/tag253.xml"/><Relationship Id="rId57" Type="http://schemas.openxmlformats.org/officeDocument/2006/relationships/tags" Target="../tags/tag261.xml"/><Relationship Id="rId10" Type="http://schemas.openxmlformats.org/officeDocument/2006/relationships/slideLayout" Target="../slideLayouts/slideLayout270.xml"/><Relationship Id="rId31" Type="http://schemas.openxmlformats.org/officeDocument/2006/relationships/theme" Target="../theme/theme11.xml"/><Relationship Id="rId44" Type="http://schemas.openxmlformats.org/officeDocument/2006/relationships/tags" Target="../tags/tag248.xml"/><Relationship Id="rId52" Type="http://schemas.openxmlformats.org/officeDocument/2006/relationships/tags" Target="../tags/tag25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8.xml"/><Relationship Id="rId13" Type="http://schemas.openxmlformats.org/officeDocument/2006/relationships/slideLayout" Target="../slideLayouts/slideLayout303.xml"/><Relationship Id="rId18" Type="http://schemas.openxmlformats.org/officeDocument/2006/relationships/slideLayout" Target="../slideLayouts/slideLayout308.xml"/><Relationship Id="rId26" Type="http://schemas.openxmlformats.org/officeDocument/2006/relationships/image" Target="../media/image43.png"/><Relationship Id="rId3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07.xml"/><Relationship Id="rId25" Type="http://schemas.openxmlformats.org/officeDocument/2006/relationships/theme" Target="../theme/theme12.xml"/><Relationship Id="rId2" Type="http://schemas.openxmlformats.org/officeDocument/2006/relationships/slideLayout" Target="../slideLayouts/slideLayout292.xml"/><Relationship Id="rId1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24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5.xml"/><Relationship Id="rId23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300.xml"/><Relationship Id="rId19" Type="http://schemas.openxmlformats.org/officeDocument/2006/relationships/slideLayout" Target="../slideLayouts/slideLayout309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slideLayout" Target="../slideLayouts/slideLayout304.xml"/><Relationship Id="rId22" Type="http://schemas.openxmlformats.org/officeDocument/2006/relationships/slideLayout" Target="../slideLayouts/slideLayout312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7.xml"/><Relationship Id="rId18" Type="http://schemas.openxmlformats.org/officeDocument/2006/relationships/tags" Target="../tags/tag264.xml"/><Relationship Id="rId26" Type="http://schemas.openxmlformats.org/officeDocument/2006/relationships/tags" Target="../tags/tag272.xml"/><Relationship Id="rId39" Type="http://schemas.openxmlformats.org/officeDocument/2006/relationships/tags" Target="../tags/tag285.xml"/><Relationship Id="rId21" Type="http://schemas.openxmlformats.org/officeDocument/2006/relationships/tags" Target="../tags/tag267.xml"/><Relationship Id="rId34" Type="http://schemas.openxmlformats.org/officeDocument/2006/relationships/tags" Target="../tags/tag280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321.xml"/><Relationship Id="rId2" Type="http://schemas.openxmlformats.org/officeDocument/2006/relationships/slideLayout" Target="../slideLayouts/slideLayout316.xml"/><Relationship Id="rId16" Type="http://schemas.openxmlformats.org/officeDocument/2006/relationships/tags" Target="../tags/tag262.xml"/><Relationship Id="rId20" Type="http://schemas.openxmlformats.org/officeDocument/2006/relationships/tags" Target="../tags/tag266.xml"/><Relationship Id="rId29" Type="http://schemas.openxmlformats.org/officeDocument/2006/relationships/tags" Target="../tags/tag275.xml"/><Relationship Id="rId41" Type="http://schemas.openxmlformats.org/officeDocument/2006/relationships/tags" Target="../tags/tag287.xml"/><Relationship Id="rId1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20.xml"/><Relationship Id="rId11" Type="http://schemas.openxmlformats.org/officeDocument/2006/relationships/slideLayout" Target="../slideLayouts/slideLayout325.xml"/><Relationship Id="rId24" Type="http://schemas.openxmlformats.org/officeDocument/2006/relationships/tags" Target="../tags/tag270.xml"/><Relationship Id="rId32" Type="http://schemas.openxmlformats.org/officeDocument/2006/relationships/tags" Target="../tags/tag278.xml"/><Relationship Id="rId37" Type="http://schemas.openxmlformats.org/officeDocument/2006/relationships/tags" Target="../tags/tag283.xml"/><Relationship Id="rId40" Type="http://schemas.openxmlformats.org/officeDocument/2006/relationships/tags" Target="../tags/tag286.xml"/><Relationship Id="rId5" Type="http://schemas.openxmlformats.org/officeDocument/2006/relationships/slideLayout" Target="../slideLayouts/slideLayout319.xml"/><Relationship Id="rId15" Type="http://schemas.openxmlformats.org/officeDocument/2006/relationships/theme" Target="../theme/theme13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36" Type="http://schemas.openxmlformats.org/officeDocument/2006/relationships/tags" Target="../tags/tag282.xml"/><Relationship Id="rId10" Type="http://schemas.openxmlformats.org/officeDocument/2006/relationships/slideLayout" Target="../slideLayouts/slideLayout324.xml"/><Relationship Id="rId19" Type="http://schemas.openxmlformats.org/officeDocument/2006/relationships/tags" Target="../tags/tag265.xml"/><Relationship Id="rId31" Type="http://schemas.openxmlformats.org/officeDocument/2006/relationships/tags" Target="../tags/tag277.xml"/><Relationship Id="rId4" Type="http://schemas.openxmlformats.org/officeDocument/2006/relationships/slideLayout" Target="../slideLayouts/slideLayout318.xml"/><Relationship Id="rId9" Type="http://schemas.openxmlformats.org/officeDocument/2006/relationships/slideLayout" Target="../slideLayouts/slideLayout323.xml"/><Relationship Id="rId14" Type="http://schemas.openxmlformats.org/officeDocument/2006/relationships/slideLayout" Target="../slideLayouts/slideLayout328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30" Type="http://schemas.openxmlformats.org/officeDocument/2006/relationships/tags" Target="../tags/tag276.xml"/><Relationship Id="rId35" Type="http://schemas.openxmlformats.org/officeDocument/2006/relationships/tags" Target="../tags/tag281.xml"/><Relationship Id="rId43" Type="http://schemas.openxmlformats.org/officeDocument/2006/relationships/image" Target="../media/image3.svg"/><Relationship Id="rId8" Type="http://schemas.openxmlformats.org/officeDocument/2006/relationships/slideLayout" Target="../slideLayouts/slideLayout322.xml"/><Relationship Id="rId3" Type="http://schemas.openxmlformats.org/officeDocument/2006/relationships/slideLayout" Target="../slideLayouts/slideLayout317.xml"/><Relationship Id="rId12" Type="http://schemas.openxmlformats.org/officeDocument/2006/relationships/slideLayout" Target="../slideLayouts/slideLayout326.xml"/><Relationship Id="rId17" Type="http://schemas.openxmlformats.org/officeDocument/2006/relationships/tags" Target="../tags/tag263.xml"/><Relationship Id="rId25" Type="http://schemas.openxmlformats.org/officeDocument/2006/relationships/tags" Target="../tags/tag271.xml"/><Relationship Id="rId33" Type="http://schemas.openxmlformats.org/officeDocument/2006/relationships/tags" Target="../tags/tag279.xml"/><Relationship Id="rId38" Type="http://schemas.openxmlformats.org/officeDocument/2006/relationships/tags" Target="../tags/tag284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1.xml"/><Relationship Id="rId18" Type="http://schemas.openxmlformats.org/officeDocument/2006/relationships/slideLayout" Target="../slideLayouts/slideLayout346.xml"/><Relationship Id="rId26" Type="http://schemas.openxmlformats.org/officeDocument/2006/relationships/slideLayout" Target="../slideLayouts/slideLayout354.xml"/><Relationship Id="rId39" Type="http://schemas.openxmlformats.org/officeDocument/2006/relationships/tags" Target="../tags/tag299.xml"/><Relationship Id="rId21" Type="http://schemas.openxmlformats.org/officeDocument/2006/relationships/slideLayout" Target="../slideLayouts/slideLayout349.xml"/><Relationship Id="rId34" Type="http://schemas.openxmlformats.org/officeDocument/2006/relationships/tags" Target="../tags/tag294.xml"/><Relationship Id="rId42" Type="http://schemas.openxmlformats.org/officeDocument/2006/relationships/tags" Target="../tags/tag302.xml"/><Relationship Id="rId47" Type="http://schemas.openxmlformats.org/officeDocument/2006/relationships/tags" Target="../tags/tag307.xml"/><Relationship Id="rId50" Type="http://schemas.openxmlformats.org/officeDocument/2006/relationships/tags" Target="../tags/tag310.xml"/><Relationship Id="rId55" Type="http://schemas.openxmlformats.org/officeDocument/2006/relationships/tags" Target="../tags/tag315.xml"/><Relationship Id="rId7" Type="http://schemas.openxmlformats.org/officeDocument/2006/relationships/slideLayout" Target="../slideLayouts/slideLayout335.xml"/><Relationship Id="rId2" Type="http://schemas.openxmlformats.org/officeDocument/2006/relationships/slideLayout" Target="../slideLayouts/slideLayout330.xml"/><Relationship Id="rId16" Type="http://schemas.openxmlformats.org/officeDocument/2006/relationships/slideLayout" Target="../slideLayouts/slideLayout344.xml"/><Relationship Id="rId29" Type="http://schemas.openxmlformats.org/officeDocument/2006/relationships/tags" Target="../tags/tag289.xml"/><Relationship Id="rId11" Type="http://schemas.openxmlformats.org/officeDocument/2006/relationships/slideLayout" Target="../slideLayouts/slideLayout339.xml"/><Relationship Id="rId24" Type="http://schemas.openxmlformats.org/officeDocument/2006/relationships/slideLayout" Target="../slideLayouts/slideLayout352.xml"/><Relationship Id="rId32" Type="http://schemas.openxmlformats.org/officeDocument/2006/relationships/tags" Target="../tags/tag292.xml"/><Relationship Id="rId37" Type="http://schemas.openxmlformats.org/officeDocument/2006/relationships/tags" Target="../tags/tag297.xml"/><Relationship Id="rId40" Type="http://schemas.openxmlformats.org/officeDocument/2006/relationships/tags" Target="../tags/tag300.xml"/><Relationship Id="rId45" Type="http://schemas.openxmlformats.org/officeDocument/2006/relationships/tags" Target="../tags/tag305.xml"/><Relationship Id="rId53" Type="http://schemas.openxmlformats.org/officeDocument/2006/relationships/tags" Target="../tags/tag313.xml"/><Relationship Id="rId58" Type="http://schemas.openxmlformats.org/officeDocument/2006/relationships/image" Target="../media/image43.png"/><Relationship Id="rId5" Type="http://schemas.openxmlformats.org/officeDocument/2006/relationships/slideLayout" Target="../slideLayouts/slideLayout333.xml"/><Relationship Id="rId19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slideLayout" Target="../slideLayouts/slideLayout342.xml"/><Relationship Id="rId22" Type="http://schemas.openxmlformats.org/officeDocument/2006/relationships/slideLayout" Target="../slideLayouts/slideLayout350.xml"/><Relationship Id="rId27" Type="http://schemas.openxmlformats.org/officeDocument/2006/relationships/theme" Target="../theme/theme14.xml"/><Relationship Id="rId30" Type="http://schemas.openxmlformats.org/officeDocument/2006/relationships/tags" Target="../tags/tag290.xml"/><Relationship Id="rId35" Type="http://schemas.openxmlformats.org/officeDocument/2006/relationships/tags" Target="../tags/tag295.xml"/><Relationship Id="rId43" Type="http://schemas.openxmlformats.org/officeDocument/2006/relationships/tags" Target="../tags/tag303.xml"/><Relationship Id="rId48" Type="http://schemas.openxmlformats.org/officeDocument/2006/relationships/tags" Target="../tags/tag308.xml"/><Relationship Id="rId56" Type="http://schemas.openxmlformats.org/officeDocument/2006/relationships/oleObject" Target="../embeddings/oleObject28.bin"/><Relationship Id="rId8" Type="http://schemas.openxmlformats.org/officeDocument/2006/relationships/slideLayout" Target="../slideLayouts/slideLayout336.xml"/><Relationship Id="rId51" Type="http://schemas.openxmlformats.org/officeDocument/2006/relationships/tags" Target="../tags/tag311.xml"/><Relationship Id="rId3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40.xml"/><Relationship Id="rId17" Type="http://schemas.openxmlformats.org/officeDocument/2006/relationships/slideLayout" Target="../slideLayouts/slideLayout345.xml"/><Relationship Id="rId25" Type="http://schemas.openxmlformats.org/officeDocument/2006/relationships/slideLayout" Target="../slideLayouts/slideLayout353.xml"/><Relationship Id="rId33" Type="http://schemas.openxmlformats.org/officeDocument/2006/relationships/tags" Target="../tags/tag293.xml"/><Relationship Id="rId38" Type="http://schemas.openxmlformats.org/officeDocument/2006/relationships/tags" Target="../tags/tag298.xml"/><Relationship Id="rId46" Type="http://schemas.openxmlformats.org/officeDocument/2006/relationships/tags" Target="../tags/tag306.xml"/><Relationship Id="rId20" Type="http://schemas.openxmlformats.org/officeDocument/2006/relationships/slideLayout" Target="../slideLayouts/slideLayout348.xml"/><Relationship Id="rId41" Type="http://schemas.openxmlformats.org/officeDocument/2006/relationships/tags" Target="../tags/tag301.xml"/><Relationship Id="rId54" Type="http://schemas.openxmlformats.org/officeDocument/2006/relationships/tags" Target="../tags/tag314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5" Type="http://schemas.openxmlformats.org/officeDocument/2006/relationships/slideLayout" Target="../slideLayouts/slideLayout343.xml"/><Relationship Id="rId23" Type="http://schemas.openxmlformats.org/officeDocument/2006/relationships/slideLayout" Target="../slideLayouts/slideLayout351.xml"/><Relationship Id="rId28" Type="http://schemas.openxmlformats.org/officeDocument/2006/relationships/tags" Target="../tags/tag288.xml"/><Relationship Id="rId36" Type="http://schemas.openxmlformats.org/officeDocument/2006/relationships/tags" Target="../tags/tag296.xml"/><Relationship Id="rId49" Type="http://schemas.openxmlformats.org/officeDocument/2006/relationships/tags" Target="../tags/tag309.xml"/><Relationship Id="rId57" Type="http://schemas.openxmlformats.org/officeDocument/2006/relationships/image" Target="../media/image44.emf"/><Relationship Id="rId10" Type="http://schemas.openxmlformats.org/officeDocument/2006/relationships/slideLayout" Target="../slideLayouts/slideLayout338.xml"/><Relationship Id="rId31" Type="http://schemas.openxmlformats.org/officeDocument/2006/relationships/tags" Target="../tags/tag291.xml"/><Relationship Id="rId44" Type="http://schemas.openxmlformats.org/officeDocument/2006/relationships/tags" Target="../tags/tag304.xml"/><Relationship Id="rId52" Type="http://schemas.openxmlformats.org/officeDocument/2006/relationships/tags" Target="../tags/tag31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2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357.xml"/><Relationship Id="rId7" Type="http://schemas.openxmlformats.org/officeDocument/2006/relationships/slideLayout" Target="../slideLayouts/slideLayout361.xml"/><Relationship Id="rId12" Type="http://schemas.openxmlformats.org/officeDocument/2006/relationships/slideLayout" Target="../slideLayouts/slideLayout366.xml"/><Relationship Id="rId2" Type="http://schemas.openxmlformats.org/officeDocument/2006/relationships/slideLayout" Target="../slideLayouts/slideLayout356.xml"/><Relationship Id="rId1" Type="http://schemas.openxmlformats.org/officeDocument/2006/relationships/slideLayout" Target="../slideLayouts/slideLayout355.xml"/><Relationship Id="rId6" Type="http://schemas.openxmlformats.org/officeDocument/2006/relationships/slideLayout" Target="../slideLayouts/slideLayout360.xml"/><Relationship Id="rId11" Type="http://schemas.openxmlformats.org/officeDocument/2006/relationships/slideLayout" Target="../slideLayouts/slideLayout365.xml"/><Relationship Id="rId5" Type="http://schemas.openxmlformats.org/officeDocument/2006/relationships/slideLayout" Target="../slideLayouts/slideLayout359.xml"/><Relationship Id="rId10" Type="http://schemas.openxmlformats.org/officeDocument/2006/relationships/slideLayout" Target="../slideLayouts/slideLayout364.xml"/><Relationship Id="rId4" Type="http://schemas.openxmlformats.org/officeDocument/2006/relationships/slideLayout" Target="../slideLayouts/slideLayout358.xml"/><Relationship Id="rId9" Type="http://schemas.openxmlformats.org/officeDocument/2006/relationships/slideLayout" Target="../slideLayouts/slideLayout36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4.xml"/><Relationship Id="rId13" Type="http://schemas.openxmlformats.org/officeDocument/2006/relationships/slideLayout" Target="../slideLayouts/slideLayout379.xml"/><Relationship Id="rId18" Type="http://schemas.openxmlformats.org/officeDocument/2006/relationships/slideLayout" Target="../slideLayouts/slideLayout384.xml"/><Relationship Id="rId26" Type="http://schemas.openxmlformats.org/officeDocument/2006/relationships/theme" Target="../theme/theme16.xml"/><Relationship Id="rId3" Type="http://schemas.openxmlformats.org/officeDocument/2006/relationships/slideLayout" Target="../slideLayouts/slideLayout369.xml"/><Relationship Id="rId21" Type="http://schemas.openxmlformats.org/officeDocument/2006/relationships/slideLayout" Target="../slideLayouts/slideLayout387.xml"/><Relationship Id="rId7" Type="http://schemas.openxmlformats.org/officeDocument/2006/relationships/slideLayout" Target="../slideLayouts/slideLayout373.xml"/><Relationship Id="rId12" Type="http://schemas.openxmlformats.org/officeDocument/2006/relationships/slideLayout" Target="../slideLayouts/slideLayout378.xml"/><Relationship Id="rId17" Type="http://schemas.openxmlformats.org/officeDocument/2006/relationships/slideLayout" Target="../slideLayouts/slideLayout383.xml"/><Relationship Id="rId25" Type="http://schemas.openxmlformats.org/officeDocument/2006/relationships/slideLayout" Target="../slideLayouts/slideLayout391.xml"/><Relationship Id="rId2" Type="http://schemas.openxmlformats.org/officeDocument/2006/relationships/slideLayout" Target="../slideLayouts/slideLayout368.xml"/><Relationship Id="rId16" Type="http://schemas.openxmlformats.org/officeDocument/2006/relationships/slideLayout" Target="../slideLayouts/slideLayout382.xml"/><Relationship Id="rId20" Type="http://schemas.openxmlformats.org/officeDocument/2006/relationships/slideLayout" Target="../slideLayouts/slideLayout386.xml"/><Relationship Id="rId1" Type="http://schemas.openxmlformats.org/officeDocument/2006/relationships/slideLayout" Target="../slideLayouts/slideLayout367.xml"/><Relationship Id="rId6" Type="http://schemas.openxmlformats.org/officeDocument/2006/relationships/slideLayout" Target="../slideLayouts/slideLayout372.xml"/><Relationship Id="rId11" Type="http://schemas.openxmlformats.org/officeDocument/2006/relationships/slideLayout" Target="../slideLayouts/slideLayout377.xml"/><Relationship Id="rId24" Type="http://schemas.openxmlformats.org/officeDocument/2006/relationships/slideLayout" Target="../slideLayouts/slideLayout390.xml"/><Relationship Id="rId5" Type="http://schemas.openxmlformats.org/officeDocument/2006/relationships/slideLayout" Target="../slideLayouts/slideLayout371.xml"/><Relationship Id="rId15" Type="http://schemas.openxmlformats.org/officeDocument/2006/relationships/slideLayout" Target="../slideLayouts/slideLayout381.xml"/><Relationship Id="rId23" Type="http://schemas.openxmlformats.org/officeDocument/2006/relationships/slideLayout" Target="../slideLayouts/slideLayout389.xml"/><Relationship Id="rId10" Type="http://schemas.openxmlformats.org/officeDocument/2006/relationships/slideLayout" Target="../slideLayouts/slideLayout376.xml"/><Relationship Id="rId19" Type="http://schemas.openxmlformats.org/officeDocument/2006/relationships/slideLayout" Target="../slideLayouts/slideLayout385.xml"/><Relationship Id="rId4" Type="http://schemas.openxmlformats.org/officeDocument/2006/relationships/slideLayout" Target="../slideLayouts/slideLayout370.xml"/><Relationship Id="rId9" Type="http://schemas.openxmlformats.org/officeDocument/2006/relationships/slideLayout" Target="../slideLayouts/slideLayout375.xml"/><Relationship Id="rId14" Type="http://schemas.openxmlformats.org/officeDocument/2006/relationships/slideLayout" Target="../slideLayouts/slideLayout380.xml"/><Relationship Id="rId22" Type="http://schemas.openxmlformats.org/officeDocument/2006/relationships/slideLayout" Target="../slideLayouts/slideLayout388.xml"/><Relationship Id="rId27" Type="http://schemas.openxmlformats.org/officeDocument/2006/relationships/image" Target="../media/image46.em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13" Type="http://schemas.openxmlformats.org/officeDocument/2006/relationships/slideLayout" Target="../slideLayouts/slideLayout404.xml"/><Relationship Id="rId18" Type="http://schemas.openxmlformats.org/officeDocument/2006/relationships/slideLayout" Target="../slideLayouts/slideLayout409.xml"/><Relationship Id="rId26" Type="http://schemas.openxmlformats.org/officeDocument/2006/relationships/slideLayout" Target="../slideLayouts/slideLayout417.xml"/><Relationship Id="rId3" Type="http://schemas.openxmlformats.org/officeDocument/2006/relationships/slideLayout" Target="../slideLayouts/slideLayout394.xml"/><Relationship Id="rId21" Type="http://schemas.openxmlformats.org/officeDocument/2006/relationships/slideLayout" Target="../slideLayouts/slideLayout412.xml"/><Relationship Id="rId7" Type="http://schemas.openxmlformats.org/officeDocument/2006/relationships/slideLayout" Target="../slideLayouts/slideLayout398.xml"/><Relationship Id="rId12" Type="http://schemas.openxmlformats.org/officeDocument/2006/relationships/slideLayout" Target="../slideLayouts/slideLayout403.xml"/><Relationship Id="rId17" Type="http://schemas.openxmlformats.org/officeDocument/2006/relationships/slideLayout" Target="../slideLayouts/slideLayout408.xml"/><Relationship Id="rId25" Type="http://schemas.openxmlformats.org/officeDocument/2006/relationships/slideLayout" Target="../slideLayouts/slideLayout416.xml"/><Relationship Id="rId2" Type="http://schemas.openxmlformats.org/officeDocument/2006/relationships/slideLayout" Target="../slideLayouts/slideLayout393.xml"/><Relationship Id="rId16" Type="http://schemas.openxmlformats.org/officeDocument/2006/relationships/slideLayout" Target="../slideLayouts/slideLayout407.xml"/><Relationship Id="rId20" Type="http://schemas.openxmlformats.org/officeDocument/2006/relationships/slideLayout" Target="../slideLayouts/slideLayout411.xml"/><Relationship Id="rId29" Type="http://schemas.openxmlformats.org/officeDocument/2006/relationships/theme" Target="../theme/theme17.xml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11" Type="http://schemas.openxmlformats.org/officeDocument/2006/relationships/slideLayout" Target="../slideLayouts/slideLayout402.xml"/><Relationship Id="rId24" Type="http://schemas.openxmlformats.org/officeDocument/2006/relationships/slideLayout" Target="../slideLayouts/slideLayout415.xml"/><Relationship Id="rId5" Type="http://schemas.openxmlformats.org/officeDocument/2006/relationships/slideLayout" Target="../slideLayouts/slideLayout396.xml"/><Relationship Id="rId15" Type="http://schemas.openxmlformats.org/officeDocument/2006/relationships/slideLayout" Target="../slideLayouts/slideLayout406.xml"/><Relationship Id="rId23" Type="http://schemas.openxmlformats.org/officeDocument/2006/relationships/slideLayout" Target="../slideLayouts/slideLayout414.xml"/><Relationship Id="rId28" Type="http://schemas.openxmlformats.org/officeDocument/2006/relationships/slideLayout" Target="../slideLayouts/slideLayout419.xml"/><Relationship Id="rId10" Type="http://schemas.openxmlformats.org/officeDocument/2006/relationships/slideLayout" Target="../slideLayouts/slideLayout401.xml"/><Relationship Id="rId19" Type="http://schemas.openxmlformats.org/officeDocument/2006/relationships/slideLayout" Target="../slideLayouts/slideLayout410.xml"/><Relationship Id="rId4" Type="http://schemas.openxmlformats.org/officeDocument/2006/relationships/slideLayout" Target="../slideLayouts/slideLayout395.xml"/><Relationship Id="rId9" Type="http://schemas.openxmlformats.org/officeDocument/2006/relationships/slideLayout" Target="../slideLayouts/slideLayout400.xml"/><Relationship Id="rId14" Type="http://schemas.openxmlformats.org/officeDocument/2006/relationships/slideLayout" Target="../slideLayouts/slideLayout405.xml"/><Relationship Id="rId22" Type="http://schemas.openxmlformats.org/officeDocument/2006/relationships/slideLayout" Target="../slideLayouts/slideLayout413.xml"/><Relationship Id="rId27" Type="http://schemas.openxmlformats.org/officeDocument/2006/relationships/slideLayout" Target="../slideLayouts/slideLayout418.xml"/><Relationship Id="rId30" Type="http://schemas.openxmlformats.org/officeDocument/2006/relationships/image" Target="../media/image46.emf"/></Relationships>
</file>

<file path=ppt/slideMasters/_rels/slideMaster1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2.xml"/><Relationship Id="rId18" Type="http://schemas.openxmlformats.org/officeDocument/2006/relationships/slideLayout" Target="../slideLayouts/slideLayout437.xml"/><Relationship Id="rId26" Type="http://schemas.openxmlformats.org/officeDocument/2006/relationships/slideLayout" Target="../slideLayouts/slideLayout445.xml"/><Relationship Id="rId39" Type="http://schemas.openxmlformats.org/officeDocument/2006/relationships/tags" Target="../tags/tag327.xml"/><Relationship Id="rId21" Type="http://schemas.openxmlformats.org/officeDocument/2006/relationships/slideLayout" Target="../slideLayouts/slideLayout440.xml"/><Relationship Id="rId34" Type="http://schemas.openxmlformats.org/officeDocument/2006/relationships/tags" Target="../tags/tag322.xml"/><Relationship Id="rId42" Type="http://schemas.openxmlformats.org/officeDocument/2006/relationships/tags" Target="../tags/tag330.xml"/><Relationship Id="rId47" Type="http://schemas.openxmlformats.org/officeDocument/2006/relationships/tags" Target="../tags/tag335.xml"/><Relationship Id="rId50" Type="http://schemas.openxmlformats.org/officeDocument/2006/relationships/tags" Target="../tags/tag338.xml"/><Relationship Id="rId55" Type="http://schemas.openxmlformats.org/officeDocument/2006/relationships/tags" Target="../tags/tag343.xml"/><Relationship Id="rId7" Type="http://schemas.openxmlformats.org/officeDocument/2006/relationships/slideLayout" Target="../slideLayouts/slideLayout426.xml"/><Relationship Id="rId2" Type="http://schemas.openxmlformats.org/officeDocument/2006/relationships/slideLayout" Target="../slideLayouts/slideLayout421.xml"/><Relationship Id="rId16" Type="http://schemas.openxmlformats.org/officeDocument/2006/relationships/slideLayout" Target="../slideLayouts/slideLayout435.xml"/><Relationship Id="rId29" Type="http://schemas.openxmlformats.org/officeDocument/2006/relationships/tags" Target="../tags/tag317.xml"/><Relationship Id="rId11" Type="http://schemas.openxmlformats.org/officeDocument/2006/relationships/slideLayout" Target="../slideLayouts/slideLayout430.xml"/><Relationship Id="rId24" Type="http://schemas.openxmlformats.org/officeDocument/2006/relationships/slideLayout" Target="../slideLayouts/slideLayout443.xml"/><Relationship Id="rId32" Type="http://schemas.openxmlformats.org/officeDocument/2006/relationships/tags" Target="../tags/tag320.xml"/><Relationship Id="rId37" Type="http://schemas.openxmlformats.org/officeDocument/2006/relationships/tags" Target="../tags/tag325.xml"/><Relationship Id="rId40" Type="http://schemas.openxmlformats.org/officeDocument/2006/relationships/tags" Target="../tags/tag328.xml"/><Relationship Id="rId45" Type="http://schemas.openxmlformats.org/officeDocument/2006/relationships/tags" Target="../tags/tag333.xml"/><Relationship Id="rId53" Type="http://schemas.openxmlformats.org/officeDocument/2006/relationships/tags" Target="../tags/tag341.xml"/><Relationship Id="rId58" Type="http://schemas.openxmlformats.org/officeDocument/2006/relationships/image" Target="../media/image4.emf"/><Relationship Id="rId5" Type="http://schemas.openxmlformats.org/officeDocument/2006/relationships/slideLayout" Target="../slideLayouts/slideLayout424.xml"/><Relationship Id="rId19" Type="http://schemas.openxmlformats.org/officeDocument/2006/relationships/slideLayout" Target="../slideLayouts/slideLayout438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slideLayout" Target="../slideLayouts/slideLayout433.xml"/><Relationship Id="rId22" Type="http://schemas.openxmlformats.org/officeDocument/2006/relationships/slideLayout" Target="../slideLayouts/slideLayout441.xml"/><Relationship Id="rId27" Type="http://schemas.openxmlformats.org/officeDocument/2006/relationships/slideLayout" Target="../slideLayouts/slideLayout446.xml"/><Relationship Id="rId30" Type="http://schemas.openxmlformats.org/officeDocument/2006/relationships/tags" Target="../tags/tag318.xml"/><Relationship Id="rId35" Type="http://schemas.openxmlformats.org/officeDocument/2006/relationships/tags" Target="../tags/tag323.xml"/><Relationship Id="rId43" Type="http://schemas.openxmlformats.org/officeDocument/2006/relationships/tags" Target="../tags/tag331.xml"/><Relationship Id="rId48" Type="http://schemas.openxmlformats.org/officeDocument/2006/relationships/tags" Target="../tags/tag336.xml"/><Relationship Id="rId56" Type="http://schemas.openxmlformats.org/officeDocument/2006/relationships/tags" Target="../tags/tag344.xml"/><Relationship Id="rId8" Type="http://schemas.openxmlformats.org/officeDocument/2006/relationships/slideLayout" Target="../slideLayouts/slideLayout427.xml"/><Relationship Id="rId51" Type="http://schemas.openxmlformats.org/officeDocument/2006/relationships/tags" Target="../tags/tag339.xml"/><Relationship Id="rId3" Type="http://schemas.openxmlformats.org/officeDocument/2006/relationships/slideLayout" Target="../slideLayouts/slideLayout422.xml"/><Relationship Id="rId12" Type="http://schemas.openxmlformats.org/officeDocument/2006/relationships/slideLayout" Target="../slideLayouts/slideLayout431.xml"/><Relationship Id="rId17" Type="http://schemas.openxmlformats.org/officeDocument/2006/relationships/slideLayout" Target="../slideLayouts/slideLayout436.xml"/><Relationship Id="rId25" Type="http://schemas.openxmlformats.org/officeDocument/2006/relationships/slideLayout" Target="../slideLayouts/slideLayout444.xml"/><Relationship Id="rId33" Type="http://schemas.openxmlformats.org/officeDocument/2006/relationships/tags" Target="../tags/tag321.xml"/><Relationship Id="rId38" Type="http://schemas.openxmlformats.org/officeDocument/2006/relationships/tags" Target="../tags/tag326.xml"/><Relationship Id="rId46" Type="http://schemas.openxmlformats.org/officeDocument/2006/relationships/tags" Target="../tags/tag334.xml"/><Relationship Id="rId59" Type="http://schemas.openxmlformats.org/officeDocument/2006/relationships/image" Target="../media/image1.png"/><Relationship Id="rId20" Type="http://schemas.openxmlformats.org/officeDocument/2006/relationships/slideLayout" Target="../slideLayouts/slideLayout439.xml"/><Relationship Id="rId41" Type="http://schemas.openxmlformats.org/officeDocument/2006/relationships/tags" Target="../tags/tag329.xml"/><Relationship Id="rId54" Type="http://schemas.openxmlformats.org/officeDocument/2006/relationships/tags" Target="../tags/tag342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5" Type="http://schemas.openxmlformats.org/officeDocument/2006/relationships/slideLayout" Target="../slideLayouts/slideLayout434.xml"/><Relationship Id="rId23" Type="http://schemas.openxmlformats.org/officeDocument/2006/relationships/slideLayout" Target="../slideLayouts/slideLayout442.xml"/><Relationship Id="rId28" Type="http://schemas.openxmlformats.org/officeDocument/2006/relationships/theme" Target="../theme/theme18.xml"/><Relationship Id="rId36" Type="http://schemas.openxmlformats.org/officeDocument/2006/relationships/tags" Target="../tags/tag324.xml"/><Relationship Id="rId49" Type="http://schemas.openxmlformats.org/officeDocument/2006/relationships/tags" Target="../tags/tag337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429.xml"/><Relationship Id="rId31" Type="http://schemas.openxmlformats.org/officeDocument/2006/relationships/tags" Target="../tags/tag319.xml"/><Relationship Id="rId44" Type="http://schemas.openxmlformats.org/officeDocument/2006/relationships/tags" Target="../tags/tag332.xml"/><Relationship Id="rId52" Type="http://schemas.openxmlformats.org/officeDocument/2006/relationships/tags" Target="../tags/tag340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59.xml"/><Relationship Id="rId18" Type="http://schemas.openxmlformats.org/officeDocument/2006/relationships/slideLayout" Target="../slideLayouts/slideLayout464.xml"/><Relationship Id="rId26" Type="http://schemas.openxmlformats.org/officeDocument/2006/relationships/slideLayout" Target="../slideLayouts/slideLayout472.xml"/><Relationship Id="rId39" Type="http://schemas.openxmlformats.org/officeDocument/2006/relationships/tags" Target="../tags/tag356.xml"/><Relationship Id="rId21" Type="http://schemas.openxmlformats.org/officeDocument/2006/relationships/slideLayout" Target="../slideLayouts/slideLayout467.xml"/><Relationship Id="rId34" Type="http://schemas.openxmlformats.org/officeDocument/2006/relationships/tags" Target="../tags/tag351.xml"/><Relationship Id="rId42" Type="http://schemas.openxmlformats.org/officeDocument/2006/relationships/tags" Target="../tags/tag359.xml"/><Relationship Id="rId47" Type="http://schemas.openxmlformats.org/officeDocument/2006/relationships/tags" Target="../tags/tag364.xml"/><Relationship Id="rId50" Type="http://schemas.openxmlformats.org/officeDocument/2006/relationships/tags" Target="../tags/tag367.xml"/><Relationship Id="rId55" Type="http://schemas.openxmlformats.org/officeDocument/2006/relationships/tags" Target="../tags/tag372.xml"/><Relationship Id="rId7" Type="http://schemas.openxmlformats.org/officeDocument/2006/relationships/slideLayout" Target="../slideLayouts/slideLayout453.xml"/><Relationship Id="rId2" Type="http://schemas.openxmlformats.org/officeDocument/2006/relationships/slideLayout" Target="../slideLayouts/slideLayout448.xml"/><Relationship Id="rId16" Type="http://schemas.openxmlformats.org/officeDocument/2006/relationships/slideLayout" Target="../slideLayouts/slideLayout462.xml"/><Relationship Id="rId29" Type="http://schemas.openxmlformats.org/officeDocument/2006/relationships/tags" Target="../tags/tag346.xml"/><Relationship Id="rId11" Type="http://schemas.openxmlformats.org/officeDocument/2006/relationships/slideLayout" Target="../slideLayouts/slideLayout457.xml"/><Relationship Id="rId24" Type="http://schemas.openxmlformats.org/officeDocument/2006/relationships/slideLayout" Target="../slideLayouts/slideLayout470.xml"/><Relationship Id="rId32" Type="http://schemas.openxmlformats.org/officeDocument/2006/relationships/tags" Target="../tags/tag349.xml"/><Relationship Id="rId37" Type="http://schemas.openxmlformats.org/officeDocument/2006/relationships/tags" Target="../tags/tag354.xml"/><Relationship Id="rId40" Type="http://schemas.openxmlformats.org/officeDocument/2006/relationships/tags" Target="../tags/tag357.xml"/><Relationship Id="rId45" Type="http://schemas.openxmlformats.org/officeDocument/2006/relationships/tags" Target="../tags/tag362.xml"/><Relationship Id="rId53" Type="http://schemas.openxmlformats.org/officeDocument/2006/relationships/tags" Target="../tags/tag370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451.xml"/><Relationship Id="rId19" Type="http://schemas.openxmlformats.org/officeDocument/2006/relationships/slideLayout" Target="../slideLayouts/slideLayout465.xml"/><Relationship Id="rId4" Type="http://schemas.openxmlformats.org/officeDocument/2006/relationships/slideLayout" Target="../slideLayouts/slideLayout450.xml"/><Relationship Id="rId9" Type="http://schemas.openxmlformats.org/officeDocument/2006/relationships/slideLayout" Target="../slideLayouts/slideLayout455.xml"/><Relationship Id="rId14" Type="http://schemas.openxmlformats.org/officeDocument/2006/relationships/slideLayout" Target="../slideLayouts/slideLayout460.xml"/><Relationship Id="rId22" Type="http://schemas.openxmlformats.org/officeDocument/2006/relationships/slideLayout" Target="../slideLayouts/slideLayout468.xml"/><Relationship Id="rId27" Type="http://schemas.openxmlformats.org/officeDocument/2006/relationships/theme" Target="../theme/theme19.xml"/><Relationship Id="rId30" Type="http://schemas.openxmlformats.org/officeDocument/2006/relationships/tags" Target="../tags/tag347.xml"/><Relationship Id="rId35" Type="http://schemas.openxmlformats.org/officeDocument/2006/relationships/tags" Target="../tags/tag352.xml"/><Relationship Id="rId43" Type="http://schemas.openxmlformats.org/officeDocument/2006/relationships/tags" Target="../tags/tag360.xml"/><Relationship Id="rId48" Type="http://schemas.openxmlformats.org/officeDocument/2006/relationships/tags" Target="../tags/tag365.xml"/><Relationship Id="rId56" Type="http://schemas.openxmlformats.org/officeDocument/2006/relationships/oleObject" Target="../embeddings/oleObject30.bin"/><Relationship Id="rId8" Type="http://schemas.openxmlformats.org/officeDocument/2006/relationships/slideLayout" Target="../slideLayouts/slideLayout454.xml"/><Relationship Id="rId51" Type="http://schemas.openxmlformats.org/officeDocument/2006/relationships/tags" Target="../tags/tag368.xml"/><Relationship Id="rId3" Type="http://schemas.openxmlformats.org/officeDocument/2006/relationships/slideLayout" Target="../slideLayouts/slideLayout449.xml"/><Relationship Id="rId12" Type="http://schemas.openxmlformats.org/officeDocument/2006/relationships/slideLayout" Target="../slideLayouts/slideLayout458.xml"/><Relationship Id="rId17" Type="http://schemas.openxmlformats.org/officeDocument/2006/relationships/slideLayout" Target="../slideLayouts/slideLayout463.xml"/><Relationship Id="rId25" Type="http://schemas.openxmlformats.org/officeDocument/2006/relationships/slideLayout" Target="../slideLayouts/slideLayout471.xml"/><Relationship Id="rId33" Type="http://schemas.openxmlformats.org/officeDocument/2006/relationships/tags" Target="../tags/tag350.xml"/><Relationship Id="rId38" Type="http://schemas.openxmlformats.org/officeDocument/2006/relationships/tags" Target="../tags/tag355.xml"/><Relationship Id="rId46" Type="http://schemas.openxmlformats.org/officeDocument/2006/relationships/tags" Target="../tags/tag363.xml"/><Relationship Id="rId20" Type="http://schemas.openxmlformats.org/officeDocument/2006/relationships/slideLayout" Target="../slideLayouts/slideLayout466.xml"/><Relationship Id="rId41" Type="http://schemas.openxmlformats.org/officeDocument/2006/relationships/tags" Target="../tags/tag358.xml"/><Relationship Id="rId54" Type="http://schemas.openxmlformats.org/officeDocument/2006/relationships/tags" Target="../tags/tag371.xml"/><Relationship Id="rId1" Type="http://schemas.openxmlformats.org/officeDocument/2006/relationships/slideLayout" Target="../slideLayouts/slideLayout447.xml"/><Relationship Id="rId6" Type="http://schemas.openxmlformats.org/officeDocument/2006/relationships/slideLayout" Target="../slideLayouts/slideLayout452.xml"/><Relationship Id="rId15" Type="http://schemas.openxmlformats.org/officeDocument/2006/relationships/slideLayout" Target="../slideLayouts/slideLayout461.xml"/><Relationship Id="rId23" Type="http://schemas.openxmlformats.org/officeDocument/2006/relationships/slideLayout" Target="../slideLayouts/slideLayout469.xml"/><Relationship Id="rId28" Type="http://schemas.openxmlformats.org/officeDocument/2006/relationships/tags" Target="../tags/tag345.xml"/><Relationship Id="rId36" Type="http://schemas.openxmlformats.org/officeDocument/2006/relationships/tags" Target="../tags/tag353.xml"/><Relationship Id="rId49" Type="http://schemas.openxmlformats.org/officeDocument/2006/relationships/tags" Target="../tags/tag366.xml"/><Relationship Id="rId57" Type="http://schemas.openxmlformats.org/officeDocument/2006/relationships/image" Target="../media/image4.emf"/><Relationship Id="rId10" Type="http://schemas.openxmlformats.org/officeDocument/2006/relationships/slideLayout" Target="../slideLayouts/slideLayout456.xml"/><Relationship Id="rId31" Type="http://schemas.openxmlformats.org/officeDocument/2006/relationships/tags" Target="../tags/tag348.xml"/><Relationship Id="rId44" Type="http://schemas.openxmlformats.org/officeDocument/2006/relationships/tags" Target="../tags/tag361.xml"/><Relationship Id="rId52" Type="http://schemas.openxmlformats.org/officeDocument/2006/relationships/tags" Target="../tags/tag36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tags" Target="../tags/tag8.xml"/><Relationship Id="rId21" Type="http://schemas.openxmlformats.org/officeDocument/2006/relationships/slideLayout" Target="../slideLayouts/slideLayout39.xml"/><Relationship Id="rId34" Type="http://schemas.openxmlformats.org/officeDocument/2006/relationships/tags" Target="../tags/tag3.xml"/><Relationship Id="rId42" Type="http://schemas.openxmlformats.org/officeDocument/2006/relationships/tags" Target="../tags/tag11.xml"/><Relationship Id="rId47" Type="http://schemas.openxmlformats.org/officeDocument/2006/relationships/tags" Target="../tags/tag16.xml"/><Relationship Id="rId50" Type="http://schemas.openxmlformats.org/officeDocument/2006/relationships/tags" Target="../tags/tag19.xml"/><Relationship Id="rId55" Type="http://schemas.openxmlformats.org/officeDocument/2006/relationships/tags" Target="../tags/tag24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tags" Target="../tags/tag1.xml"/><Relationship Id="rId37" Type="http://schemas.openxmlformats.org/officeDocument/2006/relationships/tags" Target="../tags/tag6.xml"/><Relationship Id="rId40" Type="http://schemas.openxmlformats.org/officeDocument/2006/relationships/tags" Target="../tags/tag9.xml"/><Relationship Id="rId45" Type="http://schemas.openxmlformats.org/officeDocument/2006/relationships/tags" Target="../tags/tag14.xml"/><Relationship Id="rId53" Type="http://schemas.openxmlformats.org/officeDocument/2006/relationships/tags" Target="../tags/tag22.xml"/><Relationship Id="rId58" Type="http://schemas.openxmlformats.org/officeDocument/2006/relationships/tags" Target="../tags/tag27.xml"/><Relationship Id="rId5" Type="http://schemas.openxmlformats.org/officeDocument/2006/relationships/slideLayout" Target="../slideLayouts/slideLayout23.xml"/><Relationship Id="rId61" Type="http://schemas.openxmlformats.org/officeDocument/2006/relationships/image" Target="../media/image4.emf"/><Relationship Id="rId1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tags" Target="../tags/tag4.xml"/><Relationship Id="rId43" Type="http://schemas.openxmlformats.org/officeDocument/2006/relationships/tags" Target="../tags/tag12.xml"/><Relationship Id="rId48" Type="http://schemas.openxmlformats.org/officeDocument/2006/relationships/tags" Target="../tags/tag17.xml"/><Relationship Id="rId56" Type="http://schemas.openxmlformats.org/officeDocument/2006/relationships/tags" Target="../tags/tag25.xml"/><Relationship Id="rId8" Type="http://schemas.openxmlformats.org/officeDocument/2006/relationships/slideLayout" Target="../slideLayouts/slideLayout26.xml"/><Relationship Id="rId51" Type="http://schemas.openxmlformats.org/officeDocument/2006/relationships/tags" Target="../tags/tag20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tags" Target="../tags/tag2.xml"/><Relationship Id="rId38" Type="http://schemas.openxmlformats.org/officeDocument/2006/relationships/tags" Target="../tags/tag7.xml"/><Relationship Id="rId46" Type="http://schemas.openxmlformats.org/officeDocument/2006/relationships/tags" Target="../tags/tag15.xml"/><Relationship Id="rId59" Type="http://schemas.openxmlformats.org/officeDocument/2006/relationships/tags" Target="../tags/tag28.xml"/><Relationship Id="rId20" Type="http://schemas.openxmlformats.org/officeDocument/2006/relationships/slideLayout" Target="../slideLayouts/slideLayout38.xml"/><Relationship Id="rId41" Type="http://schemas.openxmlformats.org/officeDocument/2006/relationships/tags" Target="../tags/tag10.xml"/><Relationship Id="rId54" Type="http://schemas.openxmlformats.org/officeDocument/2006/relationships/tags" Target="../tags/tag23.xml"/><Relationship Id="rId62" Type="http://schemas.openxmlformats.org/officeDocument/2006/relationships/image" Target="../media/image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tags" Target="../tags/tag5.xml"/><Relationship Id="rId49" Type="http://schemas.openxmlformats.org/officeDocument/2006/relationships/tags" Target="../tags/tag18.xml"/><Relationship Id="rId57" Type="http://schemas.openxmlformats.org/officeDocument/2006/relationships/tags" Target="../tags/tag26.xml"/><Relationship Id="rId10" Type="http://schemas.openxmlformats.org/officeDocument/2006/relationships/slideLayout" Target="../slideLayouts/slideLayout28.xml"/><Relationship Id="rId31" Type="http://schemas.openxmlformats.org/officeDocument/2006/relationships/theme" Target="../theme/theme2.xml"/><Relationship Id="rId44" Type="http://schemas.openxmlformats.org/officeDocument/2006/relationships/tags" Target="../tags/tag13.xml"/><Relationship Id="rId52" Type="http://schemas.openxmlformats.org/officeDocument/2006/relationships/tags" Target="../tags/tag21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20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98.xml"/><Relationship Id="rId21" Type="http://schemas.openxmlformats.org/officeDocument/2006/relationships/slideLayout" Target="../slideLayouts/slideLayout493.xml"/><Relationship Id="rId42" Type="http://schemas.openxmlformats.org/officeDocument/2006/relationships/slideLayout" Target="../slideLayouts/slideLayout514.xml"/><Relationship Id="rId47" Type="http://schemas.openxmlformats.org/officeDocument/2006/relationships/tags" Target="../tags/tag374.xml"/><Relationship Id="rId63" Type="http://schemas.openxmlformats.org/officeDocument/2006/relationships/tags" Target="../tags/tag390.xml"/><Relationship Id="rId68" Type="http://schemas.openxmlformats.org/officeDocument/2006/relationships/tags" Target="../tags/tag395.xml"/><Relationship Id="rId16" Type="http://schemas.openxmlformats.org/officeDocument/2006/relationships/slideLayout" Target="../slideLayouts/slideLayout488.xml"/><Relationship Id="rId11" Type="http://schemas.openxmlformats.org/officeDocument/2006/relationships/slideLayout" Target="../slideLayouts/slideLayout483.xml"/><Relationship Id="rId24" Type="http://schemas.openxmlformats.org/officeDocument/2006/relationships/slideLayout" Target="../slideLayouts/slideLayout496.xml"/><Relationship Id="rId32" Type="http://schemas.openxmlformats.org/officeDocument/2006/relationships/slideLayout" Target="../slideLayouts/slideLayout504.xml"/><Relationship Id="rId37" Type="http://schemas.openxmlformats.org/officeDocument/2006/relationships/slideLayout" Target="../slideLayouts/slideLayout509.xml"/><Relationship Id="rId40" Type="http://schemas.openxmlformats.org/officeDocument/2006/relationships/slideLayout" Target="../slideLayouts/slideLayout512.xml"/><Relationship Id="rId45" Type="http://schemas.openxmlformats.org/officeDocument/2006/relationships/theme" Target="../theme/theme20.xml"/><Relationship Id="rId53" Type="http://schemas.openxmlformats.org/officeDocument/2006/relationships/tags" Target="../tags/tag380.xml"/><Relationship Id="rId58" Type="http://schemas.openxmlformats.org/officeDocument/2006/relationships/tags" Target="../tags/tag385.xml"/><Relationship Id="rId66" Type="http://schemas.openxmlformats.org/officeDocument/2006/relationships/tags" Target="../tags/tag393.xml"/><Relationship Id="rId74" Type="http://schemas.openxmlformats.org/officeDocument/2006/relationships/oleObject" Target="../embeddings/oleObject31.bin"/><Relationship Id="rId5" Type="http://schemas.openxmlformats.org/officeDocument/2006/relationships/slideLayout" Target="../slideLayouts/slideLayout477.xml"/><Relationship Id="rId61" Type="http://schemas.openxmlformats.org/officeDocument/2006/relationships/tags" Target="../tags/tag388.xml"/><Relationship Id="rId19" Type="http://schemas.openxmlformats.org/officeDocument/2006/relationships/slideLayout" Target="../slideLayouts/slideLayout491.xml"/><Relationship Id="rId14" Type="http://schemas.openxmlformats.org/officeDocument/2006/relationships/slideLayout" Target="../slideLayouts/slideLayout486.xml"/><Relationship Id="rId22" Type="http://schemas.openxmlformats.org/officeDocument/2006/relationships/slideLayout" Target="../slideLayouts/slideLayout494.xml"/><Relationship Id="rId27" Type="http://schemas.openxmlformats.org/officeDocument/2006/relationships/slideLayout" Target="../slideLayouts/slideLayout499.xml"/><Relationship Id="rId30" Type="http://schemas.openxmlformats.org/officeDocument/2006/relationships/slideLayout" Target="../slideLayouts/slideLayout502.xml"/><Relationship Id="rId35" Type="http://schemas.openxmlformats.org/officeDocument/2006/relationships/slideLayout" Target="../slideLayouts/slideLayout507.xml"/><Relationship Id="rId43" Type="http://schemas.openxmlformats.org/officeDocument/2006/relationships/slideLayout" Target="../slideLayouts/slideLayout515.xml"/><Relationship Id="rId48" Type="http://schemas.openxmlformats.org/officeDocument/2006/relationships/tags" Target="../tags/tag375.xml"/><Relationship Id="rId56" Type="http://schemas.openxmlformats.org/officeDocument/2006/relationships/tags" Target="../tags/tag383.xml"/><Relationship Id="rId64" Type="http://schemas.openxmlformats.org/officeDocument/2006/relationships/tags" Target="../tags/tag391.xml"/><Relationship Id="rId69" Type="http://schemas.openxmlformats.org/officeDocument/2006/relationships/tags" Target="../tags/tag396.xml"/><Relationship Id="rId77" Type="http://schemas.openxmlformats.org/officeDocument/2006/relationships/image" Target="../media/image3.svg"/><Relationship Id="rId8" Type="http://schemas.openxmlformats.org/officeDocument/2006/relationships/slideLayout" Target="../slideLayouts/slideLayout480.xml"/><Relationship Id="rId51" Type="http://schemas.openxmlformats.org/officeDocument/2006/relationships/tags" Target="../tags/tag378.xml"/><Relationship Id="rId72" Type="http://schemas.openxmlformats.org/officeDocument/2006/relationships/tags" Target="../tags/tag399.xml"/><Relationship Id="rId3" Type="http://schemas.openxmlformats.org/officeDocument/2006/relationships/slideLayout" Target="../slideLayouts/slideLayout475.xml"/><Relationship Id="rId12" Type="http://schemas.openxmlformats.org/officeDocument/2006/relationships/slideLayout" Target="../slideLayouts/slideLayout484.xml"/><Relationship Id="rId17" Type="http://schemas.openxmlformats.org/officeDocument/2006/relationships/slideLayout" Target="../slideLayouts/slideLayout489.xml"/><Relationship Id="rId25" Type="http://schemas.openxmlformats.org/officeDocument/2006/relationships/slideLayout" Target="../slideLayouts/slideLayout497.xml"/><Relationship Id="rId33" Type="http://schemas.openxmlformats.org/officeDocument/2006/relationships/slideLayout" Target="../slideLayouts/slideLayout505.xml"/><Relationship Id="rId38" Type="http://schemas.openxmlformats.org/officeDocument/2006/relationships/slideLayout" Target="../slideLayouts/slideLayout510.xml"/><Relationship Id="rId46" Type="http://schemas.openxmlformats.org/officeDocument/2006/relationships/tags" Target="../tags/tag373.xml"/><Relationship Id="rId59" Type="http://schemas.openxmlformats.org/officeDocument/2006/relationships/tags" Target="../tags/tag386.xml"/><Relationship Id="rId67" Type="http://schemas.openxmlformats.org/officeDocument/2006/relationships/tags" Target="../tags/tag394.xml"/><Relationship Id="rId20" Type="http://schemas.openxmlformats.org/officeDocument/2006/relationships/slideLayout" Target="../slideLayouts/slideLayout492.xml"/><Relationship Id="rId41" Type="http://schemas.openxmlformats.org/officeDocument/2006/relationships/slideLayout" Target="../slideLayouts/slideLayout513.xml"/><Relationship Id="rId54" Type="http://schemas.openxmlformats.org/officeDocument/2006/relationships/tags" Target="../tags/tag381.xml"/><Relationship Id="rId62" Type="http://schemas.openxmlformats.org/officeDocument/2006/relationships/tags" Target="../tags/tag389.xml"/><Relationship Id="rId70" Type="http://schemas.openxmlformats.org/officeDocument/2006/relationships/tags" Target="../tags/tag397.xml"/><Relationship Id="rId75" Type="http://schemas.openxmlformats.org/officeDocument/2006/relationships/image" Target="../media/image30.emf"/><Relationship Id="rId1" Type="http://schemas.openxmlformats.org/officeDocument/2006/relationships/slideLayout" Target="../slideLayouts/slideLayout473.xml"/><Relationship Id="rId6" Type="http://schemas.openxmlformats.org/officeDocument/2006/relationships/slideLayout" Target="../slideLayouts/slideLayout478.xml"/><Relationship Id="rId15" Type="http://schemas.openxmlformats.org/officeDocument/2006/relationships/slideLayout" Target="../slideLayouts/slideLayout487.xml"/><Relationship Id="rId23" Type="http://schemas.openxmlformats.org/officeDocument/2006/relationships/slideLayout" Target="../slideLayouts/slideLayout495.xml"/><Relationship Id="rId28" Type="http://schemas.openxmlformats.org/officeDocument/2006/relationships/slideLayout" Target="../slideLayouts/slideLayout500.xml"/><Relationship Id="rId36" Type="http://schemas.openxmlformats.org/officeDocument/2006/relationships/slideLayout" Target="../slideLayouts/slideLayout508.xml"/><Relationship Id="rId49" Type="http://schemas.openxmlformats.org/officeDocument/2006/relationships/tags" Target="../tags/tag376.xml"/><Relationship Id="rId57" Type="http://schemas.openxmlformats.org/officeDocument/2006/relationships/tags" Target="../tags/tag384.xml"/><Relationship Id="rId10" Type="http://schemas.openxmlformats.org/officeDocument/2006/relationships/slideLayout" Target="../slideLayouts/slideLayout482.xml"/><Relationship Id="rId31" Type="http://schemas.openxmlformats.org/officeDocument/2006/relationships/slideLayout" Target="../slideLayouts/slideLayout503.xml"/><Relationship Id="rId44" Type="http://schemas.openxmlformats.org/officeDocument/2006/relationships/slideLayout" Target="../slideLayouts/slideLayout516.xml"/><Relationship Id="rId52" Type="http://schemas.openxmlformats.org/officeDocument/2006/relationships/tags" Target="../tags/tag379.xml"/><Relationship Id="rId60" Type="http://schemas.openxmlformats.org/officeDocument/2006/relationships/tags" Target="../tags/tag387.xml"/><Relationship Id="rId65" Type="http://schemas.openxmlformats.org/officeDocument/2006/relationships/tags" Target="../tags/tag392.xml"/><Relationship Id="rId73" Type="http://schemas.openxmlformats.org/officeDocument/2006/relationships/tags" Target="../tags/tag400.xml"/><Relationship Id="rId4" Type="http://schemas.openxmlformats.org/officeDocument/2006/relationships/slideLayout" Target="../slideLayouts/slideLayout476.xml"/><Relationship Id="rId9" Type="http://schemas.openxmlformats.org/officeDocument/2006/relationships/slideLayout" Target="../slideLayouts/slideLayout481.xml"/><Relationship Id="rId13" Type="http://schemas.openxmlformats.org/officeDocument/2006/relationships/slideLayout" Target="../slideLayouts/slideLayout485.xml"/><Relationship Id="rId18" Type="http://schemas.openxmlformats.org/officeDocument/2006/relationships/slideLayout" Target="../slideLayouts/slideLayout490.xml"/><Relationship Id="rId39" Type="http://schemas.openxmlformats.org/officeDocument/2006/relationships/slideLayout" Target="../slideLayouts/slideLayout511.xml"/><Relationship Id="rId34" Type="http://schemas.openxmlformats.org/officeDocument/2006/relationships/slideLayout" Target="../slideLayouts/slideLayout506.xml"/><Relationship Id="rId50" Type="http://schemas.openxmlformats.org/officeDocument/2006/relationships/tags" Target="../tags/tag377.xml"/><Relationship Id="rId55" Type="http://schemas.openxmlformats.org/officeDocument/2006/relationships/tags" Target="../tags/tag382.xml"/><Relationship Id="rId76" Type="http://schemas.openxmlformats.org/officeDocument/2006/relationships/image" Target="../media/image2.png"/><Relationship Id="rId7" Type="http://schemas.openxmlformats.org/officeDocument/2006/relationships/slideLayout" Target="../slideLayouts/slideLayout479.xml"/><Relationship Id="rId71" Type="http://schemas.openxmlformats.org/officeDocument/2006/relationships/tags" Target="../tags/tag398.xml"/><Relationship Id="rId2" Type="http://schemas.openxmlformats.org/officeDocument/2006/relationships/slideLayout" Target="../slideLayouts/slideLayout474.xml"/><Relationship Id="rId29" Type="http://schemas.openxmlformats.org/officeDocument/2006/relationships/slideLayout" Target="../slideLayouts/slideLayout50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image" Target="../media/image1.png"/><Relationship Id="rId2" Type="http://schemas.openxmlformats.org/officeDocument/2006/relationships/theme" Target="../theme/theme3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tags" Target="../tags/tag55.xml"/><Relationship Id="rId1" Type="http://schemas.openxmlformats.org/officeDocument/2006/relationships/slideLayout" Target="../slideLayouts/slideLayout49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image" Target="../media/image4.emf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oleObject" Target="../embeddings/oleObject1.bin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8" Type="http://schemas.openxmlformats.org/officeDocument/2006/relationships/tags" Target="../tags/tag3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9" Type="http://schemas.openxmlformats.org/officeDocument/2006/relationships/tags" Target="../tags/tag68.xml"/><Relationship Id="rId21" Type="http://schemas.openxmlformats.org/officeDocument/2006/relationships/slideLayout" Target="../slideLayouts/slideLayout70.xml"/><Relationship Id="rId34" Type="http://schemas.openxmlformats.org/officeDocument/2006/relationships/tags" Target="../tags/tag63.xml"/><Relationship Id="rId42" Type="http://schemas.openxmlformats.org/officeDocument/2006/relationships/tags" Target="../tags/tag71.xml"/><Relationship Id="rId47" Type="http://schemas.openxmlformats.org/officeDocument/2006/relationships/tags" Target="../tags/tag76.xml"/><Relationship Id="rId50" Type="http://schemas.openxmlformats.org/officeDocument/2006/relationships/tags" Target="../tags/tag79.xml"/><Relationship Id="rId55" Type="http://schemas.openxmlformats.org/officeDocument/2006/relationships/tags" Target="../tags/tag84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9" Type="http://schemas.openxmlformats.org/officeDocument/2006/relationships/tags" Target="../tags/tag58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tags" Target="../tags/tag61.xml"/><Relationship Id="rId37" Type="http://schemas.openxmlformats.org/officeDocument/2006/relationships/tags" Target="../tags/tag66.xml"/><Relationship Id="rId40" Type="http://schemas.openxmlformats.org/officeDocument/2006/relationships/tags" Target="../tags/tag69.xml"/><Relationship Id="rId45" Type="http://schemas.openxmlformats.org/officeDocument/2006/relationships/tags" Target="../tags/tag74.xml"/><Relationship Id="rId53" Type="http://schemas.openxmlformats.org/officeDocument/2006/relationships/tags" Target="../tags/tag82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theme" Target="../theme/theme4.xml"/><Relationship Id="rId30" Type="http://schemas.openxmlformats.org/officeDocument/2006/relationships/tags" Target="../tags/tag59.xml"/><Relationship Id="rId35" Type="http://schemas.openxmlformats.org/officeDocument/2006/relationships/tags" Target="../tags/tag64.xml"/><Relationship Id="rId43" Type="http://schemas.openxmlformats.org/officeDocument/2006/relationships/tags" Target="../tags/tag72.xml"/><Relationship Id="rId48" Type="http://schemas.openxmlformats.org/officeDocument/2006/relationships/tags" Target="../tags/tag77.xml"/><Relationship Id="rId56" Type="http://schemas.openxmlformats.org/officeDocument/2006/relationships/oleObject" Target="../embeddings/oleObject2.bin"/><Relationship Id="rId8" Type="http://schemas.openxmlformats.org/officeDocument/2006/relationships/slideLayout" Target="../slideLayouts/slideLayout57.xml"/><Relationship Id="rId51" Type="http://schemas.openxmlformats.org/officeDocument/2006/relationships/tags" Target="../tags/tag80.xml"/><Relationship Id="rId3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tags" Target="../tags/tag62.xml"/><Relationship Id="rId38" Type="http://schemas.openxmlformats.org/officeDocument/2006/relationships/tags" Target="../tags/tag67.xml"/><Relationship Id="rId46" Type="http://schemas.openxmlformats.org/officeDocument/2006/relationships/tags" Target="../tags/tag75.xml"/><Relationship Id="rId20" Type="http://schemas.openxmlformats.org/officeDocument/2006/relationships/slideLayout" Target="../slideLayouts/slideLayout69.xml"/><Relationship Id="rId41" Type="http://schemas.openxmlformats.org/officeDocument/2006/relationships/tags" Target="../tags/tag70.xml"/><Relationship Id="rId54" Type="http://schemas.openxmlformats.org/officeDocument/2006/relationships/tags" Target="../tags/tag83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tags" Target="../tags/tag57.xml"/><Relationship Id="rId36" Type="http://schemas.openxmlformats.org/officeDocument/2006/relationships/tags" Target="../tags/tag65.xml"/><Relationship Id="rId49" Type="http://schemas.openxmlformats.org/officeDocument/2006/relationships/tags" Target="../tags/tag78.xml"/><Relationship Id="rId57" Type="http://schemas.openxmlformats.org/officeDocument/2006/relationships/image" Target="../media/image4.emf"/><Relationship Id="rId10" Type="http://schemas.openxmlformats.org/officeDocument/2006/relationships/slideLayout" Target="../slideLayouts/slideLayout59.xml"/><Relationship Id="rId31" Type="http://schemas.openxmlformats.org/officeDocument/2006/relationships/tags" Target="../tags/tag60.xml"/><Relationship Id="rId44" Type="http://schemas.openxmlformats.org/officeDocument/2006/relationships/tags" Target="../tags/tag73.xml"/><Relationship Id="rId52" Type="http://schemas.openxmlformats.org/officeDocument/2006/relationships/tags" Target="../tags/tag81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17.xml"/><Relationship Id="rId47" Type="http://schemas.openxmlformats.org/officeDocument/2006/relationships/slideLayout" Target="../slideLayouts/slideLayout122.xml"/><Relationship Id="rId63" Type="http://schemas.openxmlformats.org/officeDocument/2006/relationships/tags" Target="../tags/tag85.xml"/><Relationship Id="rId68" Type="http://schemas.openxmlformats.org/officeDocument/2006/relationships/tags" Target="../tags/tag90.xml"/><Relationship Id="rId84" Type="http://schemas.openxmlformats.org/officeDocument/2006/relationships/tags" Target="../tags/tag106.xml"/><Relationship Id="rId89" Type="http://schemas.openxmlformats.org/officeDocument/2006/relationships/image" Target="../media/image2.png"/><Relationship Id="rId1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107.xml"/><Relationship Id="rId37" Type="http://schemas.openxmlformats.org/officeDocument/2006/relationships/slideLayout" Target="../slideLayouts/slideLayout112.xml"/><Relationship Id="rId53" Type="http://schemas.openxmlformats.org/officeDocument/2006/relationships/slideLayout" Target="../slideLayouts/slideLayout128.xml"/><Relationship Id="rId58" Type="http://schemas.openxmlformats.org/officeDocument/2006/relationships/slideLayout" Target="../slideLayouts/slideLayout133.xml"/><Relationship Id="rId74" Type="http://schemas.openxmlformats.org/officeDocument/2006/relationships/tags" Target="../tags/tag96.xml"/><Relationship Id="rId79" Type="http://schemas.openxmlformats.org/officeDocument/2006/relationships/tags" Target="../tags/tag101.xml"/><Relationship Id="rId5" Type="http://schemas.openxmlformats.org/officeDocument/2006/relationships/slideLayout" Target="../slideLayouts/slideLayout80.xml"/><Relationship Id="rId90" Type="http://schemas.openxmlformats.org/officeDocument/2006/relationships/image" Target="../media/image3.svg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43" Type="http://schemas.openxmlformats.org/officeDocument/2006/relationships/slideLayout" Target="../slideLayouts/slideLayout118.xml"/><Relationship Id="rId48" Type="http://schemas.openxmlformats.org/officeDocument/2006/relationships/slideLayout" Target="../slideLayouts/slideLayout123.xml"/><Relationship Id="rId56" Type="http://schemas.openxmlformats.org/officeDocument/2006/relationships/slideLayout" Target="../slideLayouts/slideLayout131.xml"/><Relationship Id="rId64" Type="http://schemas.openxmlformats.org/officeDocument/2006/relationships/tags" Target="../tags/tag86.xml"/><Relationship Id="rId69" Type="http://schemas.openxmlformats.org/officeDocument/2006/relationships/tags" Target="../tags/tag91.xml"/><Relationship Id="rId77" Type="http://schemas.openxmlformats.org/officeDocument/2006/relationships/tags" Target="../tags/tag99.xml"/><Relationship Id="rId8" Type="http://schemas.openxmlformats.org/officeDocument/2006/relationships/slideLayout" Target="../slideLayouts/slideLayout83.xml"/><Relationship Id="rId51" Type="http://schemas.openxmlformats.org/officeDocument/2006/relationships/slideLayout" Target="../slideLayouts/slideLayout126.xml"/><Relationship Id="rId72" Type="http://schemas.openxmlformats.org/officeDocument/2006/relationships/tags" Target="../tags/tag94.xml"/><Relationship Id="rId80" Type="http://schemas.openxmlformats.org/officeDocument/2006/relationships/tags" Target="../tags/tag102.xml"/><Relationship Id="rId85" Type="http://schemas.openxmlformats.org/officeDocument/2006/relationships/tags" Target="../tags/tag107.xml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slideLayout" Target="../slideLayouts/slideLayout113.xml"/><Relationship Id="rId46" Type="http://schemas.openxmlformats.org/officeDocument/2006/relationships/slideLayout" Target="../slideLayouts/slideLayout121.xml"/><Relationship Id="rId59" Type="http://schemas.openxmlformats.org/officeDocument/2006/relationships/slideLayout" Target="../slideLayouts/slideLayout134.xml"/><Relationship Id="rId67" Type="http://schemas.openxmlformats.org/officeDocument/2006/relationships/tags" Target="../tags/tag89.xml"/><Relationship Id="rId20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16.xml"/><Relationship Id="rId54" Type="http://schemas.openxmlformats.org/officeDocument/2006/relationships/slideLayout" Target="../slideLayouts/slideLayout129.xml"/><Relationship Id="rId62" Type="http://schemas.openxmlformats.org/officeDocument/2006/relationships/theme" Target="../theme/theme5.xml"/><Relationship Id="rId70" Type="http://schemas.openxmlformats.org/officeDocument/2006/relationships/tags" Target="../tags/tag92.xml"/><Relationship Id="rId75" Type="http://schemas.openxmlformats.org/officeDocument/2006/relationships/tags" Target="../tags/tag97.xml"/><Relationship Id="rId83" Type="http://schemas.openxmlformats.org/officeDocument/2006/relationships/tags" Target="../tags/tag105.xml"/><Relationship Id="rId88" Type="http://schemas.openxmlformats.org/officeDocument/2006/relationships/tags" Target="../tags/tag110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slideLayout" Target="../slideLayouts/slideLayout111.xml"/><Relationship Id="rId49" Type="http://schemas.openxmlformats.org/officeDocument/2006/relationships/slideLayout" Target="../slideLayouts/slideLayout124.xml"/><Relationship Id="rId57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106.xml"/><Relationship Id="rId44" Type="http://schemas.openxmlformats.org/officeDocument/2006/relationships/slideLayout" Target="../slideLayouts/slideLayout119.xml"/><Relationship Id="rId52" Type="http://schemas.openxmlformats.org/officeDocument/2006/relationships/slideLayout" Target="../slideLayouts/slideLayout127.xml"/><Relationship Id="rId60" Type="http://schemas.openxmlformats.org/officeDocument/2006/relationships/slideLayout" Target="../slideLayouts/slideLayout135.xml"/><Relationship Id="rId65" Type="http://schemas.openxmlformats.org/officeDocument/2006/relationships/tags" Target="../tags/tag87.xml"/><Relationship Id="rId73" Type="http://schemas.openxmlformats.org/officeDocument/2006/relationships/tags" Target="../tags/tag95.xml"/><Relationship Id="rId78" Type="http://schemas.openxmlformats.org/officeDocument/2006/relationships/tags" Target="../tags/tag100.xml"/><Relationship Id="rId81" Type="http://schemas.openxmlformats.org/officeDocument/2006/relationships/tags" Target="../tags/tag103.xml"/><Relationship Id="rId86" Type="http://schemas.openxmlformats.org/officeDocument/2006/relationships/tags" Target="../tags/tag108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39" Type="http://schemas.openxmlformats.org/officeDocument/2006/relationships/slideLayout" Target="../slideLayouts/slideLayout114.xml"/><Relationship Id="rId34" Type="http://schemas.openxmlformats.org/officeDocument/2006/relationships/slideLayout" Target="../slideLayouts/slideLayout109.xml"/><Relationship Id="rId50" Type="http://schemas.openxmlformats.org/officeDocument/2006/relationships/slideLayout" Target="../slideLayouts/slideLayout125.xml"/><Relationship Id="rId55" Type="http://schemas.openxmlformats.org/officeDocument/2006/relationships/slideLayout" Target="../slideLayouts/slideLayout130.xml"/><Relationship Id="rId76" Type="http://schemas.openxmlformats.org/officeDocument/2006/relationships/tags" Target="../tags/tag98.xml"/><Relationship Id="rId7" Type="http://schemas.openxmlformats.org/officeDocument/2006/relationships/slideLayout" Target="../slideLayouts/slideLayout82.xml"/><Relationship Id="rId71" Type="http://schemas.openxmlformats.org/officeDocument/2006/relationships/tags" Target="../tags/tag93.xml"/><Relationship Id="rId2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15.xml"/><Relationship Id="rId45" Type="http://schemas.openxmlformats.org/officeDocument/2006/relationships/slideLayout" Target="../slideLayouts/slideLayout120.xml"/><Relationship Id="rId66" Type="http://schemas.openxmlformats.org/officeDocument/2006/relationships/tags" Target="../tags/tag88.xml"/><Relationship Id="rId87" Type="http://schemas.openxmlformats.org/officeDocument/2006/relationships/tags" Target="../tags/tag109.xml"/><Relationship Id="rId61" Type="http://schemas.openxmlformats.org/officeDocument/2006/relationships/slideLayout" Target="../slideLayouts/slideLayout136.xml"/><Relationship Id="rId82" Type="http://schemas.openxmlformats.org/officeDocument/2006/relationships/tags" Target="../tags/tag104.xml"/><Relationship Id="rId19" Type="http://schemas.openxmlformats.org/officeDocument/2006/relationships/slideLayout" Target="../slideLayouts/slideLayout94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57.xml"/><Relationship Id="rId42" Type="http://schemas.openxmlformats.org/officeDocument/2006/relationships/slideLayout" Target="../slideLayouts/slideLayout178.xml"/><Relationship Id="rId47" Type="http://schemas.openxmlformats.org/officeDocument/2006/relationships/tags" Target="../tags/tag115.xml"/><Relationship Id="rId63" Type="http://schemas.openxmlformats.org/officeDocument/2006/relationships/tags" Target="../tags/tag131.xml"/><Relationship Id="rId68" Type="http://schemas.openxmlformats.org/officeDocument/2006/relationships/tags" Target="../tags/tag136.xml"/><Relationship Id="rId1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60.xml"/><Relationship Id="rId32" Type="http://schemas.openxmlformats.org/officeDocument/2006/relationships/slideLayout" Target="../slideLayouts/slideLayout168.xml"/><Relationship Id="rId37" Type="http://schemas.openxmlformats.org/officeDocument/2006/relationships/slideLayout" Target="../slideLayouts/slideLayout173.xml"/><Relationship Id="rId40" Type="http://schemas.openxmlformats.org/officeDocument/2006/relationships/slideLayout" Target="../slideLayouts/slideLayout176.xml"/><Relationship Id="rId45" Type="http://schemas.openxmlformats.org/officeDocument/2006/relationships/theme" Target="../theme/theme6.xml"/><Relationship Id="rId53" Type="http://schemas.openxmlformats.org/officeDocument/2006/relationships/tags" Target="../tags/tag121.xml"/><Relationship Id="rId58" Type="http://schemas.openxmlformats.org/officeDocument/2006/relationships/tags" Target="../tags/tag126.xml"/><Relationship Id="rId66" Type="http://schemas.openxmlformats.org/officeDocument/2006/relationships/tags" Target="../tags/tag134.xml"/><Relationship Id="rId74" Type="http://schemas.openxmlformats.org/officeDocument/2006/relationships/oleObject" Target="../embeddings/oleObject5.bin"/><Relationship Id="rId5" Type="http://schemas.openxmlformats.org/officeDocument/2006/relationships/slideLayout" Target="../slideLayouts/slideLayout141.xml"/><Relationship Id="rId61" Type="http://schemas.openxmlformats.org/officeDocument/2006/relationships/tags" Target="../tags/tag129.xml"/><Relationship Id="rId1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slideLayout" Target="../slideLayouts/slideLayout163.xml"/><Relationship Id="rId30" Type="http://schemas.openxmlformats.org/officeDocument/2006/relationships/slideLayout" Target="../slideLayouts/slideLayout166.xml"/><Relationship Id="rId35" Type="http://schemas.openxmlformats.org/officeDocument/2006/relationships/slideLayout" Target="../slideLayouts/slideLayout171.xml"/><Relationship Id="rId43" Type="http://schemas.openxmlformats.org/officeDocument/2006/relationships/slideLayout" Target="../slideLayouts/slideLayout179.xml"/><Relationship Id="rId48" Type="http://schemas.openxmlformats.org/officeDocument/2006/relationships/tags" Target="../tags/tag116.xml"/><Relationship Id="rId56" Type="http://schemas.openxmlformats.org/officeDocument/2006/relationships/tags" Target="../tags/tag124.xml"/><Relationship Id="rId64" Type="http://schemas.openxmlformats.org/officeDocument/2006/relationships/tags" Target="../tags/tag132.xml"/><Relationship Id="rId69" Type="http://schemas.openxmlformats.org/officeDocument/2006/relationships/tags" Target="../tags/tag137.xml"/><Relationship Id="rId77" Type="http://schemas.openxmlformats.org/officeDocument/2006/relationships/image" Target="../media/image3.svg"/><Relationship Id="rId8" Type="http://schemas.openxmlformats.org/officeDocument/2006/relationships/slideLayout" Target="../slideLayouts/slideLayout144.xml"/><Relationship Id="rId51" Type="http://schemas.openxmlformats.org/officeDocument/2006/relationships/tags" Target="../tags/tag119.xml"/><Relationship Id="rId72" Type="http://schemas.openxmlformats.org/officeDocument/2006/relationships/tags" Target="../tags/tag140.xml"/><Relationship Id="rId3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slideLayout" Target="../slideLayouts/slideLayout161.xml"/><Relationship Id="rId33" Type="http://schemas.openxmlformats.org/officeDocument/2006/relationships/slideLayout" Target="../slideLayouts/slideLayout169.xml"/><Relationship Id="rId38" Type="http://schemas.openxmlformats.org/officeDocument/2006/relationships/slideLayout" Target="../slideLayouts/slideLayout174.xml"/><Relationship Id="rId46" Type="http://schemas.openxmlformats.org/officeDocument/2006/relationships/tags" Target="../tags/tag114.xml"/><Relationship Id="rId59" Type="http://schemas.openxmlformats.org/officeDocument/2006/relationships/tags" Target="../tags/tag127.xml"/><Relationship Id="rId67" Type="http://schemas.openxmlformats.org/officeDocument/2006/relationships/tags" Target="../tags/tag135.xml"/><Relationship Id="rId20" Type="http://schemas.openxmlformats.org/officeDocument/2006/relationships/slideLayout" Target="../slideLayouts/slideLayout156.xml"/><Relationship Id="rId41" Type="http://schemas.openxmlformats.org/officeDocument/2006/relationships/slideLayout" Target="../slideLayouts/slideLayout177.xml"/><Relationship Id="rId54" Type="http://schemas.openxmlformats.org/officeDocument/2006/relationships/tags" Target="../tags/tag122.xml"/><Relationship Id="rId62" Type="http://schemas.openxmlformats.org/officeDocument/2006/relationships/tags" Target="../tags/tag130.xml"/><Relationship Id="rId70" Type="http://schemas.openxmlformats.org/officeDocument/2006/relationships/tags" Target="../tags/tag138.xml"/><Relationship Id="rId75" Type="http://schemas.openxmlformats.org/officeDocument/2006/relationships/image" Target="../media/image30.emf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1.xml"/><Relationship Id="rId23" Type="http://schemas.openxmlformats.org/officeDocument/2006/relationships/slideLayout" Target="../slideLayouts/slideLayout159.xml"/><Relationship Id="rId28" Type="http://schemas.openxmlformats.org/officeDocument/2006/relationships/slideLayout" Target="../slideLayouts/slideLayout164.xml"/><Relationship Id="rId36" Type="http://schemas.openxmlformats.org/officeDocument/2006/relationships/slideLayout" Target="../slideLayouts/slideLayout172.xml"/><Relationship Id="rId49" Type="http://schemas.openxmlformats.org/officeDocument/2006/relationships/tags" Target="../tags/tag117.xml"/><Relationship Id="rId57" Type="http://schemas.openxmlformats.org/officeDocument/2006/relationships/tags" Target="../tags/tag125.xml"/><Relationship Id="rId10" Type="http://schemas.openxmlformats.org/officeDocument/2006/relationships/slideLayout" Target="../slideLayouts/slideLayout146.xml"/><Relationship Id="rId31" Type="http://schemas.openxmlformats.org/officeDocument/2006/relationships/slideLayout" Target="../slideLayouts/slideLayout167.xml"/><Relationship Id="rId44" Type="http://schemas.openxmlformats.org/officeDocument/2006/relationships/slideLayout" Target="../slideLayouts/slideLayout180.xml"/><Relationship Id="rId52" Type="http://schemas.openxmlformats.org/officeDocument/2006/relationships/tags" Target="../tags/tag120.xml"/><Relationship Id="rId60" Type="http://schemas.openxmlformats.org/officeDocument/2006/relationships/tags" Target="../tags/tag128.xml"/><Relationship Id="rId65" Type="http://schemas.openxmlformats.org/officeDocument/2006/relationships/tags" Target="../tags/tag133.xml"/><Relationship Id="rId73" Type="http://schemas.openxmlformats.org/officeDocument/2006/relationships/tags" Target="../tags/tag141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39" Type="http://schemas.openxmlformats.org/officeDocument/2006/relationships/slideLayout" Target="../slideLayouts/slideLayout175.xml"/><Relationship Id="rId34" Type="http://schemas.openxmlformats.org/officeDocument/2006/relationships/slideLayout" Target="../slideLayouts/slideLayout170.xml"/><Relationship Id="rId50" Type="http://schemas.openxmlformats.org/officeDocument/2006/relationships/tags" Target="../tags/tag118.xml"/><Relationship Id="rId55" Type="http://schemas.openxmlformats.org/officeDocument/2006/relationships/tags" Target="../tags/tag123.xml"/><Relationship Id="rId76" Type="http://schemas.openxmlformats.org/officeDocument/2006/relationships/image" Target="../media/image2.png"/><Relationship Id="rId7" Type="http://schemas.openxmlformats.org/officeDocument/2006/relationships/slideLayout" Target="../slideLayouts/slideLayout143.xml"/><Relationship Id="rId71" Type="http://schemas.openxmlformats.org/officeDocument/2006/relationships/tags" Target="../tags/tag139.xml"/><Relationship Id="rId2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65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06.xml"/><Relationship Id="rId21" Type="http://schemas.openxmlformats.org/officeDocument/2006/relationships/slideLayout" Target="../slideLayouts/slideLayout201.xml"/><Relationship Id="rId42" Type="http://schemas.openxmlformats.org/officeDocument/2006/relationships/slideLayout" Target="../slideLayouts/slideLayout222.xml"/><Relationship Id="rId47" Type="http://schemas.openxmlformats.org/officeDocument/2006/relationships/theme" Target="../theme/theme7.xml"/><Relationship Id="rId63" Type="http://schemas.openxmlformats.org/officeDocument/2006/relationships/tags" Target="../tags/tag177.xml"/><Relationship Id="rId68" Type="http://schemas.openxmlformats.org/officeDocument/2006/relationships/tags" Target="../tags/tag182.xml"/><Relationship Id="rId1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191.xml"/><Relationship Id="rId24" Type="http://schemas.openxmlformats.org/officeDocument/2006/relationships/slideLayout" Target="../slideLayouts/slideLayout204.xml"/><Relationship Id="rId32" Type="http://schemas.openxmlformats.org/officeDocument/2006/relationships/slideLayout" Target="../slideLayouts/slideLayout212.xml"/><Relationship Id="rId37" Type="http://schemas.openxmlformats.org/officeDocument/2006/relationships/slideLayout" Target="../slideLayouts/slideLayout217.xml"/><Relationship Id="rId40" Type="http://schemas.openxmlformats.org/officeDocument/2006/relationships/slideLayout" Target="../slideLayouts/slideLayout220.xml"/><Relationship Id="rId45" Type="http://schemas.openxmlformats.org/officeDocument/2006/relationships/slideLayout" Target="../slideLayouts/slideLayout225.xml"/><Relationship Id="rId53" Type="http://schemas.openxmlformats.org/officeDocument/2006/relationships/tags" Target="../tags/tag167.xml"/><Relationship Id="rId58" Type="http://schemas.openxmlformats.org/officeDocument/2006/relationships/tags" Target="../tags/tag172.xml"/><Relationship Id="rId66" Type="http://schemas.openxmlformats.org/officeDocument/2006/relationships/tags" Target="../tags/tag180.xml"/><Relationship Id="rId74" Type="http://schemas.openxmlformats.org/officeDocument/2006/relationships/tags" Target="../tags/tag188.xml"/><Relationship Id="rId79" Type="http://schemas.openxmlformats.org/officeDocument/2006/relationships/image" Target="../media/image3.svg"/><Relationship Id="rId5" Type="http://schemas.openxmlformats.org/officeDocument/2006/relationships/slideLayout" Target="../slideLayouts/slideLayout185.xml"/><Relationship Id="rId61" Type="http://schemas.openxmlformats.org/officeDocument/2006/relationships/tags" Target="../tags/tag175.xml"/><Relationship Id="rId19" Type="http://schemas.openxmlformats.org/officeDocument/2006/relationships/slideLayout" Target="../slideLayouts/slideLayout199.xml"/><Relationship Id="rId14" Type="http://schemas.openxmlformats.org/officeDocument/2006/relationships/slideLayout" Target="../slideLayouts/slideLayout194.xml"/><Relationship Id="rId22" Type="http://schemas.openxmlformats.org/officeDocument/2006/relationships/slideLayout" Target="../slideLayouts/slideLayout202.xml"/><Relationship Id="rId27" Type="http://schemas.openxmlformats.org/officeDocument/2006/relationships/slideLayout" Target="../slideLayouts/slideLayout207.xml"/><Relationship Id="rId30" Type="http://schemas.openxmlformats.org/officeDocument/2006/relationships/slideLayout" Target="../slideLayouts/slideLayout210.xml"/><Relationship Id="rId35" Type="http://schemas.openxmlformats.org/officeDocument/2006/relationships/slideLayout" Target="../slideLayouts/slideLayout215.xml"/><Relationship Id="rId43" Type="http://schemas.openxmlformats.org/officeDocument/2006/relationships/slideLayout" Target="../slideLayouts/slideLayout223.xml"/><Relationship Id="rId48" Type="http://schemas.openxmlformats.org/officeDocument/2006/relationships/tags" Target="../tags/tag162.xml"/><Relationship Id="rId56" Type="http://schemas.openxmlformats.org/officeDocument/2006/relationships/tags" Target="../tags/tag170.xml"/><Relationship Id="rId64" Type="http://schemas.openxmlformats.org/officeDocument/2006/relationships/tags" Target="../tags/tag178.xml"/><Relationship Id="rId69" Type="http://schemas.openxmlformats.org/officeDocument/2006/relationships/tags" Target="../tags/tag183.xml"/><Relationship Id="rId77" Type="http://schemas.openxmlformats.org/officeDocument/2006/relationships/image" Target="../media/image30.emf"/><Relationship Id="rId8" Type="http://schemas.openxmlformats.org/officeDocument/2006/relationships/slideLayout" Target="../slideLayouts/slideLayout188.xml"/><Relationship Id="rId51" Type="http://schemas.openxmlformats.org/officeDocument/2006/relationships/tags" Target="../tags/tag165.xml"/><Relationship Id="rId72" Type="http://schemas.openxmlformats.org/officeDocument/2006/relationships/tags" Target="../tags/tag186.xml"/><Relationship Id="rId3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7.xml"/><Relationship Id="rId25" Type="http://schemas.openxmlformats.org/officeDocument/2006/relationships/slideLayout" Target="../slideLayouts/slideLayout205.xml"/><Relationship Id="rId33" Type="http://schemas.openxmlformats.org/officeDocument/2006/relationships/slideLayout" Target="../slideLayouts/slideLayout213.xml"/><Relationship Id="rId38" Type="http://schemas.openxmlformats.org/officeDocument/2006/relationships/slideLayout" Target="../slideLayouts/slideLayout218.xml"/><Relationship Id="rId46" Type="http://schemas.openxmlformats.org/officeDocument/2006/relationships/slideLayout" Target="../slideLayouts/slideLayout226.xml"/><Relationship Id="rId59" Type="http://schemas.openxmlformats.org/officeDocument/2006/relationships/tags" Target="../tags/tag173.xml"/><Relationship Id="rId67" Type="http://schemas.openxmlformats.org/officeDocument/2006/relationships/tags" Target="../tags/tag181.xml"/><Relationship Id="rId20" Type="http://schemas.openxmlformats.org/officeDocument/2006/relationships/slideLayout" Target="../slideLayouts/slideLayout200.xml"/><Relationship Id="rId41" Type="http://schemas.openxmlformats.org/officeDocument/2006/relationships/slideLayout" Target="../slideLayouts/slideLayout221.xml"/><Relationship Id="rId54" Type="http://schemas.openxmlformats.org/officeDocument/2006/relationships/tags" Target="../tags/tag168.xml"/><Relationship Id="rId62" Type="http://schemas.openxmlformats.org/officeDocument/2006/relationships/tags" Target="../tags/tag176.xml"/><Relationship Id="rId70" Type="http://schemas.openxmlformats.org/officeDocument/2006/relationships/tags" Target="../tags/tag184.xml"/><Relationship Id="rId75" Type="http://schemas.openxmlformats.org/officeDocument/2006/relationships/tags" Target="../tags/tag189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5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03.xml"/><Relationship Id="rId28" Type="http://schemas.openxmlformats.org/officeDocument/2006/relationships/slideLayout" Target="../slideLayouts/slideLayout208.xml"/><Relationship Id="rId36" Type="http://schemas.openxmlformats.org/officeDocument/2006/relationships/slideLayout" Target="../slideLayouts/slideLayout216.xml"/><Relationship Id="rId49" Type="http://schemas.openxmlformats.org/officeDocument/2006/relationships/tags" Target="../tags/tag163.xml"/><Relationship Id="rId57" Type="http://schemas.openxmlformats.org/officeDocument/2006/relationships/tags" Target="../tags/tag171.xml"/><Relationship Id="rId10" Type="http://schemas.openxmlformats.org/officeDocument/2006/relationships/slideLayout" Target="../slideLayouts/slideLayout190.xml"/><Relationship Id="rId31" Type="http://schemas.openxmlformats.org/officeDocument/2006/relationships/slideLayout" Target="../slideLayouts/slideLayout211.xml"/><Relationship Id="rId44" Type="http://schemas.openxmlformats.org/officeDocument/2006/relationships/slideLayout" Target="../slideLayouts/slideLayout224.xml"/><Relationship Id="rId52" Type="http://schemas.openxmlformats.org/officeDocument/2006/relationships/tags" Target="../tags/tag166.xml"/><Relationship Id="rId60" Type="http://schemas.openxmlformats.org/officeDocument/2006/relationships/tags" Target="../tags/tag174.xml"/><Relationship Id="rId65" Type="http://schemas.openxmlformats.org/officeDocument/2006/relationships/tags" Target="../tags/tag179.xml"/><Relationship Id="rId73" Type="http://schemas.openxmlformats.org/officeDocument/2006/relationships/tags" Target="../tags/tag187.xml"/><Relationship Id="rId78" Type="http://schemas.openxmlformats.org/officeDocument/2006/relationships/image" Target="../media/image2.png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3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8.xml"/><Relationship Id="rId39" Type="http://schemas.openxmlformats.org/officeDocument/2006/relationships/slideLayout" Target="../slideLayouts/slideLayout219.xml"/><Relationship Id="rId34" Type="http://schemas.openxmlformats.org/officeDocument/2006/relationships/slideLayout" Target="../slideLayouts/slideLayout214.xml"/><Relationship Id="rId50" Type="http://schemas.openxmlformats.org/officeDocument/2006/relationships/tags" Target="../tags/tag164.xml"/><Relationship Id="rId55" Type="http://schemas.openxmlformats.org/officeDocument/2006/relationships/tags" Target="../tags/tag169.xml"/><Relationship Id="rId76" Type="http://schemas.openxmlformats.org/officeDocument/2006/relationships/oleObject" Target="../embeddings/oleObject16.bin"/><Relationship Id="rId7" Type="http://schemas.openxmlformats.org/officeDocument/2006/relationships/slideLayout" Target="../slideLayouts/slideLayout187.xml"/><Relationship Id="rId71" Type="http://schemas.openxmlformats.org/officeDocument/2006/relationships/tags" Target="../tags/tag185.xml"/><Relationship Id="rId2" Type="http://schemas.openxmlformats.org/officeDocument/2006/relationships/slideLayout" Target="../slideLayouts/slideLayout182.xml"/><Relationship Id="rId29" Type="http://schemas.openxmlformats.org/officeDocument/2006/relationships/slideLayout" Target="../slideLayouts/slideLayout20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36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60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849438"/>
            <a:ext cx="11112002" cy="4468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971387D7-7ACA-E3FB-24C5-8626B8880C0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71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80" r:id="rId5"/>
    <p:sldLayoutId id="2147483788" r:id="rId6"/>
    <p:sldLayoutId id="2147483789" r:id="rId7"/>
    <p:sldLayoutId id="2147483786" r:id="rId8"/>
    <p:sldLayoutId id="2147483784" r:id="rId9"/>
    <p:sldLayoutId id="2147483783" r:id="rId10"/>
    <p:sldLayoutId id="2147483785" r:id="rId11"/>
    <p:sldLayoutId id="2147483779" r:id="rId12"/>
    <p:sldLayoutId id="2147483781" r:id="rId13"/>
    <p:sldLayoutId id="2147483782" r:id="rId14"/>
    <p:sldLayoutId id="2147483773" r:id="rId15"/>
    <p:sldLayoutId id="2147483698" r:id="rId16"/>
    <p:sldLayoutId id="2147483696" r:id="rId17"/>
    <p:sldLayoutId id="2147483787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ctr" defTabSz="914400" rtl="0" eaLnBrk="1" latinLnBrk="0" hangingPunct="1">
        <a:lnSpc>
          <a:spcPct val="84000"/>
        </a:lnSpc>
        <a:spcBef>
          <a:spcPct val="0"/>
        </a:spcBef>
        <a:buNone/>
        <a:defRPr sz="32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130175" indent="-130175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269875" indent="-1397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4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9757117E-1B41-4E6B-9489-1BF29665FDC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0EB60F15-F48D-507E-0DE4-6D5540665676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35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4FECC8-EB1D-46EB-B1C9-0FD19AEEBD0B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9757117E-1B41-4E6B-9489-1BF29665FDC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12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  <p:sldLayoutId id="2147484058" r:id="rId19"/>
    <p:sldLayoutId id="2147484059" r:id="rId20"/>
    <p:sldLayoutId id="2147484060" r:id="rId21"/>
    <p:sldLayoutId id="2147484061" r:id="rId22"/>
    <p:sldLayoutId id="2147484062" r:id="rId23"/>
    <p:sldLayoutId id="2147484063" r:id="rId24"/>
    <p:sldLayoutId id="2147484065" r:id="rId25"/>
    <p:sldLayoutId id="2147484067" r:id="rId26"/>
    <p:sldLayoutId id="2147484069" r:id="rId27"/>
    <p:sldLayoutId id="2147484070" r:id="rId28"/>
    <p:sldLayoutId id="2147484071" r:id="rId29"/>
    <p:sldLayoutId id="2147484072" r:id="rId30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60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849438"/>
            <a:ext cx="11112002" cy="4468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D6AE1AC5-D857-4CA5-9D9D-DC2EB8CCF7A6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7349" y="6318000"/>
            <a:ext cx="1171688" cy="56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507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4085" r:id="rId12"/>
    <p:sldLayoutId id="2147484086" r:id="rId13"/>
    <p:sldLayoutId id="2147484087" r:id="rId14"/>
    <p:sldLayoutId id="2147484088" r:id="rId15"/>
    <p:sldLayoutId id="2147484089" r:id="rId16"/>
    <p:sldLayoutId id="2147484090" r:id="rId17"/>
    <p:sldLayoutId id="2147484091" r:id="rId18"/>
    <p:sldLayoutId id="2147484092" r:id="rId19"/>
    <p:sldLayoutId id="2147484093" r:id="rId20"/>
    <p:sldLayoutId id="2147484094" r:id="rId21"/>
    <p:sldLayoutId id="2147484096" r:id="rId22"/>
    <p:sldLayoutId id="2147484114" r:id="rId23"/>
    <p:sldLayoutId id="2147484331" r:id="rId24"/>
  </p:sldLayoutIdLst>
  <p:hf hdr="0" ftr="0"/>
  <p:txStyles>
    <p:titleStyle>
      <a:lvl1pPr algn="ctr" defTabSz="914400" rtl="0" eaLnBrk="1" latinLnBrk="0" hangingPunct="1">
        <a:lnSpc>
          <a:spcPct val="84000"/>
        </a:lnSpc>
        <a:spcBef>
          <a:spcPct val="0"/>
        </a:spcBef>
        <a:buNone/>
        <a:defRPr sz="32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130175" indent="-130175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269875" indent="-1397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4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4FECC8-EB1D-46EB-B1C9-0FD19AEEBD0B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9757117E-1B41-4E6B-9489-1BF29665FDC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0950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8" r:id="rId1"/>
    <p:sldLayoutId id="2147484099" r:id="rId2"/>
    <p:sldLayoutId id="2147484100" r:id="rId3"/>
    <p:sldLayoutId id="2147484101" r:id="rId4"/>
    <p:sldLayoutId id="2147484102" r:id="rId5"/>
    <p:sldLayoutId id="2147484103" r:id="rId6"/>
    <p:sldLayoutId id="2147484104" r:id="rId7"/>
    <p:sldLayoutId id="2147484105" r:id="rId8"/>
    <p:sldLayoutId id="2147484106" r:id="rId9"/>
    <p:sldLayoutId id="2147484108" r:id="rId10"/>
    <p:sldLayoutId id="2147484109" r:id="rId11"/>
    <p:sldLayoutId id="2147484111" r:id="rId12"/>
    <p:sldLayoutId id="2147484112" r:id="rId13"/>
    <p:sldLayoutId id="2147484113" r:id="rId14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C738F692-D1D2-46C5-B656-51FBCED5CC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21427919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256" imgH="256" progId="TCLayout.ActiveDocument.1">
                  <p:embed/>
                </p:oleObj>
              </mc:Choice>
              <mc:Fallback>
                <p:oleObj name="think-cell Slide" r:id="rId56" imgW="256" imgH="256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C738F692-D1D2-46C5-B656-51FBCED5CC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083A3FDD-E131-4285-9AF2-9E8F86F52F62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7" y="1800001"/>
            <a:ext cx="11112003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76D7D581-8573-D547-8559-1ABD96622DDE}" type="datetime4">
              <a:rPr lang="en-US" smtClean="0"/>
              <a:t>September 13, 2023</a:t>
            </a:fld>
            <a:endParaRPr lang="en-GB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Afbeelding 36">
            <a:extLst>
              <a:ext uri="{FF2B5EF4-FFF2-40B4-BE49-F238E27FC236}">
                <a16:creationId xmlns:a16="http://schemas.microsoft.com/office/drawing/2014/main" id="{A995A883-CA23-47F6-BECA-26AE75FEDAB4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0756" y="6254367"/>
            <a:ext cx="1171688" cy="560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825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  <p:sldLayoutId id="2147484128" r:id="rId13"/>
    <p:sldLayoutId id="2147484129" r:id="rId14"/>
    <p:sldLayoutId id="2147484130" r:id="rId15"/>
    <p:sldLayoutId id="2147484131" r:id="rId16"/>
    <p:sldLayoutId id="2147484132" r:id="rId17"/>
    <p:sldLayoutId id="2147484133" r:id="rId18"/>
    <p:sldLayoutId id="2147484134" r:id="rId19"/>
    <p:sldLayoutId id="2147484135" r:id="rId20"/>
    <p:sldLayoutId id="2147484136" r:id="rId21"/>
    <p:sldLayoutId id="2147484137" r:id="rId22"/>
    <p:sldLayoutId id="2147484138" r:id="rId23"/>
    <p:sldLayoutId id="2147484139" r:id="rId24"/>
    <p:sldLayoutId id="2147484140" r:id="rId25"/>
    <p:sldLayoutId id="2147484141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39987" indent="-179996" algn="l" defTabSz="914377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377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796" indent="-172796" algn="l" defTabSz="914377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1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D1AD05F7-6798-B84D-2DFB-1520FA6486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DA61744-43C9-4280-CD6A-4DD0AC9221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8E78752-BA52-0D0E-AF8B-9C57664EE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A8BC62-24E7-4403-9ED9-CE20C55901B2}" type="datetimeFigureOut">
              <a:rPr lang="nl-BE" smtClean="0"/>
              <a:t>13/09/2023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6AE0858-BD5D-4A25-E012-D8E86A0C4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862EB01-869D-8D5E-07E4-08CBCD425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A0DC7B-8D41-4858-840B-03FD896A34DD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908298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  <p:sldLayoutId id="2147484150" r:id="rId7"/>
    <p:sldLayoutId id="2147484151" r:id="rId8"/>
    <p:sldLayoutId id="2147484152" r:id="rId9"/>
    <p:sldLayoutId id="2147484153" r:id="rId10"/>
    <p:sldLayoutId id="2147484154" r:id="rId11"/>
    <p:sldLayoutId id="214748433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25470"/>
            <a:ext cx="11112001" cy="5254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CBAD4B-BEDB-4B99-8057-E8D57C8B8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8" y="1521887"/>
            <a:ext cx="11112001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</p:txBody>
      </p:sp>
      <p:pic>
        <p:nvPicPr>
          <p:cNvPr id="1666" name="Picture 1665">
            <a:extLst>
              <a:ext uri="{FF2B5EF4-FFF2-40B4-BE49-F238E27FC236}">
                <a16:creationId xmlns:a16="http://schemas.microsoft.com/office/drawing/2014/main" id="{4077F527-FE8A-B24F-E1CD-A57DC912274F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9123" y="6252120"/>
            <a:ext cx="1043940" cy="36271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28A7D4-4A62-76BB-D3DA-61FB9CBFE934}"/>
              </a:ext>
            </a:extLst>
          </p:cNvPr>
          <p:cNvSpPr txBox="1"/>
          <p:nvPr userDrawn="1"/>
        </p:nvSpPr>
        <p:spPr>
          <a:xfrm>
            <a:off x="1677831" y="6596965"/>
            <a:ext cx="141224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E5004C-DC91-80A1-B6FA-60EB709F6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998" y="6613897"/>
            <a:ext cx="442135" cy="12451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fld id="{AC14A0E9-9634-41C9-A1E7-534B5EFA08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040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  <p:sldLayoutId id="2147484166" r:id="rId11"/>
    <p:sldLayoutId id="2147484167" r:id="rId12"/>
    <p:sldLayoutId id="2147484168" r:id="rId13"/>
    <p:sldLayoutId id="2147484169" r:id="rId14"/>
    <p:sldLayoutId id="2147484170" r:id="rId15"/>
    <p:sldLayoutId id="2147484171" r:id="rId16"/>
    <p:sldLayoutId id="2147484172" r:id="rId17"/>
    <p:sldLayoutId id="2147484173" r:id="rId18"/>
    <p:sldLayoutId id="2147484174" r:id="rId19"/>
    <p:sldLayoutId id="2147484175" r:id="rId20"/>
    <p:sldLayoutId id="2147484176" r:id="rId21"/>
    <p:sldLayoutId id="2147484177" r:id="rId22"/>
    <p:sldLayoutId id="2147484178" r:id="rId23"/>
    <p:sldLayoutId id="2147484179" r:id="rId24"/>
    <p:sldLayoutId id="2147484180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2800" b="1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900"/>
        </a:spcAft>
        <a:buFont typeface="Arial" panose="020B0604020202020204" pitchFamily="34" charset="0"/>
        <a:buNone/>
        <a:defRPr lang="en-GB" sz="1600" b="0" kern="1200" noProof="0" dirty="0">
          <a:solidFill>
            <a:schemeClr val="tx2"/>
          </a:solidFill>
          <a:latin typeface="+mj-lt"/>
          <a:ea typeface="+mn-ea"/>
          <a:cs typeface="Segoe UI" panose="020B0502040204020203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2pPr>
      <a:lvl3pPr marL="165100" indent="-1651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3pPr>
      <a:lvl4pPr marL="282575" indent="-125413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 typeface="Source Sans Pro" panose="020B0503030403020204" pitchFamily="34" charset="0"/>
        <a:buChar char="-"/>
        <a:defRPr sz="1400" b="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4pPr>
      <a:lvl5pPr marL="374650" indent="-841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›"/>
        <a:tabLst/>
        <a:defRPr sz="140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5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3846">
          <p15:clr>
            <a:srgbClr val="F26B43"/>
          </p15:clr>
        </p15:guide>
        <p15:guide id="4" pos="23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25470"/>
            <a:ext cx="11112001" cy="52547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CBAD4B-BEDB-4B99-8057-E8D57C8B8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998" y="1521887"/>
            <a:ext cx="11112001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</p:txBody>
      </p:sp>
      <p:pic>
        <p:nvPicPr>
          <p:cNvPr id="1666" name="Picture 1665">
            <a:extLst>
              <a:ext uri="{FF2B5EF4-FFF2-40B4-BE49-F238E27FC236}">
                <a16:creationId xmlns:a16="http://schemas.microsoft.com/office/drawing/2014/main" id="{4077F527-FE8A-B24F-E1CD-A57DC912274F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9123" y="6252120"/>
            <a:ext cx="1043940" cy="36271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228A7D4-4A62-76BB-D3DA-61FB9CBFE934}"/>
              </a:ext>
            </a:extLst>
          </p:cNvPr>
          <p:cNvSpPr txBox="1"/>
          <p:nvPr userDrawn="1"/>
        </p:nvSpPr>
        <p:spPr>
          <a:xfrm>
            <a:off x="1677831" y="6596965"/>
            <a:ext cx="1412246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Overpass ExtraLight" pitchFamily="2" charset="0"/>
              </a:rPr>
              <a:t>Copyright Landmark Glob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7E5004C-DC91-80A1-B6FA-60EB709F69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39998" y="6613897"/>
            <a:ext cx="442135" cy="12451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FF0000"/>
                </a:solidFill>
                <a:latin typeface="Overpass Light" pitchFamily="2" charset="0"/>
              </a:defRPr>
            </a:lvl1pPr>
          </a:lstStyle>
          <a:p>
            <a:fld id="{AC14A0E9-9634-41C9-A1E7-534B5EFA08D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74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4" r:id="rId1"/>
    <p:sldLayoutId id="2147484185" r:id="rId2"/>
    <p:sldLayoutId id="2147484186" r:id="rId3"/>
    <p:sldLayoutId id="2147484187" r:id="rId4"/>
    <p:sldLayoutId id="2147484188" r:id="rId5"/>
    <p:sldLayoutId id="2147484189" r:id="rId6"/>
    <p:sldLayoutId id="2147484190" r:id="rId7"/>
    <p:sldLayoutId id="2147484191" r:id="rId8"/>
    <p:sldLayoutId id="2147484192" r:id="rId9"/>
    <p:sldLayoutId id="2147484193" r:id="rId10"/>
    <p:sldLayoutId id="2147484194" r:id="rId11"/>
    <p:sldLayoutId id="2147484195" r:id="rId12"/>
    <p:sldLayoutId id="2147484196" r:id="rId13"/>
    <p:sldLayoutId id="2147484197" r:id="rId14"/>
    <p:sldLayoutId id="2147484198" r:id="rId15"/>
    <p:sldLayoutId id="2147484199" r:id="rId16"/>
    <p:sldLayoutId id="2147484200" r:id="rId17"/>
    <p:sldLayoutId id="2147484201" r:id="rId18"/>
    <p:sldLayoutId id="2147484202" r:id="rId19"/>
    <p:sldLayoutId id="2147484203" r:id="rId20"/>
    <p:sldLayoutId id="2147484204" r:id="rId21"/>
    <p:sldLayoutId id="2147484205" r:id="rId22"/>
    <p:sldLayoutId id="2147484206" r:id="rId23"/>
    <p:sldLayoutId id="2147484207" r:id="rId24"/>
    <p:sldLayoutId id="2147484208" r:id="rId25"/>
    <p:sldLayoutId id="2147484210" r:id="rId26"/>
    <p:sldLayoutId id="2147484211" r:id="rId27"/>
    <p:sldLayoutId id="2147484212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2800" b="1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900"/>
        </a:spcAft>
        <a:buFont typeface="Arial" panose="020B0604020202020204" pitchFamily="34" charset="0"/>
        <a:buNone/>
        <a:defRPr lang="en-GB" sz="1600" b="0" kern="1200" noProof="0" dirty="0">
          <a:solidFill>
            <a:schemeClr val="tx2"/>
          </a:solidFill>
          <a:latin typeface="+mj-lt"/>
          <a:ea typeface="+mn-ea"/>
          <a:cs typeface="Segoe UI" panose="020B0502040204020203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2pPr>
      <a:lvl3pPr marL="165100" indent="-1651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3pPr>
      <a:lvl4pPr marL="282575" indent="-125413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2"/>
        </a:buClr>
        <a:buFont typeface="Source Sans Pro" panose="020B0503030403020204" pitchFamily="34" charset="0"/>
        <a:buChar char="-"/>
        <a:defRPr sz="1400" b="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4pPr>
      <a:lvl5pPr marL="374650" indent="-841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›"/>
        <a:tabLst/>
        <a:defRPr sz="1400" kern="1200">
          <a:solidFill>
            <a:schemeClr val="tx2"/>
          </a:solidFill>
          <a:latin typeface="Overpass Light" pitchFamily="2" charset="0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5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3846">
          <p15:clr>
            <a:srgbClr val="F26B43"/>
          </p15:clr>
        </p15:guide>
        <p15:guide id="4" pos="237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5E496B4F-EE06-44DE-9CE8-4D786229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34552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383" imgH="384" progId="TCLayout.ActiveDocument.1">
                  <p:embed/>
                </p:oleObj>
              </mc:Choice>
              <mc:Fallback>
                <p:oleObj name="think-cell Slide" r:id="rId57" imgW="383" imgH="384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5E496B4F-EE06-44DE-9CE8-4D786229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9179F963-5C5E-4CC3-BAD0-01EF27E415B0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FB818E3C-778B-7998-3D70-1B5E8EFC4E33}"/>
              </a:ext>
            </a:extLst>
          </p:cNvPr>
          <p:cNvPicPr>
            <a:picLocks noChangeAspect="1"/>
          </p:cNvPicPr>
          <p:nvPr userDrawn="1"/>
        </p:nvPicPr>
        <p:blipFill>
          <a:blip r:embed="rId5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80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4" r:id="rId1"/>
    <p:sldLayoutId id="2147484215" r:id="rId2"/>
    <p:sldLayoutId id="2147484216" r:id="rId3"/>
    <p:sldLayoutId id="2147484217" r:id="rId4"/>
    <p:sldLayoutId id="2147484218" r:id="rId5"/>
    <p:sldLayoutId id="2147484219" r:id="rId6"/>
    <p:sldLayoutId id="2147484220" r:id="rId7"/>
    <p:sldLayoutId id="2147484221" r:id="rId8"/>
    <p:sldLayoutId id="2147484222" r:id="rId9"/>
    <p:sldLayoutId id="2147484223" r:id="rId10"/>
    <p:sldLayoutId id="2147484224" r:id="rId11"/>
    <p:sldLayoutId id="2147484225" r:id="rId12"/>
    <p:sldLayoutId id="2147484226" r:id="rId13"/>
    <p:sldLayoutId id="2147484227" r:id="rId14"/>
    <p:sldLayoutId id="2147484228" r:id="rId15"/>
    <p:sldLayoutId id="2147484229" r:id="rId16"/>
    <p:sldLayoutId id="2147484230" r:id="rId17"/>
    <p:sldLayoutId id="2147484231" r:id="rId18"/>
    <p:sldLayoutId id="2147484232" r:id="rId19"/>
    <p:sldLayoutId id="2147484233" r:id="rId20"/>
    <p:sldLayoutId id="2147484234" r:id="rId21"/>
    <p:sldLayoutId id="2147484235" r:id="rId22"/>
    <p:sldLayoutId id="2147484236" r:id="rId23"/>
    <p:sldLayoutId id="2147484237" r:id="rId24"/>
    <p:sldLayoutId id="2147484238" r:id="rId25"/>
    <p:sldLayoutId id="2147484239" r:id="rId26"/>
    <p:sldLayoutId id="2147484241" r:id="rId27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5E496B4F-EE06-44DE-9CE8-4D786229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4552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83" imgH="384" progId="TCLayout.ActiveDocument.1">
                  <p:embed/>
                </p:oleObj>
              </mc:Choice>
              <mc:Fallback>
                <p:oleObj name="think-cell Slide" r:id="rId56" imgW="383" imgH="384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5E496B4F-EE06-44DE-9CE8-4D786229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9179F963-5C5E-4CC3-BAD0-01EF27E415B0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FF7AB95-F39E-493C-BB05-68AAF2763AC5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FB818E3C-778B-7998-3D70-1B5E8EFC4E33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861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6" r:id="rId4"/>
    <p:sldLayoutId id="2147484247" r:id="rId5"/>
    <p:sldLayoutId id="2147484248" r:id="rId6"/>
    <p:sldLayoutId id="2147484249" r:id="rId7"/>
    <p:sldLayoutId id="2147484250" r:id="rId8"/>
    <p:sldLayoutId id="2147484251" r:id="rId9"/>
    <p:sldLayoutId id="2147484252" r:id="rId10"/>
    <p:sldLayoutId id="2147484253" r:id="rId11"/>
    <p:sldLayoutId id="2147484254" r:id="rId12"/>
    <p:sldLayoutId id="2147484255" r:id="rId13"/>
    <p:sldLayoutId id="2147484256" r:id="rId14"/>
    <p:sldLayoutId id="2147484257" r:id="rId15"/>
    <p:sldLayoutId id="2147484258" r:id="rId16"/>
    <p:sldLayoutId id="2147484259" r:id="rId17"/>
    <p:sldLayoutId id="2147484260" r:id="rId18"/>
    <p:sldLayoutId id="2147484261" r:id="rId19"/>
    <p:sldLayoutId id="2147484262" r:id="rId20"/>
    <p:sldLayoutId id="2147484263" r:id="rId21"/>
    <p:sldLayoutId id="2147484264" r:id="rId22"/>
    <p:sldLayoutId id="2147484265" r:id="rId23"/>
    <p:sldLayoutId id="2147484266" r:id="rId24"/>
    <p:sldLayoutId id="2147484267" r:id="rId25"/>
    <p:sldLayoutId id="2147484268" r:id="rId26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5E496B4F-EE06-44DE-9CE8-4D786229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34552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383" imgH="384" progId="TCLayout.ActiveDocument.1">
                  <p:embed/>
                </p:oleObj>
              </mc:Choice>
              <mc:Fallback>
                <p:oleObj name="think-cell Slide" r:id="rId60" imgW="383" imgH="384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5E496B4F-EE06-44DE-9CE8-4D786229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9179F963-5C5E-4CC3-BAD0-01EF27E415B0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FB818E3C-778B-7998-3D70-1B5E8EFC4E33}"/>
              </a:ext>
            </a:extLst>
          </p:cNvPr>
          <p:cNvPicPr>
            <a:picLocks noChangeAspect="1"/>
          </p:cNvPicPr>
          <p:nvPr userDrawn="1"/>
        </p:nvPicPr>
        <p:blipFill>
          <a:blip r:embed="rId6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635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4334" r:id="rId27"/>
    <p:sldLayoutId id="2147484336" r:id="rId28"/>
    <p:sldLayoutId id="2147484337" r:id="rId29"/>
    <p:sldLayoutId id="2147484339" r:id="rId30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8FF7EEDC-673B-409C-A3DA-FEBABA6A82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275505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378" imgH="379" progId="TCLayout.ActiveDocument.1">
                  <p:embed/>
                </p:oleObj>
              </mc:Choice>
              <mc:Fallback>
                <p:oleObj name="think-cell Slide" r:id="rId74" imgW="378" imgH="379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8FF7EEDC-673B-409C-A3DA-FEBABA6A82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C14C9B4F-AA92-49A2-99FF-DF41625E47E0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4FECC8-EB1D-46EB-B1C9-0FD19AEEBD0B}"/>
              </a:ext>
            </a:extLst>
          </p:cNvPr>
          <p:cNvPicPr>
            <a:picLocks noChangeAspect="1"/>
          </p:cNvPicPr>
          <p:nvPr userDrawn="1"/>
        </p:nvPicPr>
        <p:blipFill>
          <a:blip r:embed="rId7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stijl te bewerk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, Header</a:t>
            </a:r>
          </a:p>
          <a:p>
            <a:pPr lvl="4"/>
            <a:r>
              <a:rPr lang="en-GB" noProof="0"/>
              <a:t>Level 5, Body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, Small Header</a:t>
            </a:r>
          </a:p>
          <a:p>
            <a:pPr lvl="7"/>
            <a:r>
              <a:rPr lang="en-GB" noProof="0"/>
              <a:t>Level 8, Small Body</a:t>
            </a:r>
          </a:p>
          <a:p>
            <a:pPr lvl="8"/>
            <a:r>
              <a:rPr lang="en-GB" noProof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FF7AB95-F39E-493C-BB05-68AAF2763AC5}" type="datetime4">
              <a:rPr lang="en-GB" smtClean="0"/>
              <a:t>13 September 2023</a:t>
            </a:fld>
            <a:endParaRPr lang="en-GB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0008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7" r:id="rId1"/>
    <p:sldLayoutId id="2147484278" r:id="rId2"/>
    <p:sldLayoutId id="2147484279" r:id="rId3"/>
    <p:sldLayoutId id="2147484280" r:id="rId4"/>
    <p:sldLayoutId id="2147484281" r:id="rId5"/>
    <p:sldLayoutId id="2147484282" r:id="rId6"/>
    <p:sldLayoutId id="2147484283" r:id="rId7"/>
    <p:sldLayoutId id="2147484284" r:id="rId8"/>
    <p:sldLayoutId id="2147484285" r:id="rId9"/>
    <p:sldLayoutId id="2147484286" r:id="rId10"/>
    <p:sldLayoutId id="2147484287" r:id="rId11"/>
    <p:sldLayoutId id="2147484288" r:id="rId12"/>
    <p:sldLayoutId id="2147484289" r:id="rId13"/>
    <p:sldLayoutId id="2147484290" r:id="rId14"/>
    <p:sldLayoutId id="2147484291" r:id="rId15"/>
    <p:sldLayoutId id="2147484292" r:id="rId16"/>
    <p:sldLayoutId id="2147484293" r:id="rId17"/>
    <p:sldLayoutId id="2147484294" r:id="rId18"/>
    <p:sldLayoutId id="2147484295" r:id="rId19"/>
    <p:sldLayoutId id="2147484296" r:id="rId20"/>
    <p:sldLayoutId id="2147484297" r:id="rId21"/>
    <p:sldLayoutId id="2147484298" r:id="rId22"/>
    <p:sldLayoutId id="2147484299" r:id="rId23"/>
    <p:sldLayoutId id="2147484300" r:id="rId24"/>
    <p:sldLayoutId id="2147484301" r:id="rId25"/>
    <p:sldLayoutId id="2147484302" r:id="rId26"/>
    <p:sldLayoutId id="2147484303" r:id="rId27"/>
    <p:sldLayoutId id="2147484304" r:id="rId28"/>
    <p:sldLayoutId id="2147484305" r:id="rId29"/>
    <p:sldLayoutId id="2147484306" r:id="rId30"/>
    <p:sldLayoutId id="2147484307" r:id="rId31"/>
    <p:sldLayoutId id="2147484308" r:id="rId32"/>
    <p:sldLayoutId id="2147484309" r:id="rId33"/>
    <p:sldLayoutId id="2147484310" r:id="rId34"/>
    <p:sldLayoutId id="2147484311" r:id="rId35"/>
    <p:sldLayoutId id="2147484312" r:id="rId36"/>
    <p:sldLayoutId id="2147484313" r:id="rId37"/>
    <p:sldLayoutId id="2147484314" r:id="rId38"/>
    <p:sldLayoutId id="2147484315" r:id="rId39"/>
    <p:sldLayoutId id="2147484316" r:id="rId40"/>
    <p:sldLayoutId id="2147484317" r:id="rId41"/>
    <p:sldLayoutId id="2147484318" r:id="rId42"/>
    <p:sldLayoutId id="2147484319" r:id="rId43"/>
    <p:sldLayoutId id="2147484320" r:id="rId44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32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5E496B4F-EE06-44DE-9CE8-4D786229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4552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5E496B4F-EE06-44DE-9CE8-4D786229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9179F963-5C5E-4CC3-BAD0-01EF27E415B0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/>
              <a:t>Modifiez le style du tit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F7AB95-F39E-493C-BB05-68AAF2763AC5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FB818E3C-778B-7998-3D70-1B5E8EFC4E33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352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5E496B4F-EE06-44DE-9CE8-4D7862294B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45523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83" imgH="384" progId="TCLayout.ActiveDocument.1">
                  <p:embed/>
                </p:oleObj>
              </mc:Choice>
              <mc:Fallback>
                <p:oleObj name="think-cell Slide" r:id="rId56" imgW="383" imgH="384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5E496B4F-EE06-44DE-9CE8-4D786229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9179F963-5C5E-4CC3-BAD0-01EF27E415B0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35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FB818E3C-778B-7998-3D70-1B5E8EFC4E33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075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76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77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79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81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82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83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84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86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88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4FECC8-EB1D-46EB-B1C9-0FD19AEEBD0B}"/>
              </a:ext>
            </a:extLst>
          </p:cNvPr>
          <p:cNvPicPr>
            <a:picLocks noChangeAspect="1"/>
          </p:cNvPicPr>
          <p:nvPr userDrawn="1"/>
        </p:nvPicPr>
        <p:blipFill>
          <a:blip r:embed="rId8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8128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  <p:sldLayoutId id="2147483884" r:id="rId40"/>
    <p:sldLayoutId id="2147483885" r:id="rId41"/>
    <p:sldLayoutId id="2147483886" r:id="rId42"/>
    <p:sldLayoutId id="2147483887" r:id="rId43"/>
    <p:sldLayoutId id="2147483888" r:id="rId44"/>
    <p:sldLayoutId id="2147483889" r:id="rId45"/>
    <p:sldLayoutId id="2147483890" r:id="rId46"/>
    <p:sldLayoutId id="2147483891" r:id="rId47"/>
    <p:sldLayoutId id="2147483892" r:id="rId48"/>
    <p:sldLayoutId id="2147483893" r:id="rId49"/>
    <p:sldLayoutId id="2147483894" r:id="rId50"/>
    <p:sldLayoutId id="2147483895" r:id="rId51"/>
    <p:sldLayoutId id="2147483896" r:id="rId52"/>
    <p:sldLayoutId id="2147483897" r:id="rId53"/>
    <p:sldLayoutId id="2147483898" r:id="rId54"/>
    <p:sldLayoutId id="2147483899" r:id="rId55"/>
    <p:sldLayoutId id="2147483900" r:id="rId56"/>
    <p:sldLayoutId id="2147483901" r:id="rId57"/>
    <p:sldLayoutId id="2147483902" r:id="rId58"/>
    <p:sldLayoutId id="2147483903" r:id="rId59"/>
    <p:sldLayoutId id="2147483904" r:id="rId60"/>
    <p:sldLayoutId id="2147483906" r:id="rId61"/>
  </p:sldLayoutIdLst>
  <p:hf sldNum="0" hdr="0" ftr="0" dt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40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8FF7EEDC-673B-409C-A3DA-FEBABA6A82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2805247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378" imgH="379" progId="TCLayout.ActiveDocument.1">
                  <p:embed/>
                </p:oleObj>
              </mc:Choice>
              <mc:Fallback>
                <p:oleObj name="think-cell Slide" r:id="rId74" imgW="378" imgH="379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8FF7EEDC-673B-409C-A3DA-FEBABA6A82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C14C9B4F-AA92-49A2-99FF-DF41625E47E0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4FECC8-EB1D-46EB-B1C9-0FD19AEEBD0B}"/>
              </a:ext>
            </a:extLst>
          </p:cNvPr>
          <p:cNvPicPr>
            <a:picLocks noChangeAspect="1"/>
          </p:cNvPicPr>
          <p:nvPr userDrawn="1"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7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6003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  <p:sldLayoutId id="2147483931" r:id="rId24"/>
    <p:sldLayoutId id="2147483932" r:id="rId25"/>
    <p:sldLayoutId id="2147483933" r:id="rId26"/>
    <p:sldLayoutId id="2147483934" r:id="rId27"/>
    <p:sldLayoutId id="2147483935" r:id="rId28"/>
    <p:sldLayoutId id="2147483936" r:id="rId29"/>
    <p:sldLayoutId id="2147483937" r:id="rId30"/>
    <p:sldLayoutId id="2147483938" r:id="rId31"/>
    <p:sldLayoutId id="2147483939" r:id="rId32"/>
    <p:sldLayoutId id="2147483940" r:id="rId33"/>
    <p:sldLayoutId id="2147483941" r:id="rId34"/>
    <p:sldLayoutId id="2147483942" r:id="rId35"/>
    <p:sldLayoutId id="2147483943" r:id="rId36"/>
    <p:sldLayoutId id="2147483944" r:id="rId37"/>
    <p:sldLayoutId id="2147483945" r:id="rId38"/>
    <p:sldLayoutId id="2147483946" r:id="rId39"/>
    <p:sldLayoutId id="2147483947" r:id="rId40"/>
    <p:sldLayoutId id="2147483948" r:id="rId41"/>
    <p:sldLayoutId id="2147483949" r:id="rId42"/>
    <p:sldLayoutId id="2147483950" r:id="rId43"/>
    <p:sldLayoutId id="2147483951" r:id="rId44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32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8FF7EEDC-673B-409C-A3DA-FEBABA6A82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378" imgH="379" progId="TCLayout.ActiveDocument.1">
                  <p:embed/>
                </p:oleObj>
              </mc:Choice>
              <mc:Fallback>
                <p:oleObj name="think-cell Slide" r:id="rId76" imgW="378" imgH="379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8FF7EEDC-673B-409C-A3DA-FEBABA6A82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C14C9B4F-AA92-49A2-99FF-DF41625E47E0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noProof="0" dirty="0" err="1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2.5196838&lt;/Left&gt;&#10;      &lt;Top&gt;42.5196838&lt;/Top&gt;&#10;      &lt;Width&gt;874.960632&lt;/Width&gt;&#10;      &lt;Height&gt;42.5196838&lt;/Height&gt;&#10;    &lt;/SubGrid&gt;&#10;    &lt;SubGrid&gt;&#10;      &lt;Left&gt;42.5196838&lt;/Left&gt;&#10;      &lt;Top&gt;85.03937&lt;/Top&gt;&#10;      &lt;Width&gt;874.960632&lt;/Width&gt;&#10;      &lt;Height&gt;42.5196838&lt;/Height&gt;&#10;    &lt;/SubGrid&gt;&#10;    &lt;SubGrid&gt;&#10;      &lt;Left&gt;42.5196838&lt;/Left&gt;&#10;      &lt;Top&gt;127.559052&lt;/Top&gt;&#10;      &lt;Width&gt;874.960632&lt;/Width&gt;&#10;      &lt;Height&gt;14.1732283&lt;/Height&gt;&#10;    &lt;/SubGrid&gt;&#10;    &lt;SubGrid&gt;&#10;      &lt;Left&gt;42.5196838&lt;/Left&gt;&#10;      &lt;Top&gt;141.732285&lt;/Top&gt;&#10;      &lt;Width&gt;59.92126&lt;/Width&gt;&#10;      &lt;Height&gt;355.748016&lt;/Height&gt;&#10;    &lt;/SubGrid&gt;&#10;    &lt;SubGrid&gt;&#10;      &lt;Left&gt;102.440948&lt;/Left&gt;&#10;      &lt;Top&gt;141.732285&lt;/Top&gt;&#10;      &lt;Width&gt;14.1732283&lt;/Width&gt;&#10;      &lt;Height&gt;355.748016&lt;/Height&gt;&#10;    &lt;/SubGrid&gt;&#10;    &lt;SubGrid&gt;&#10;      &lt;Left&gt;116.614174&lt;/Left&gt;&#10;      &lt;Top&gt;141.732285&lt;/Top&gt;&#10;      &lt;Width&gt;59.92126&lt;/Width&gt;&#10;      &lt;Height&gt;355.748016&lt;/Height&gt;&#10;    &lt;/SubGrid&gt;&#10;    &lt;SubGrid&gt;&#10;      &lt;Left&gt;176.535431&lt;/Left&gt;&#10;      &lt;Top&gt;141.732285&lt;/Top&gt;&#10;      &lt;Width&gt;14.1732283&lt;/Width&gt;&#10;      &lt;Height&gt;355.748016&lt;/Height&gt;&#10;    &lt;/SubGrid&gt;&#10;    &lt;SubGrid&gt;&#10;      &lt;Left&gt;190.708664&lt;/Left&gt;&#10;      &lt;Top&gt;141.732285&lt;/Top&gt;&#10;      &lt;Width&gt;59.92126&lt;/Width&gt;&#10;      &lt;Height&gt;355.748016&lt;/Height&gt;&#10;    &lt;/SubGrid&gt;&#10;    &lt;SubGrid&gt;&#10;      &lt;Left&gt;250.629929&lt;/Left&gt;&#10;      &lt;Top&gt;141.732285&lt;/Top&gt;&#10;      &lt;Width&gt;14.1732283&lt;/Width&gt;&#10;      &lt;Height&gt;355.748016&lt;/Height&gt;&#10;    &lt;/SubGrid&gt;&#10;    &lt;SubGrid&gt;&#10;      &lt;Left&gt;264.803162&lt;/Left&gt;&#10;      &lt;Top&gt;141.732285&lt;/Top&gt;&#10;      &lt;Width&gt;59.92126&lt;/Width&gt;&#10;      &lt;Height&gt;355.748016&lt;/Height&gt;&#10;    &lt;/SubGrid&gt;&#10;    &lt;SubGrid&gt;&#10;      &lt;Left&gt;324.7244&lt;/Left&gt;&#10;      &lt;Top&gt;141.732285&lt;/Top&gt;&#10;      &lt;Width&gt;14.1732283&lt;/Width&gt;&#10;      &lt;Height&gt;355.748016&lt;/Height&gt;&#10;    &lt;/SubGrid&gt;&#10;    &lt;SubGrid&gt;&#10;      &lt;Left&gt;338.897644&lt;/Left&gt;&#10;      &lt;Top&gt;141.732285&lt;/Top&gt;&#10;      &lt;Width&gt;59.92126&lt;/Width&gt;&#10;      &lt;Height&gt;355.748016&lt;/Height&gt;&#10;    &lt;/SubGrid&gt;&#10;    &lt;SubGrid&gt;&#10;      &lt;Left&gt;398.8189&lt;/Left&gt;&#10;      &lt;Top&gt;141.732285&lt;/Top&gt;&#10;      &lt;Width&gt;14.1732283&lt;/Width&gt;&#10;      &lt;Height&gt;355.748016&lt;/Height&gt;&#10;    &lt;/SubGrid&gt;&#10;    &lt;SubGrid&gt;&#10;      &lt;Left&gt;412.992126&lt;/Left&gt;&#10;      &lt;Top&gt;141.732285&lt;/Top&gt;&#10;      &lt;Width&gt;59.92126&lt;/Width&gt;&#10;      &lt;Height&gt;355.748016&lt;/Height&gt;&#10;    &lt;/SubGrid&gt;&#10;    &lt;SubGrid&gt;&#10;      &lt;Left&gt;472.9134&lt;/Left&gt;&#10;      &lt;Top&gt;141.732285&lt;/Top&gt;&#10;      &lt;Width&gt;14.1732283&lt;/Width&gt;&#10;      &lt;Height&gt;355.748016&lt;/Height&gt;&#10;    &lt;/SubGrid&gt;&#10;    &lt;SubGrid&gt;&#10;      &lt;Left&gt;487.0866&lt;/Left&gt;&#10;      &lt;Top&gt;141.732285&lt;/Top&gt;&#10;      &lt;Width&gt;59.92126&lt;/Width&gt;&#10;      &lt;Height&gt;355.748016&lt;/Height&gt;&#10;    &lt;/SubGrid&gt;&#10;    &lt;SubGrid&gt;&#10;      &lt;Left&gt;547.0079&lt;/Left&gt;&#10;      &lt;Top&gt;141.732285&lt;/Top&gt;&#10;      &lt;Width&gt;14.1732283&lt;/Width&gt;&#10;      &lt;Height&gt;355.748016&lt;/Height&gt;&#10;    &lt;/SubGrid&gt;&#10;    &lt;SubGrid&gt;&#10;      &lt;Left&gt;561.1811&lt;/Left&gt;&#10;      &lt;Top&gt;141.732285&lt;/Top&gt;&#10;      &lt;Width&gt;59.92126&lt;/Width&gt;&#10;      &lt;Height&gt;355.748016&lt;/Height&gt;&#10;    &lt;/SubGrid&gt;&#10;    &lt;SubGrid&gt;&#10;      &lt;Left&gt;621.102356&lt;/Left&gt;&#10;      &lt;Top&gt;141.732285&lt;/Top&gt;&#10;      &lt;Width&gt;14.1732283&lt;/Width&gt;&#10;      &lt;Height&gt;355.748016&lt;/Height&gt;&#10;    &lt;/SubGrid&gt;&#10;    &lt;SubGrid&gt;&#10;      &lt;Left&gt;635.2756&lt;/Left&gt;&#10;      &lt;Top&gt;141.732285&lt;/Top&gt;&#10;      &lt;Width&gt;59.92126&lt;/Width&gt;&#10;      &lt;Height&gt;355.748016&lt;/Height&gt;&#10;    &lt;/SubGrid&gt;&#10;    &lt;SubGrid&gt;&#10;      &lt;Left&gt;695.196838&lt;/Left&gt;&#10;      &lt;Top&gt;141.732285&lt;/Top&gt;&#10;      &lt;Width&gt;14.1732283&lt;/Width&gt;&#10;      &lt;Height&gt;355.748016&lt;/Height&gt;&#10;    &lt;/SubGrid&gt;&#10;    &lt;SubGrid&gt;&#10;      &lt;Left&gt;709.370056&lt;/Left&gt;&#10;      &lt;Top&gt;141.732285&lt;/Top&gt;&#10;      &lt;Width&gt;59.92126&lt;/Width&gt;&#10;      &lt;Height&gt;355.748016&lt;/Height&gt;&#10;    &lt;/SubGrid&gt;&#10;    &lt;SubGrid&gt;&#10;      &lt;Left&gt;769.2913&lt;/Left&gt;&#10;      &lt;Top&gt;141.732285&lt;/Top&gt;&#10;      &lt;Width&gt;14.1732283&lt;/Width&gt;&#10;      &lt;Height&gt;355.748016&lt;/Height&gt;&#10;    &lt;/SubGrid&gt;&#10;    &lt;SubGrid&gt;&#10;      &lt;Left&gt;783.464539&lt;/Left&gt;&#10;      &lt;Top&gt;141.732285&lt;/Top&gt;&#10;      &lt;Width&gt;59.92126&lt;/Width&gt;&#10;      &lt;Height&gt;355.748016&lt;/Height&gt;&#10;    &lt;/SubGrid&gt;&#10;    &lt;SubGrid&gt;&#10;      &lt;Left&gt;843.3858&lt;/Left&gt;&#10;      &lt;Top&gt;141.732285&lt;/Top&gt;&#10;      &lt;Width&gt;14.1732283&lt;/Width&gt;&#10;      &lt;Height&gt;355.748016&lt;/Height&gt;&#10;    &lt;/SubGrid&gt;&#10;    &lt;SubGrid&gt;&#10;      &lt;Left&gt;857.5591&lt;/Left&gt;&#10;      &lt;Top&gt;141.732285&lt;/Top&gt;&#10;      &lt;Width&gt;59.92126&lt;/Width&gt;&#10;      &lt;Height&gt;355.748016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0&lt;/OfficeVersion&gt;&#10;&lt;/GridTheme&gt;" hidden="1">
            <a:extLst>
              <a:ext uri="{FF2B5EF4-FFF2-40B4-BE49-F238E27FC236}">
                <a16:creationId xmlns:a16="http://schemas.microsoft.com/office/drawing/2014/main" id="{3B45840A-D6D7-4EAD-86A4-9D0F7F65453E}"/>
              </a:ext>
            </a:extLst>
          </p:cNvPr>
          <p:cNvSpPr/>
          <p:nvPr userDrawn="1"/>
        </p:nvSpPr>
        <p:spPr>
          <a:xfrm>
            <a:off x="540000" y="540000"/>
            <a:ext cx="11112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D0E5430-E7A1-4B1D-AB5A-B8C076623332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540000" y="5400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E1152CD6-B7E3-4E9E-A567-25F8C6D0BDF2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540000" y="994400"/>
            <a:ext cx="11112000" cy="54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6D03BF4-3CC4-435A-8732-0AA0A7125036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540000" y="1620000"/>
            <a:ext cx="11112000" cy="180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6FC4F5F9-1965-4B28-9C98-E6AE287E486F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54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D35DF84-F5E7-4D2E-8CFD-664D178278A5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130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8837ED83-1A93-458B-B972-9B44456C122A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148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1F2D320C-6457-4B01-ADB4-6380D1382C69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2242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455C016E-C6D1-4906-A424-126A4BFD36F8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2422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22FC65E-43EC-442A-BBC4-3CA050388182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3183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E566304-ED6A-4E07-9723-EE3922DAD4F6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3363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072D7C9C-873A-4F10-AD12-6B55617B8D14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4124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E54B27CD-0DF7-4806-BD72-3E357D645CCF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4304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DD896EF-8B77-4174-80A6-B5422137750E}"/>
              </a:ext>
            </a:extLst>
          </p:cNvPr>
          <p:cNvSpPr/>
          <p:nvPr userDrawn="1">
            <p:custDataLst>
              <p:tags r:id="rId62"/>
            </p:custDataLst>
          </p:nvPr>
        </p:nvSpPr>
        <p:spPr>
          <a:xfrm>
            <a:off x="5065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278D3EB8-C65F-4C98-BEAE-9FC658F52113}"/>
              </a:ext>
            </a:extLst>
          </p:cNvPr>
          <p:cNvSpPr/>
          <p:nvPr userDrawn="1">
            <p:custDataLst>
              <p:tags r:id="rId63"/>
            </p:custDataLst>
          </p:nvPr>
        </p:nvSpPr>
        <p:spPr>
          <a:xfrm>
            <a:off x="5245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4355AE6F-30ED-4326-AD06-4988A9D4EFFA}"/>
              </a:ext>
            </a:extLst>
          </p:cNvPr>
          <p:cNvSpPr/>
          <p:nvPr userDrawn="1">
            <p:custDataLst>
              <p:tags r:id="rId64"/>
            </p:custDataLst>
          </p:nvPr>
        </p:nvSpPr>
        <p:spPr>
          <a:xfrm>
            <a:off x="6006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DE1A78FB-43E9-4A9D-976D-18FA8B830DA7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6186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C6ECBC2-C3CD-4C59-99E2-3B1D0DD759CA}"/>
              </a:ext>
            </a:extLst>
          </p:cNvPr>
          <p:cNvSpPr/>
          <p:nvPr userDrawn="1">
            <p:custDataLst>
              <p:tags r:id="rId66"/>
            </p:custDataLst>
          </p:nvPr>
        </p:nvSpPr>
        <p:spPr>
          <a:xfrm>
            <a:off x="6947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EA655D52-E142-4C97-B325-E96277D97621}"/>
              </a:ext>
            </a:extLst>
          </p:cNvPr>
          <p:cNvSpPr/>
          <p:nvPr userDrawn="1">
            <p:custDataLst>
              <p:tags r:id="rId67"/>
            </p:custDataLst>
          </p:nvPr>
        </p:nvSpPr>
        <p:spPr>
          <a:xfrm>
            <a:off x="7127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5BDDAD78-ABB7-4DB4-A8D7-2C5376935548}"/>
              </a:ext>
            </a:extLst>
          </p:cNvPr>
          <p:cNvSpPr/>
          <p:nvPr userDrawn="1">
            <p:custDataLst>
              <p:tags r:id="rId68"/>
            </p:custDataLst>
          </p:nvPr>
        </p:nvSpPr>
        <p:spPr>
          <a:xfrm>
            <a:off x="7888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B69DD3E7-7E98-468D-B6F9-F3837DA8884C}"/>
              </a:ext>
            </a:extLst>
          </p:cNvPr>
          <p:cNvSpPr/>
          <p:nvPr userDrawn="1">
            <p:custDataLst>
              <p:tags r:id="rId69"/>
            </p:custDataLst>
          </p:nvPr>
        </p:nvSpPr>
        <p:spPr>
          <a:xfrm>
            <a:off x="8068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AE5FE77B-FBE0-4F1B-991B-AE25AA282261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8829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1507A3ED-B1C4-402B-8B45-8900318F9046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9009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1148C99-4C5E-4FD6-A4D1-A14AA24CB488}"/>
              </a:ext>
            </a:extLst>
          </p:cNvPr>
          <p:cNvSpPr/>
          <p:nvPr userDrawn="1">
            <p:custDataLst>
              <p:tags r:id="rId72"/>
            </p:custDataLst>
          </p:nvPr>
        </p:nvSpPr>
        <p:spPr>
          <a:xfrm>
            <a:off x="9770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9AD25810-1274-48DF-AE95-BC60D1C9E7CE}"/>
              </a:ext>
            </a:extLst>
          </p:cNvPr>
          <p:cNvSpPr/>
          <p:nvPr userDrawn="1">
            <p:custDataLst>
              <p:tags r:id="rId73"/>
            </p:custDataLst>
          </p:nvPr>
        </p:nvSpPr>
        <p:spPr>
          <a:xfrm>
            <a:off x="9950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C8925F3A-2ABD-4CAB-99C3-984482347410}"/>
              </a:ext>
            </a:extLst>
          </p:cNvPr>
          <p:cNvSpPr/>
          <p:nvPr userDrawn="1">
            <p:custDataLst>
              <p:tags r:id="rId74"/>
            </p:custDataLst>
          </p:nvPr>
        </p:nvSpPr>
        <p:spPr>
          <a:xfrm>
            <a:off x="10711000" y="1800000"/>
            <a:ext cx="180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51AE17D7-082E-450D-90FC-648F951C3D2B}"/>
              </a:ext>
            </a:extLst>
          </p:cNvPr>
          <p:cNvSpPr/>
          <p:nvPr userDrawn="1">
            <p:custDataLst>
              <p:tags r:id="rId75"/>
            </p:custDataLst>
          </p:nvPr>
        </p:nvSpPr>
        <p:spPr>
          <a:xfrm>
            <a:off x="10891000" y="1800000"/>
            <a:ext cx="761000" cy="4518000"/>
          </a:xfrm>
          <a:prstGeom prst="rect">
            <a:avLst/>
          </a:prstGeom>
          <a:noFill/>
          <a:ln w="3175" cap="flat" cmpd="sng" algn="ctr">
            <a:solidFill>
              <a:srgbClr val="EF2637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4FECC8-EB1D-46EB-B1C9-0FD19AEEBD0B}"/>
              </a:ext>
            </a:extLst>
          </p:cNvPr>
          <p:cNvPicPr>
            <a:picLocks noChangeAspect="1"/>
          </p:cNvPicPr>
          <p:nvPr userDrawn="1"/>
        </p:nvPicPr>
        <p:blipFill>
          <a:blip r:embed="rId7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11092826" y="6412809"/>
            <a:ext cx="559174" cy="307152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103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  <a:p>
            <a:pPr lvl="4"/>
            <a:r>
              <a:rPr lang="en-GB" noProof="0" dirty="0"/>
              <a:t>Level 5, Body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, Small Header</a:t>
            </a:r>
          </a:p>
          <a:p>
            <a:pPr lvl="7"/>
            <a:r>
              <a:rPr lang="en-GB" noProof="0" dirty="0"/>
              <a:t>Level 8, Small Body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827749" y="6542765"/>
            <a:ext cx="23552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3FF7AB95-F39E-493C-BB05-68AAF2763AC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363000" y="6542765"/>
            <a:ext cx="5466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49" y="6542765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tx2"/>
                </a:solidFill>
                <a:latin typeface="+mj-lt"/>
              </a:defRPr>
            </a:lvl1pPr>
          </a:lstStyle>
          <a:p>
            <a:pPr algn="l"/>
            <a:fld id="{24C8C45C-947F-4981-8B3F-4F32E973C901}" type="slidenum">
              <a:rPr lang="en-GB" smtClean="0"/>
              <a:pPr algn="l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1578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  <p:sldLayoutId id="2147483969" r:id="rId17"/>
    <p:sldLayoutId id="2147483970" r:id="rId18"/>
    <p:sldLayoutId id="2147483971" r:id="rId19"/>
    <p:sldLayoutId id="2147483972" r:id="rId20"/>
    <p:sldLayoutId id="2147483973" r:id="rId21"/>
    <p:sldLayoutId id="2147483974" r:id="rId22"/>
    <p:sldLayoutId id="2147483975" r:id="rId23"/>
    <p:sldLayoutId id="2147483976" r:id="rId24"/>
    <p:sldLayoutId id="2147483977" r:id="rId25"/>
    <p:sldLayoutId id="2147483978" r:id="rId26"/>
    <p:sldLayoutId id="2147483979" r:id="rId27"/>
    <p:sldLayoutId id="2147483980" r:id="rId28"/>
    <p:sldLayoutId id="2147483981" r:id="rId29"/>
    <p:sldLayoutId id="2147483982" r:id="rId30"/>
    <p:sldLayoutId id="2147483983" r:id="rId31"/>
    <p:sldLayoutId id="2147483984" r:id="rId32"/>
    <p:sldLayoutId id="2147483985" r:id="rId33"/>
    <p:sldLayoutId id="2147483986" r:id="rId34"/>
    <p:sldLayoutId id="2147483987" r:id="rId35"/>
    <p:sldLayoutId id="2147483988" r:id="rId36"/>
    <p:sldLayoutId id="2147483989" r:id="rId37"/>
    <p:sldLayoutId id="2147483990" r:id="rId38"/>
    <p:sldLayoutId id="2147483991" r:id="rId39"/>
    <p:sldLayoutId id="2147483992" r:id="rId40"/>
    <p:sldLayoutId id="2147483993" r:id="rId41"/>
    <p:sldLayoutId id="2147483994" r:id="rId42"/>
    <p:sldLayoutId id="2147483995" r:id="rId43"/>
    <p:sldLayoutId id="2147483996" r:id="rId44"/>
    <p:sldLayoutId id="2147483997" r:id="rId45"/>
    <p:sldLayoutId id="2147483998" r:id="rId46"/>
  </p:sldLayoutIdLst>
  <p:hf hdr="0" ftr="0"/>
  <p:txStyles>
    <p:titleStyle>
      <a:lvl1pPr algn="l" defTabSz="914400" rtl="0" eaLnBrk="1" latinLnBrk="0" hangingPunct="1">
        <a:lnSpc>
          <a:spcPct val="84000"/>
        </a:lnSpc>
        <a:spcBef>
          <a:spcPct val="0"/>
        </a:spcBef>
        <a:buNone/>
        <a:defRPr sz="32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6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60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849438"/>
            <a:ext cx="11112002" cy="4468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0138DDB-9F33-E274-001E-5043C7115D1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447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  <p:sldLayoutId id="2147484015" r:id="rId16"/>
    <p:sldLayoutId id="2147484016" r:id="rId17"/>
    <p:sldLayoutId id="2147484017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ctr" defTabSz="914400" rtl="0" eaLnBrk="1" latinLnBrk="0" hangingPunct="1">
        <a:lnSpc>
          <a:spcPct val="84000"/>
        </a:lnSpc>
        <a:spcBef>
          <a:spcPct val="0"/>
        </a:spcBef>
        <a:buNone/>
        <a:defRPr sz="32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130175" indent="-130175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269875" indent="-1397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4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11112001" cy="5605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8" y="1849438"/>
            <a:ext cx="11112002" cy="4468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Header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90138DDB-9F33-E274-001E-5043C7115D1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2826" y="6406957"/>
            <a:ext cx="723006" cy="377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244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ctr" defTabSz="914400" rtl="0" eaLnBrk="1" latinLnBrk="0" hangingPunct="1">
        <a:lnSpc>
          <a:spcPct val="84000"/>
        </a:lnSpc>
        <a:spcBef>
          <a:spcPct val="0"/>
        </a:spcBef>
        <a:buNone/>
        <a:defRPr sz="3200" kern="1200" spc="-100" baseline="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130175" indent="-130175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269875" indent="-139700" algn="l" defTabSz="914400" rtl="0" eaLnBrk="1" latinLnBrk="0" hangingPunct="1">
        <a:lnSpc>
          <a:spcPct val="90000"/>
        </a:lnSpc>
        <a:spcBef>
          <a:spcPts val="6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-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tabLst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172800" indent="-1728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b="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400" kern="1200" spc="-15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8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97.emf"/><Relationship Id="rId4" Type="http://schemas.openxmlformats.org/officeDocument/2006/relationships/image" Target="../media/image96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g"/><Relationship Id="rId3" Type="http://schemas.openxmlformats.org/officeDocument/2006/relationships/image" Target="../media/image98.jpeg"/><Relationship Id="rId7" Type="http://schemas.openxmlformats.org/officeDocument/2006/relationships/image" Target="../media/image10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Relationship Id="rId9" Type="http://schemas.openxmlformats.org/officeDocument/2006/relationships/image" Target="../media/image10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image" Target="../media/image10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9.xml"/><Relationship Id="rId4" Type="http://schemas.openxmlformats.org/officeDocument/2006/relationships/chart" Target="../charts/char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9.xml"/><Relationship Id="rId4" Type="http://schemas.openxmlformats.org/officeDocument/2006/relationships/chart" Target="../charts/char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4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13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14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2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4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8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svg"/><Relationship Id="rId18" Type="http://schemas.openxmlformats.org/officeDocument/2006/relationships/image" Target="../media/image73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17" Type="http://schemas.openxmlformats.org/officeDocument/2006/relationships/image" Target="../media/image7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1.png"/><Relationship Id="rId1" Type="http://schemas.openxmlformats.org/officeDocument/2006/relationships/slideLayout" Target="../slideLayouts/slideLayout306.xml"/><Relationship Id="rId6" Type="http://schemas.openxmlformats.org/officeDocument/2006/relationships/image" Target="../media/image61.png"/><Relationship Id="rId11" Type="http://schemas.openxmlformats.org/officeDocument/2006/relationships/image" Target="../media/image66.svg"/><Relationship Id="rId5" Type="http://schemas.openxmlformats.org/officeDocument/2006/relationships/image" Target="../media/image60.png"/><Relationship Id="rId15" Type="http://schemas.openxmlformats.org/officeDocument/2006/relationships/image" Target="../media/image70.png"/><Relationship Id="rId10" Type="http://schemas.openxmlformats.org/officeDocument/2006/relationships/image" Target="../media/image65.png"/><Relationship Id="rId4" Type="http://schemas.openxmlformats.org/officeDocument/2006/relationships/image" Target="../media/image59.png"/><Relationship Id="rId9" Type="http://schemas.openxmlformats.org/officeDocument/2006/relationships/image" Target="../media/image64.svg"/><Relationship Id="rId14" Type="http://schemas.openxmlformats.org/officeDocument/2006/relationships/image" Target="../media/image6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6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0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077E104-1BB8-EB87-F43D-C62307AE9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CE353-738D-40C0-ACB8-E00BEBE3BC0D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097663DE-E298-A3EF-383F-9C8D69041B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nl-BE" sz="4400" b="1" dirty="0" err="1">
                <a:solidFill>
                  <a:schemeClr val="bg1"/>
                </a:solidFill>
              </a:rPr>
              <a:t>Fly</a:t>
            </a:r>
            <a:r>
              <a:rPr lang="nl-BE" sz="4400" b="1" dirty="0">
                <a:solidFill>
                  <a:schemeClr val="bg1"/>
                </a:solidFill>
              </a:rPr>
              <a:t> </a:t>
            </a:r>
            <a:r>
              <a:rPr lang="nl-BE" sz="4400" b="1" dirty="0" err="1">
                <a:solidFill>
                  <a:schemeClr val="bg1"/>
                </a:solidFill>
              </a:rPr>
              <a:t>to</a:t>
            </a:r>
            <a:r>
              <a:rPr lang="nl-BE" sz="4400" b="1" dirty="0">
                <a:solidFill>
                  <a:schemeClr val="bg1"/>
                </a:solidFill>
              </a:rPr>
              <a:t> </a:t>
            </a:r>
            <a:r>
              <a:rPr lang="nl-BE" sz="4400" b="1" dirty="0" err="1">
                <a:solidFill>
                  <a:schemeClr val="bg1"/>
                </a:solidFill>
              </a:rPr>
              <a:t>the</a:t>
            </a:r>
            <a:r>
              <a:rPr lang="nl-BE" sz="4400" b="1" dirty="0">
                <a:solidFill>
                  <a:schemeClr val="bg1"/>
                </a:solidFill>
              </a:rPr>
              <a:t> </a:t>
            </a:r>
            <a:r>
              <a:rPr lang="nl-BE" sz="4400" b="1" dirty="0" err="1">
                <a:solidFill>
                  <a:schemeClr val="bg1"/>
                </a:solidFill>
              </a:rPr>
              <a:t>world</a:t>
            </a:r>
            <a:r>
              <a:rPr lang="nl-BE" sz="4400" b="1" dirty="0">
                <a:solidFill>
                  <a:schemeClr val="bg1"/>
                </a:solidFill>
              </a:rPr>
              <a:t> of returns </a:t>
            </a:r>
            <a:endParaRPr lang="fr-BE" sz="4400" b="1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249CF04-87F5-BA0A-EA98-DBB4EF8554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E1F0CD0-C33E-EDAD-4D4D-7A332B6C6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" y="152400"/>
            <a:ext cx="12192000" cy="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916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A2A9163-42B0-2BF4-CA41-EF94908500F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A86F8C8-A6ED-43D6-AF6C-C7C0122F93A3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1844FA-A6C5-0617-5F54-0A9B56B628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10</a:t>
            </a:fld>
            <a:endParaRPr lang="en-GB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3D393D64-4B70-C1F7-C3B6-37663D3BA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204" y="594840"/>
            <a:ext cx="11196000" cy="1036800"/>
          </a:xfrm>
        </p:spPr>
        <p:txBody>
          <a:bodyPr/>
          <a:lstStyle/>
          <a:p>
            <a:r>
              <a:rPr lang="en-US" dirty="0"/>
              <a:t>Challenge: impact</a:t>
            </a:r>
            <a:endParaRPr lang="en-GB" dirty="0"/>
          </a:p>
        </p:txBody>
      </p:sp>
      <p:sp>
        <p:nvSpPr>
          <p:cNvPr id="11" name="Tijdelijke aanduiding voor dianummer 3">
            <a:extLst>
              <a:ext uri="{FF2B5EF4-FFF2-40B4-BE49-F238E27FC236}">
                <a16:creationId xmlns:a16="http://schemas.microsoft.com/office/drawing/2014/main" id="{8AEFD5F4-7BD5-A5C2-9525-77BC741F69E0}"/>
              </a:ext>
            </a:extLst>
          </p:cNvPr>
          <p:cNvSpPr txBox="1">
            <a:spLocks/>
          </p:cNvSpPr>
          <p:nvPr/>
        </p:nvSpPr>
        <p:spPr>
          <a:xfrm>
            <a:off x="539998" y="6537426"/>
            <a:ext cx="363068" cy="180000"/>
          </a:xfrm>
          <a:prstGeom prst="rect">
            <a:avLst/>
          </a:prstGeom>
        </p:spPr>
        <p:txBody>
          <a:bodyPr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23F2F74-81A6-4944-BF64-7D76A6F6A69E}" type="slidenum">
              <a:rPr lang="nl-BE" smtClean="0"/>
              <a:pPr/>
              <a:t>10</a:t>
            </a:fld>
            <a:endParaRPr lang="nl-BE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E8DF9F99-3C7D-8504-25F2-A8023CC24D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5702159"/>
              </p:ext>
            </p:extLst>
          </p:nvPr>
        </p:nvGraphicFramePr>
        <p:xfrm>
          <a:off x="5765585" y="1861702"/>
          <a:ext cx="2987016" cy="1950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69BA72E-9F95-C0C8-D145-0BB900C6C86A}"/>
              </a:ext>
            </a:extLst>
          </p:cNvPr>
          <p:cNvSpPr/>
          <p:nvPr/>
        </p:nvSpPr>
        <p:spPr>
          <a:xfrm>
            <a:off x="8243925" y="2183993"/>
            <a:ext cx="2191311" cy="107721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655170" hangingPunct="0">
              <a:spcAft>
                <a:spcPts val="540"/>
              </a:spcAft>
              <a:defRPr/>
            </a:pPr>
            <a:r>
              <a:rPr lang="en-US" sz="1600" b="1" kern="0" spc="-9" dirty="0">
                <a:solidFill>
                  <a:srgbClr val="EF262D"/>
                </a:solidFill>
                <a:latin typeface="+mj-lt"/>
                <a:ea typeface="Verdana"/>
                <a:cs typeface="Verdana"/>
                <a:sym typeface="Verdana"/>
              </a:rPr>
              <a:t>of your visitors will </a:t>
            </a:r>
            <a:r>
              <a:rPr lang="en-US" sz="1600" b="1" kern="0" spc="-9" dirty="0">
                <a:solidFill>
                  <a:srgbClr val="EF2637"/>
                </a:solidFill>
                <a:latin typeface="+mj-lt"/>
                <a:ea typeface="Verdana"/>
                <a:cs typeface="Verdana"/>
                <a:sym typeface="Verdana"/>
              </a:rPr>
              <a:t>shop elsewhere</a:t>
            </a:r>
            <a:r>
              <a:rPr lang="en-US" sz="1600" b="1" kern="0" spc="-9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 </a:t>
            </a:r>
            <a:r>
              <a:rPr lang="en-US" sz="1600" kern="0" spc="-9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if you don’t offer an easy returns solution.</a:t>
            </a:r>
            <a:r>
              <a:rPr lang="en-US" sz="1600" kern="0" spc="-9" dirty="0">
                <a:latin typeface="+mj-lt"/>
                <a:ea typeface="Verdana"/>
                <a:cs typeface="Verdana"/>
                <a:sym typeface="Verdana"/>
              </a:rPr>
              <a:t>³</a:t>
            </a:r>
            <a:endParaRPr lang="en-US" sz="1600" kern="0" spc="-9" baseline="30000" dirty="0">
              <a:latin typeface="+mj-lt"/>
              <a:ea typeface="Verdana"/>
              <a:cs typeface="Verdana"/>
              <a:sym typeface="Verdana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E874E2D-AF4A-0263-DB69-54BC673B648F}"/>
              </a:ext>
            </a:extLst>
          </p:cNvPr>
          <p:cNvSpPr/>
          <p:nvPr/>
        </p:nvSpPr>
        <p:spPr>
          <a:xfrm>
            <a:off x="6717866" y="2458487"/>
            <a:ext cx="1174011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5170" hangingPunct="0">
              <a:spcAft>
                <a:spcPts val="540"/>
              </a:spcAft>
              <a:defRPr/>
            </a:pPr>
            <a:r>
              <a:rPr lang="en-US" sz="432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62</a:t>
            </a:r>
            <a:r>
              <a:rPr lang="en-US" sz="324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%</a:t>
            </a:r>
            <a:endParaRPr lang="en-US" sz="4320" kern="0" spc="-9" dirty="0">
              <a:solidFill>
                <a:srgbClr val="EF2637"/>
              </a:solidFill>
              <a:latin typeface="Arial"/>
              <a:ea typeface="Verdana"/>
              <a:cs typeface="Verdana"/>
              <a:sym typeface="Verdana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08D47F2-D03F-A20F-A346-682F546CCD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73380688"/>
              </p:ext>
            </p:extLst>
          </p:nvPr>
        </p:nvGraphicFramePr>
        <p:xfrm>
          <a:off x="1039550" y="4003324"/>
          <a:ext cx="2987017" cy="2034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E6C3EFFA-4359-1341-FB38-5B11F3E6A784}"/>
              </a:ext>
            </a:extLst>
          </p:cNvPr>
          <p:cNvSpPr/>
          <p:nvPr/>
        </p:nvSpPr>
        <p:spPr>
          <a:xfrm>
            <a:off x="3528840" y="4482192"/>
            <a:ext cx="2111378" cy="107721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655170" hangingPunct="0">
              <a:spcAft>
                <a:spcPts val="540"/>
              </a:spcAft>
              <a:defRPr/>
            </a:pPr>
            <a:r>
              <a:rPr lang="en-US" sz="1600" kern="0" spc="-9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For 86% of consumers, a </a:t>
            </a:r>
            <a:r>
              <a:rPr lang="en-US" sz="1600" b="1" kern="0" spc="-9" dirty="0">
                <a:solidFill>
                  <a:srgbClr val="EF262D"/>
                </a:solidFill>
                <a:latin typeface="+mj-lt"/>
                <a:ea typeface="Verdana"/>
                <a:sym typeface="Verdana"/>
              </a:rPr>
              <a:t>simple </a:t>
            </a:r>
            <a:r>
              <a:rPr lang="en-US" sz="1600" kern="0" spc="-9" dirty="0">
                <a:solidFill>
                  <a:srgbClr val="4C4C4B"/>
                </a:solidFill>
                <a:latin typeface="+mj-lt"/>
                <a:ea typeface="Verdana"/>
                <a:sym typeface="Verdana"/>
              </a:rPr>
              <a:t>and </a:t>
            </a:r>
            <a:r>
              <a:rPr lang="en-US" sz="1600" b="1" kern="0" spc="-9" dirty="0">
                <a:solidFill>
                  <a:srgbClr val="EF262D"/>
                </a:solidFill>
                <a:latin typeface="+mj-lt"/>
                <a:ea typeface="Verdana"/>
                <a:sym typeface="Verdana"/>
              </a:rPr>
              <a:t>reliable returns </a:t>
            </a:r>
            <a:r>
              <a:rPr lang="en-US" sz="1600" b="1" kern="0" spc="-9" dirty="0">
                <a:solidFill>
                  <a:srgbClr val="EF262D"/>
                </a:solidFill>
                <a:latin typeface="+mj-lt"/>
                <a:ea typeface="Verdana"/>
                <a:cs typeface="Verdana"/>
                <a:sym typeface="Verdana"/>
              </a:rPr>
              <a:t>process </a:t>
            </a:r>
            <a:r>
              <a:rPr lang="en-US" sz="1600" kern="0" spc="-9" dirty="0">
                <a:solidFill>
                  <a:srgbClr val="4C4C4B"/>
                </a:solidFill>
                <a:latin typeface="+mj-lt"/>
                <a:ea typeface="Verdana"/>
                <a:sym typeface="Verdana"/>
              </a:rPr>
              <a:t>is a</a:t>
            </a:r>
            <a:r>
              <a:rPr lang="en-US" sz="1600" b="1" kern="0" spc="-9" dirty="0">
                <a:solidFill>
                  <a:srgbClr val="EF2637"/>
                </a:solidFill>
                <a:latin typeface="+mj-lt"/>
                <a:ea typeface="Verdana"/>
                <a:cs typeface="Verdana"/>
                <a:sym typeface="Verdana"/>
              </a:rPr>
              <a:t> </a:t>
            </a:r>
            <a:r>
              <a:rPr lang="en-US" sz="1600" b="1" kern="0" spc="-9" dirty="0">
                <a:solidFill>
                  <a:srgbClr val="EF262D"/>
                </a:solidFill>
                <a:latin typeface="+mj-lt"/>
                <a:ea typeface="Verdana"/>
                <a:cs typeface="Verdana"/>
                <a:sym typeface="Verdana"/>
              </a:rPr>
              <a:t>must</a:t>
            </a:r>
            <a:r>
              <a:rPr lang="en-US" sz="1600" kern="0" spc="-9" dirty="0">
                <a:solidFill>
                  <a:srgbClr val="EF262D"/>
                </a:solidFill>
                <a:latin typeface="+mj-lt"/>
                <a:ea typeface="Verdana"/>
                <a:cs typeface="Verdana"/>
                <a:sym typeface="Verdana"/>
              </a:rPr>
              <a:t>.</a:t>
            </a:r>
            <a:r>
              <a:rPr lang="en-US" sz="1600" kern="0" spc="-9" baseline="30000" dirty="0">
                <a:latin typeface="+mj-lt"/>
                <a:ea typeface="Verdana"/>
                <a:cs typeface="Verdana"/>
                <a:sym typeface="Verdana"/>
              </a:rPr>
              <a:t>2</a:t>
            </a:r>
            <a:r>
              <a:rPr lang="en-US" sz="1600" kern="0" spc="-9" dirty="0">
                <a:solidFill>
                  <a:srgbClr val="EF262D"/>
                </a:solidFill>
                <a:latin typeface="+mj-lt"/>
                <a:ea typeface="Verdana"/>
                <a:cs typeface="Verdana"/>
                <a:sym typeface="Verdana"/>
              </a:rPr>
              <a:t> 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7152D94-B56E-296C-37A1-CE1097D72F1A}"/>
              </a:ext>
            </a:extLst>
          </p:cNvPr>
          <p:cNvSpPr/>
          <p:nvPr/>
        </p:nvSpPr>
        <p:spPr>
          <a:xfrm>
            <a:off x="1922680" y="4642236"/>
            <a:ext cx="122075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5170" hangingPunct="0">
              <a:spcAft>
                <a:spcPts val="540"/>
              </a:spcAft>
              <a:defRPr/>
            </a:pPr>
            <a:r>
              <a:rPr lang="en-US" sz="432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86</a:t>
            </a:r>
            <a:r>
              <a:rPr lang="en-US" sz="324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%</a:t>
            </a:r>
            <a:endParaRPr lang="en-US" sz="4320" kern="0" spc="-9" dirty="0">
              <a:solidFill>
                <a:srgbClr val="EF2637"/>
              </a:solidFill>
              <a:latin typeface="Arial"/>
              <a:ea typeface="Verdana"/>
              <a:cs typeface="Verdana"/>
              <a:sym typeface="Verdana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006C3B1-FAE0-06BD-107D-BE4D49667146}"/>
              </a:ext>
            </a:extLst>
          </p:cNvPr>
          <p:cNvSpPr txBox="1">
            <a:spLocks/>
          </p:cNvSpPr>
          <p:nvPr/>
        </p:nvSpPr>
        <p:spPr bwMode="auto">
          <a:xfrm>
            <a:off x="1752476" y="5985053"/>
            <a:ext cx="4343524" cy="613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40" tIns="45720" rIns="91440" bIns="0" anchor="b"/>
          <a:lstStyle/>
          <a:p>
            <a:pPr defTabSz="655170" hangingPunct="0">
              <a:spcBef>
                <a:spcPct val="20000"/>
              </a:spcBef>
              <a:defRPr/>
            </a:pPr>
            <a:r>
              <a:rPr lang="en-US" sz="1100" i="1" kern="0" baseline="30000" dirty="0">
                <a:solidFill>
                  <a:srgbClr val="5A5A5F"/>
                </a:solidFill>
                <a:latin typeface="+mj-lt"/>
                <a:ea typeface="Verdana"/>
                <a:cs typeface="Verdana"/>
                <a:sym typeface="Verdana"/>
              </a:rPr>
              <a:t>1  </a:t>
            </a:r>
            <a:r>
              <a:rPr lang="fr-BE" sz="1100" i="1" kern="0" baseline="30000" dirty="0">
                <a:solidFill>
                  <a:srgbClr val="5A5A5F"/>
                </a:solidFill>
                <a:latin typeface="+mj-lt"/>
                <a:ea typeface="Verdana"/>
              </a:rPr>
              <a:t>IPC Cross border e-commerce </a:t>
            </a:r>
            <a:r>
              <a:rPr lang="fr-BE" sz="1100" i="1" kern="0" baseline="30000" dirty="0" err="1">
                <a:solidFill>
                  <a:srgbClr val="5A5A5F"/>
                </a:solidFill>
                <a:latin typeface="+mj-lt"/>
                <a:ea typeface="Verdana"/>
              </a:rPr>
              <a:t>shopper</a:t>
            </a:r>
            <a:r>
              <a:rPr lang="fr-BE" sz="1100" i="1" kern="0" baseline="30000" dirty="0">
                <a:solidFill>
                  <a:srgbClr val="5A5A5F"/>
                </a:solidFill>
                <a:latin typeface="+mj-lt"/>
                <a:ea typeface="Verdana"/>
              </a:rPr>
              <a:t> </a:t>
            </a:r>
            <a:r>
              <a:rPr lang="fr-BE" sz="1100" i="1" kern="0" baseline="30000" dirty="0" err="1">
                <a:solidFill>
                  <a:srgbClr val="5A5A5F"/>
                </a:solidFill>
                <a:latin typeface="+mj-lt"/>
                <a:ea typeface="Verdana"/>
              </a:rPr>
              <a:t>survey</a:t>
            </a:r>
            <a:r>
              <a:rPr lang="fr-BE" sz="1100" i="1" kern="0" baseline="30000" dirty="0">
                <a:solidFill>
                  <a:srgbClr val="5A5A5F"/>
                </a:solidFill>
                <a:latin typeface="+mj-lt"/>
                <a:ea typeface="Verdana"/>
              </a:rPr>
              <a:t> 2022 / Happy </a:t>
            </a:r>
            <a:r>
              <a:rPr lang="fr-BE" sz="1100" i="1" kern="0" baseline="30000" dirty="0" err="1">
                <a:solidFill>
                  <a:srgbClr val="5A5A5F"/>
                </a:solidFill>
                <a:latin typeface="+mj-lt"/>
                <a:ea typeface="Verdana"/>
              </a:rPr>
              <a:t>returns</a:t>
            </a:r>
            <a:r>
              <a:rPr lang="fr-BE" sz="1100" i="1" kern="0" baseline="30000" dirty="0">
                <a:solidFill>
                  <a:srgbClr val="5A5A5F"/>
                </a:solidFill>
                <a:latin typeface="+mj-lt"/>
                <a:ea typeface="Verdana"/>
              </a:rPr>
              <a:t> </a:t>
            </a:r>
          </a:p>
          <a:p>
            <a:pPr defTabSz="655170" hangingPunct="0">
              <a:spcBef>
                <a:spcPct val="20000"/>
              </a:spcBef>
              <a:defRPr/>
            </a:pPr>
            <a:r>
              <a:rPr lang="en-US" sz="1100" i="1" kern="0" baseline="30000" dirty="0">
                <a:solidFill>
                  <a:srgbClr val="5A5A5F"/>
                </a:solidFill>
                <a:latin typeface="+mj-lt"/>
                <a:ea typeface="Verdana"/>
                <a:cs typeface="Verdana"/>
                <a:sym typeface="Verdana"/>
              </a:rPr>
              <a:t>2  IPC shopper survey Key findings report 2022</a:t>
            </a:r>
          </a:p>
          <a:p>
            <a:pPr defTabSz="655170" hangingPunct="0">
              <a:spcBef>
                <a:spcPct val="20000"/>
              </a:spcBef>
              <a:defRPr/>
            </a:pPr>
            <a:r>
              <a:rPr lang="en-US" sz="1100" i="1" kern="0" baseline="30000" dirty="0">
                <a:solidFill>
                  <a:srgbClr val="5A5A5F"/>
                </a:solidFill>
                <a:latin typeface="+mj-lt"/>
                <a:ea typeface="Verdana"/>
                <a:cs typeface="Verdana"/>
                <a:sym typeface="Verdana"/>
              </a:rPr>
              <a:t>3  DHL.com.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17FA490C-1A79-6F24-C452-B66593FD07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821687"/>
              </p:ext>
            </p:extLst>
          </p:nvPr>
        </p:nvGraphicFramePr>
        <p:xfrm>
          <a:off x="995404" y="1686876"/>
          <a:ext cx="2987017" cy="2034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3BC41B97-B869-5FC6-1B35-8B2044654769}"/>
              </a:ext>
            </a:extLst>
          </p:cNvPr>
          <p:cNvSpPr/>
          <p:nvPr/>
        </p:nvSpPr>
        <p:spPr>
          <a:xfrm>
            <a:off x="1908453" y="2344037"/>
            <a:ext cx="122075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5170" hangingPunct="0">
              <a:spcAft>
                <a:spcPts val="540"/>
              </a:spcAft>
              <a:defRPr/>
            </a:pPr>
            <a:r>
              <a:rPr lang="en-US" sz="432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97</a:t>
            </a:r>
            <a:r>
              <a:rPr lang="en-US" sz="324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%</a:t>
            </a:r>
            <a:endParaRPr lang="en-US" sz="4320" kern="0" spc="-9" dirty="0">
              <a:solidFill>
                <a:srgbClr val="EF2637"/>
              </a:solidFill>
              <a:latin typeface="Arial"/>
              <a:ea typeface="Verdana"/>
              <a:cs typeface="Verdana"/>
              <a:sym typeface="Verdan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FA27630-E96C-87FD-1D3F-6D0AD85008CE}"/>
              </a:ext>
            </a:extLst>
          </p:cNvPr>
          <p:cNvSpPr/>
          <p:nvPr/>
        </p:nvSpPr>
        <p:spPr>
          <a:xfrm>
            <a:off x="3528840" y="2271026"/>
            <a:ext cx="2317277" cy="1077218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defTabSz="655170" hangingPunct="0">
              <a:spcAft>
                <a:spcPts val="540"/>
              </a:spcAft>
              <a:defRPr/>
            </a:pPr>
            <a:r>
              <a:rPr kumimoji="0" lang="en-US" sz="1600" b="0" i="0" u="none" strike="noStrike" kern="1200" cap="none" spc="-10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</a:rPr>
              <a:t>of</a:t>
            </a:r>
            <a:r>
              <a:rPr kumimoji="0" lang="en-US" sz="1600" b="0" i="0" u="none" strike="noStrike" kern="1200" cap="none" spc="-100" normalizeH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</a:rPr>
              <a:t> merchants feel their </a:t>
            </a:r>
            <a:r>
              <a:rPr lang="en-US" sz="1600" b="1" spc="-100" dirty="0">
                <a:solidFill>
                  <a:srgbClr val="FF0000"/>
                </a:solidFill>
                <a:latin typeface="Segoe UI Light"/>
              </a:rPr>
              <a:t>returns process </a:t>
            </a:r>
            <a:r>
              <a:rPr kumimoji="0" lang="en-US" sz="1600" b="0" i="0" u="none" strike="noStrike" kern="1200" cap="none" spc="-100" normalizeH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</a:rPr>
              <a:t>has a significant </a:t>
            </a:r>
            <a:r>
              <a:rPr kumimoji="0" lang="en-US" sz="1600" b="1" i="0" u="none" strike="noStrike" kern="1200" cap="none" spc="-10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 Light"/>
              </a:rPr>
              <a:t>impact on their sales. </a:t>
            </a:r>
            <a:r>
              <a:rPr lang="en-US" sz="1600" kern="0" spc="-9" baseline="30000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1</a:t>
            </a:r>
            <a:endParaRPr lang="en-US" sz="1600" kern="0" spc="-9" dirty="0">
              <a:solidFill>
                <a:srgbClr val="FF0000"/>
              </a:solidFill>
              <a:latin typeface="+mj-lt"/>
              <a:ea typeface="Verdana"/>
              <a:sym typeface="Verdana"/>
            </a:endParaRP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7E4F5885-B7A0-ABE6-7A7A-6A7340E4FE93}"/>
              </a:ext>
            </a:extLst>
          </p:cNvPr>
          <p:cNvGraphicFramePr/>
          <p:nvPr/>
        </p:nvGraphicFramePr>
        <p:xfrm>
          <a:off x="5777693" y="3945463"/>
          <a:ext cx="2987017" cy="2034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E7077190-86F5-2F35-361F-2230A7955689}"/>
              </a:ext>
            </a:extLst>
          </p:cNvPr>
          <p:cNvSpPr/>
          <p:nvPr/>
        </p:nvSpPr>
        <p:spPr>
          <a:xfrm>
            <a:off x="6671121" y="4584375"/>
            <a:ext cx="1220756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5170" hangingPunct="0">
              <a:spcAft>
                <a:spcPts val="540"/>
              </a:spcAft>
              <a:defRPr/>
            </a:pPr>
            <a:r>
              <a:rPr lang="en-US" sz="432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41</a:t>
            </a:r>
            <a:r>
              <a:rPr lang="en-US" sz="3240" kern="0" spc="-9" dirty="0">
                <a:solidFill>
                  <a:srgbClr val="EF2637"/>
                </a:solidFill>
                <a:latin typeface="Arial"/>
                <a:ea typeface="Verdana"/>
                <a:cs typeface="Verdana"/>
                <a:sym typeface="Verdana"/>
              </a:rPr>
              <a:t>%</a:t>
            </a:r>
            <a:endParaRPr lang="en-US" sz="4320" kern="0" spc="-9" dirty="0">
              <a:solidFill>
                <a:srgbClr val="EF2637"/>
              </a:solidFill>
              <a:latin typeface="Arial"/>
              <a:ea typeface="Verdana"/>
              <a:cs typeface="Verdana"/>
              <a:sym typeface="Verdan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654CD80-6168-CB6F-D08D-FC89CF8DE768}"/>
              </a:ext>
            </a:extLst>
          </p:cNvPr>
          <p:cNvSpPr/>
          <p:nvPr/>
        </p:nvSpPr>
        <p:spPr>
          <a:xfrm>
            <a:off x="8243925" y="4673360"/>
            <a:ext cx="20253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55170" hangingPunct="0">
              <a:spcAft>
                <a:spcPts val="540"/>
              </a:spcAft>
              <a:defRPr/>
            </a:pPr>
            <a:r>
              <a:rPr lang="en-US" sz="1600" b="1" kern="0" spc="-9" dirty="0">
                <a:solidFill>
                  <a:srgbClr val="EF262D"/>
                </a:solidFill>
                <a:latin typeface="+mj-lt"/>
                <a:ea typeface="Verdana"/>
                <a:cs typeface="Verdana"/>
                <a:sym typeface="Verdana"/>
              </a:rPr>
              <a:t>of the returns </a:t>
            </a:r>
            <a:r>
              <a:rPr lang="en-US" sz="1600" kern="0" spc="-9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are handled by the Post.² </a:t>
            </a:r>
          </a:p>
        </p:txBody>
      </p:sp>
    </p:spTree>
    <p:extLst>
      <p:ext uri="{BB962C8B-B14F-4D97-AF65-F5344CB8AC3E}">
        <p14:creationId xmlns:p14="http://schemas.microsoft.com/office/powerpoint/2010/main" val="22212148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5FACC1-AC02-189E-25C5-6182CE927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540000"/>
            <a:ext cx="9502321" cy="1036800"/>
          </a:xfrm>
        </p:spPr>
        <p:txBody>
          <a:bodyPr/>
          <a:lstStyle/>
          <a:p>
            <a:r>
              <a:rPr lang="en-US" dirty="0"/>
              <a:t>Challenge: Complications &amp; cost</a:t>
            </a:r>
            <a:endParaRPr lang="fr-BE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E6507C6E-B0F5-7DB1-800C-1D486B5DA4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32651" y="2749646"/>
            <a:ext cx="4793970" cy="3641971"/>
          </a:xfrm>
          <a:prstGeom prst="rect">
            <a:avLst/>
          </a:prstGeom>
        </p:spPr>
      </p:pic>
      <p:sp>
        <p:nvSpPr>
          <p:cNvPr id="3" name="Title 37">
            <a:extLst>
              <a:ext uri="{FF2B5EF4-FFF2-40B4-BE49-F238E27FC236}">
                <a16:creationId xmlns:a16="http://schemas.microsoft.com/office/drawing/2014/main" id="{EC587095-6000-9301-FCD5-8ECC67242F5F}"/>
              </a:ext>
            </a:extLst>
          </p:cNvPr>
          <p:cNvSpPr txBox="1">
            <a:spLocks/>
          </p:cNvSpPr>
          <p:nvPr/>
        </p:nvSpPr>
        <p:spPr>
          <a:xfrm>
            <a:off x="6410848" y="1576800"/>
            <a:ext cx="4813159" cy="414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2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200" dirty="0">
              <a:solidFill>
                <a:srgbClr val="5A5A5F"/>
              </a:solidFill>
              <a:latin typeface="Segoe UI Light"/>
            </a:endParaRPr>
          </a:p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200" dirty="0">
              <a:solidFill>
                <a:srgbClr val="5A5A5F"/>
              </a:solidFill>
              <a:latin typeface="Segoe UI Light"/>
            </a:endParaRPr>
          </a:p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200" dirty="0">
              <a:solidFill>
                <a:srgbClr val="5A5A5F"/>
              </a:solidFill>
              <a:latin typeface="Segoe UI Light"/>
            </a:endParaRPr>
          </a:p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200" dirty="0">
                <a:solidFill>
                  <a:srgbClr val="5A5A5F"/>
                </a:solidFill>
                <a:latin typeface="Segoe UI Light"/>
              </a:rPr>
              <a:t>International returns are </a:t>
            </a:r>
            <a:r>
              <a:rPr lang="en-US" sz="2200" b="1" dirty="0">
                <a:solidFill>
                  <a:srgbClr val="5A5A5F"/>
                </a:solidFill>
                <a:latin typeface="Segoe UI Light"/>
              </a:rPr>
              <a:t>complicated</a:t>
            </a:r>
            <a:r>
              <a:rPr lang="en-US" sz="2200" dirty="0">
                <a:solidFill>
                  <a:srgbClr val="5A5A5F"/>
                </a:solidFill>
                <a:latin typeface="Segoe UI Light"/>
              </a:rPr>
              <a:t> and </a:t>
            </a:r>
            <a:r>
              <a:rPr lang="en-US" sz="2200" b="1" dirty="0">
                <a:solidFill>
                  <a:srgbClr val="5A5A5F"/>
                </a:solidFill>
                <a:latin typeface="Segoe UI Light"/>
              </a:rPr>
              <a:t>expensive</a:t>
            </a:r>
            <a:r>
              <a:rPr lang="en-US" sz="2200" dirty="0">
                <a:solidFill>
                  <a:srgbClr val="5A5A5F"/>
                </a:solidFill>
                <a:latin typeface="Segoe UI Light"/>
              </a:rPr>
              <a:t> :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2200" b="0" i="0" u="none" strike="noStrike" kern="1200" cap="none" spc="-100" normalizeH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</a:rPr>
              <a:t>Higher costs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200" baseline="0" dirty="0">
                <a:solidFill>
                  <a:srgbClr val="5A5A5F"/>
                </a:solidFill>
                <a:latin typeface="Segoe UI Light"/>
              </a:rPr>
              <a:t>Take longer</a:t>
            </a: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200" dirty="0">
                <a:solidFill>
                  <a:srgbClr val="5A5A5F"/>
                </a:solidFill>
                <a:latin typeface="Segoe UI Light"/>
              </a:rPr>
              <a:t>Extra</a:t>
            </a:r>
            <a:r>
              <a:rPr kumimoji="0" lang="en-US" sz="2200" b="0" i="0" u="none" strike="noStrike" kern="1200" cap="none" spc="-100" normalizeH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</a:rPr>
              <a:t> </a:t>
            </a:r>
            <a:r>
              <a:rPr lang="en-US" sz="2200" dirty="0">
                <a:solidFill>
                  <a:srgbClr val="5A5A5F"/>
                </a:solidFill>
                <a:latin typeface="Segoe UI Light"/>
              </a:rPr>
              <a:t>administrations</a:t>
            </a:r>
            <a:endParaRPr lang="en-US" sz="2200" b="0" i="0" u="none" strike="noStrike" kern="1200" cap="none" spc="-100" normalizeH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cs typeface="Segoe UI Light"/>
            </a:endParaRPr>
          </a:p>
          <a:p>
            <a:pPr marL="342900" marR="0" lvl="0" indent="-342900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sz="2200" baseline="0" dirty="0">
                <a:solidFill>
                  <a:srgbClr val="5A5A5F"/>
                </a:solidFill>
                <a:latin typeface="Segoe UI Light"/>
              </a:rPr>
              <a:t>Rules vary</a:t>
            </a:r>
            <a:endParaRPr kumimoji="0" lang="en-US" sz="2200" b="0" i="0" u="none" strike="noStrike" kern="1200" cap="none" spc="-10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</a:endParaRPr>
          </a:p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200" b="0" i="0" u="none" strike="noStrike" kern="1200" cap="none" spc="-10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</a:endParaRPr>
          </a:p>
          <a:p>
            <a:pPr marL="0" marR="0" lvl="0" indent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200" dirty="0">
              <a:solidFill>
                <a:srgbClr val="5A5A5F"/>
              </a:solidFill>
              <a:latin typeface="Segoe UI Light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D2836070-DA78-68F2-7E32-7CE7EA35483C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ource : IPC Cross border </a:t>
            </a:r>
            <a:r>
              <a:rPr lang="fr-BE" sz="1200" i="1" dirty="0">
                <a:solidFill>
                  <a:srgbClr val="5A5A5F"/>
                </a:solidFill>
                <a:latin typeface="Segoe UI Light"/>
              </a:rPr>
              <a:t>e-commerce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hopper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urvey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2022</a:t>
            </a:r>
          </a:p>
        </p:txBody>
      </p:sp>
      <p:pic>
        <p:nvPicPr>
          <p:cNvPr id="14" name="Picture 13" descr="A computer with a shopping cart on it&#10;&#10;Description automatically generated">
            <a:extLst>
              <a:ext uri="{FF2B5EF4-FFF2-40B4-BE49-F238E27FC236}">
                <a16:creationId xmlns:a16="http://schemas.microsoft.com/office/drawing/2014/main" id="{24EF713C-4532-B542-2923-1684DE3826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885" y="1890227"/>
            <a:ext cx="5466001" cy="352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241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Espace réservé pour une image  19" descr="Une image contenant fournitures de bureau, crayon&#10;&#10;Description générée automatiquement">
            <a:extLst>
              <a:ext uri="{FF2B5EF4-FFF2-40B4-BE49-F238E27FC236}">
                <a16:creationId xmlns:a16="http://schemas.microsoft.com/office/drawing/2014/main" id="{CEB03E1D-6C64-481F-2A30-5A4E1B11EE3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010" b="17686"/>
          <a:stretch/>
        </p:blipFill>
        <p:spPr>
          <a:xfrm>
            <a:off x="169640" y="142874"/>
            <a:ext cx="11865198" cy="3113383"/>
          </a:xfrm>
        </p:spPr>
      </p:pic>
      <p:sp>
        <p:nvSpPr>
          <p:cNvPr id="101" name="Content Placeholder 3">
            <a:extLst>
              <a:ext uri="{FF2B5EF4-FFF2-40B4-BE49-F238E27FC236}">
                <a16:creationId xmlns:a16="http://schemas.microsoft.com/office/drawing/2014/main" id="{62B0338F-A4ED-E107-A51D-223A11C79D54}"/>
              </a:ext>
            </a:extLst>
          </p:cNvPr>
          <p:cNvSpPr txBox="1">
            <a:spLocks/>
          </p:cNvSpPr>
          <p:nvPr/>
        </p:nvSpPr>
        <p:spPr>
          <a:xfrm>
            <a:off x="1458477" y="4322381"/>
            <a:ext cx="1957888" cy="28198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b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14-day period to change your mind</a:t>
            </a:r>
          </a:p>
        </p:txBody>
      </p:sp>
      <p:sp>
        <p:nvSpPr>
          <p:cNvPr id="107" name="Text Placeholder 8">
            <a:extLst>
              <a:ext uri="{FF2B5EF4-FFF2-40B4-BE49-F238E27FC236}">
                <a16:creationId xmlns:a16="http://schemas.microsoft.com/office/drawing/2014/main" id="{3169681C-DD33-6D43-D1F8-375FFC013F87}"/>
              </a:ext>
            </a:extLst>
          </p:cNvPr>
          <p:cNvSpPr txBox="1">
            <a:spLocks noChangeAspect="1"/>
          </p:cNvSpPr>
          <p:nvPr/>
        </p:nvSpPr>
        <p:spPr>
          <a:xfrm>
            <a:off x="2167420" y="4273011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FF0000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/>
              <a:t>.</a:t>
            </a:r>
            <a:endParaRPr lang="en-GB" dirty="0"/>
          </a:p>
        </p:txBody>
      </p:sp>
      <p:sp>
        <p:nvSpPr>
          <p:cNvPr id="108" name="Content Placeholder 3">
            <a:extLst>
              <a:ext uri="{FF2B5EF4-FFF2-40B4-BE49-F238E27FC236}">
                <a16:creationId xmlns:a16="http://schemas.microsoft.com/office/drawing/2014/main" id="{C53BCE3F-2A80-3A3A-9269-6BD9F96F9E55}"/>
              </a:ext>
            </a:extLst>
          </p:cNvPr>
          <p:cNvSpPr txBox="1">
            <a:spLocks/>
          </p:cNvSpPr>
          <p:nvPr/>
        </p:nvSpPr>
        <p:spPr>
          <a:xfrm>
            <a:off x="3782734" y="4322381"/>
            <a:ext cx="1957888" cy="28198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nl-B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ctr">
              <a:buNone/>
            </a:pPr>
            <a:r>
              <a:rPr lang="nl-BE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xamine</a:t>
            </a:r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ctr">
              <a:buNone/>
            </a:pP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0" name="Content Placeholder 3">
            <a:extLst>
              <a:ext uri="{FF2B5EF4-FFF2-40B4-BE49-F238E27FC236}">
                <a16:creationId xmlns:a16="http://schemas.microsoft.com/office/drawing/2014/main" id="{E3098B62-05A6-BA9F-17D5-07822A6E3379}"/>
              </a:ext>
            </a:extLst>
          </p:cNvPr>
          <p:cNvSpPr txBox="1">
            <a:spLocks/>
          </p:cNvSpPr>
          <p:nvPr/>
        </p:nvSpPr>
        <p:spPr>
          <a:xfrm>
            <a:off x="6106991" y="4322381"/>
            <a:ext cx="1957888" cy="28198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ctr">
              <a:buNone/>
            </a:pPr>
            <a:r>
              <a:rPr lang="en-US" dirty="0">
                <a:latin typeface="Segoe UI Light" panose="020B0502040204020203" pitchFamily="34" charset="0"/>
                <a:cs typeface="Segoe UI Light" panose="020B0502040204020203" pitchFamily="34" charset="0"/>
              </a:rPr>
              <a:t>Refund</a:t>
            </a:r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12" name="Afbeelding 33">
            <a:extLst>
              <a:ext uri="{FF2B5EF4-FFF2-40B4-BE49-F238E27FC236}">
                <a16:creationId xmlns:a16="http://schemas.microsoft.com/office/drawing/2014/main" id="{2CA4B380-95DE-B8A0-D496-517EC213838F}"/>
              </a:ext>
            </a:extLst>
          </p:cNvPr>
          <p:cNvGrpSpPr/>
          <p:nvPr/>
        </p:nvGrpSpPr>
        <p:grpSpPr>
          <a:xfrm>
            <a:off x="6787045" y="3653576"/>
            <a:ext cx="542925" cy="542925"/>
            <a:chOff x="2394730" y="3094137"/>
            <a:chExt cx="542925" cy="542925"/>
          </a:xfrm>
        </p:grpSpPr>
        <p:sp>
          <p:nvSpPr>
            <p:cNvPr id="113" name="Freeform: Shape 89">
              <a:extLst>
                <a:ext uri="{FF2B5EF4-FFF2-40B4-BE49-F238E27FC236}">
                  <a16:creationId xmlns:a16="http://schemas.microsoft.com/office/drawing/2014/main" id="{8FD3B02B-11B9-A68A-715E-321C5BD12501}"/>
                </a:ext>
              </a:extLst>
            </p:cNvPr>
            <p:cNvSpPr/>
            <p:nvPr/>
          </p:nvSpPr>
          <p:spPr>
            <a:xfrm>
              <a:off x="2547130" y="3347978"/>
              <a:ext cx="188118" cy="250031"/>
            </a:xfrm>
            <a:custGeom>
              <a:avLst/>
              <a:gdLst>
                <a:gd name="connsiteX0" fmla="*/ 13335 w 188118"/>
                <a:gd name="connsiteY0" fmla="*/ 112871 h 250031"/>
                <a:gd name="connsiteX1" fmla="*/ 113348 w 188118"/>
                <a:gd name="connsiteY1" fmla="*/ 12859 h 250031"/>
                <a:gd name="connsiteX2" fmla="*/ 175260 w 188118"/>
                <a:gd name="connsiteY2" fmla="*/ 12859 h 250031"/>
                <a:gd name="connsiteX3" fmla="*/ 175260 w 188118"/>
                <a:gd name="connsiteY3" fmla="*/ 12859 h 250031"/>
                <a:gd name="connsiteX4" fmla="*/ 175260 w 188118"/>
                <a:gd name="connsiteY4" fmla="*/ 74771 h 250031"/>
                <a:gd name="connsiteX5" fmla="*/ 0 w 188118"/>
                <a:gd name="connsiteY5" fmla="*/ 250031 h 250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8118" h="250031">
                  <a:moveTo>
                    <a:pt x="13335" y="112871"/>
                  </a:moveTo>
                  <a:lnTo>
                    <a:pt x="113348" y="12859"/>
                  </a:lnTo>
                  <a:cubicBezTo>
                    <a:pt x="130493" y="-4286"/>
                    <a:pt x="158115" y="-4286"/>
                    <a:pt x="175260" y="12859"/>
                  </a:cubicBezTo>
                  <a:lnTo>
                    <a:pt x="175260" y="12859"/>
                  </a:lnTo>
                  <a:cubicBezTo>
                    <a:pt x="192405" y="30004"/>
                    <a:pt x="192405" y="57626"/>
                    <a:pt x="175260" y="74771"/>
                  </a:cubicBezTo>
                  <a:lnTo>
                    <a:pt x="0" y="250031"/>
                  </a:ln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LID4096"/>
            </a:p>
          </p:txBody>
        </p:sp>
        <p:sp>
          <p:nvSpPr>
            <p:cNvPr id="114" name="Freeform: Shape 90">
              <a:extLst>
                <a:ext uri="{FF2B5EF4-FFF2-40B4-BE49-F238E27FC236}">
                  <a16:creationId xmlns:a16="http://schemas.microsoft.com/office/drawing/2014/main" id="{14963467-5798-46DA-CB4F-26017FCDD1CC}"/>
                </a:ext>
              </a:extLst>
            </p:cNvPr>
            <p:cNvSpPr/>
            <p:nvPr/>
          </p:nvSpPr>
          <p:spPr>
            <a:xfrm>
              <a:off x="2471882" y="3264634"/>
              <a:ext cx="136207" cy="333375"/>
            </a:xfrm>
            <a:custGeom>
              <a:avLst/>
              <a:gdLst>
                <a:gd name="connsiteX0" fmla="*/ 136208 w 136207"/>
                <a:gd name="connsiteY0" fmla="*/ 0 h 333375"/>
                <a:gd name="connsiteX1" fmla="*/ 0 w 136207"/>
                <a:gd name="connsiteY1" fmla="*/ 139065 h 333375"/>
                <a:gd name="connsiteX2" fmla="*/ 0 w 136207"/>
                <a:gd name="connsiteY2" fmla="*/ 333375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207" h="333375">
                  <a:moveTo>
                    <a:pt x="136208" y="0"/>
                  </a:moveTo>
                  <a:lnTo>
                    <a:pt x="0" y="139065"/>
                  </a:lnTo>
                  <a:lnTo>
                    <a:pt x="0" y="333375"/>
                  </a:ln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LID4096"/>
            </a:p>
          </p:txBody>
        </p:sp>
        <p:sp>
          <p:nvSpPr>
            <p:cNvPr id="115" name="Freeform: Shape 91">
              <a:extLst>
                <a:ext uri="{FF2B5EF4-FFF2-40B4-BE49-F238E27FC236}">
                  <a16:creationId xmlns:a16="http://schemas.microsoft.com/office/drawing/2014/main" id="{890E07F4-62D6-9863-8AD6-715560B0E0C1}"/>
                </a:ext>
              </a:extLst>
            </p:cNvPr>
            <p:cNvSpPr/>
            <p:nvPr/>
          </p:nvSpPr>
          <p:spPr>
            <a:xfrm>
              <a:off x="2611899" y="3141762"/>
              <a:ext cx="256222" cy="400050"/>
            </a:xfrm>
            <a:custGeom>
              <a:avLst/>
              <a:gdLst>
                <a:gd name="connsiteX0" fmla="*/ 0 w 256222"/>
                <a:gd name="connsiteY0" fmla="*/ 260985 h 400050"/>
                <a:gd name="connsiteX1" fmla="*/ 0 w 256222"/>
                <a:gd name="connsiteY1" fmla="*/ 44768 h 400050"/>
                <a:gd name="connsiteX2" fmla="*/ 44768 w 256222"/>
                <a:gd name="connsiteY2" fmla="*/ 0 h 400050"/>
                <a:gd name="connsiteX3" fmla="*/ 211455 w 256222"/>
                <a:gd name="connsiteY3" fmla="*/ 0 h 400050"/>
                <a:gd name="connsiteX4" fmla="*/ 256223 w 256222"/>
                <a:gd name="connsiteY4" fmla="*/ 44768 h 400050"/>
                <a:gd name="connsiteX5" fmla="*/ 256223 w 256222"/>
                <a:gd name="connsiteY5" fmla="*/ 355283 h 400050"/>
                <a:gd name="connsiteX6" fmla="*/ 211455 w 256222"/>
                <a:gd name="connsiteY6" fmla="*/ 400050 h 400050"/>
                <a:gd name="connsiteX7" fmla="*/ 60960 w 256222"/>
                <a:gd name="connsiteY7" fmla="*/ 40005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222" h="400050">
                  <a:moveTo>
                    <a:pt x="0" y="260985"/>
                  </a:moveTo>
                  <a:lnTo>
                    <a:pt x="0" y="44768"/>
                  </a:lnTo>
                  <a:cubicBezTo>
                    <a:pt x="0" y="20003"/>
                    <a:pt x="20003" y="0"/>
                    <a:pt x="44768" y="0"/>
                  </a:cubicBezTo>
                  <a:lnTo>
                    <a:pt x="211455" y="0"/>
                  </a:lnTo>
                  <a:cubicBezTo>
                    <a:pt x="236220" y="0"/>
                    <a:pt x="256223" y="20003"/>
                    <a:pt x="256223" y="44768"/>
                  </a:cubicBezTo>
                  <a:lnTo>
                    <a:pt x="256223" y="355283"/>
                  </a:lnTo>
                  <a:cubicBezTo>
                    <a:pt x="256223" y="380048"/>
                    <a:pt x="236220" y="400050"/>
                    <a:pt x="211455" y="400050"/>
                  </a:cubicBezTo>
                  <a:lnTo>
                    <a:pt x="60960" y="400050"/>
                  </a:lnTo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LID4096"/>
            </a:p>
          </p:txBody>
        </p:sp>
        <p:sp>
          <p:nvSpPr>
            <p:cNvPr id="116" name="Freeform: Shape 92">
              <a:extLst>
                <a:ext uri="{FF2B5EF4-FFF2-40B4-BE49-F238E27FC236}">
                  <a16:creationId xmlns:a16="http://schemas.microsoft.com/office/drawing/2014/main" id="{06B650F1-BD35-3455-806A-6F577D33B0AF}"/>
                </a:ext>
              </a:extLst>
            </p:cNvPr>
            <p:cNvSpPr/>
            <p:nvPr/>
          </p:nvSpPr>
          <p:spPr>
            <a:xfrm>
              <a:off x="2803352" y="3147477"/>
              <a:ext cx="9525" cy="394335"/>
            </a:xfrm>
            <a:custGeom>
              <a:avLst/>
              <a:gdLst>
                <a:gd name="connsiteX0" fmla="*/ 0 w 9525"/>
                <a:gd name="connsiteY0" fmla="*/ 0 h 394335"/>
                <a:gd name="connsiteX1" fmla="*/ 0 w 9525"/>
                <a:gd name="connsiteY1" fmla="*/ 394335 h 394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94335">
                  <a:moveTo>
                    <a:pt x="0" y="0"/>
                  </a:moveTo>
                  <a:lnTo>
                    <a:pt x="0" y="394335"/>
                  </a:lnTo>
                </a:path>
              </a:pathLst>
            </a:custGeom>
            <a:ln w="19050" cap="flat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LID4096"/>
            </a:p>
          </p:txBody>
        </p:sp>
        <p:sp>
          <p:nvSpPr>
            <p:cNvPr id="117" name="Freeform: Shape 93">
              <a:extLst>
                <a:ext uri="{FF2B5EF4-FFF2-40B4-BE49-F238E27FC236}">
                  <a16:creationId xmlns:a16="http://schemas.microsoft.com/office/drawing/2014/main" id="{B425E465-D662-32F6-8E95-8509A1AA8B2E}"/>
                </a:ext>
              </a:extLst>
            </p:cNvPr>
            <p:cNvSpPr/>
            <p:nvPr/>
          </p:nvSpPr>
          <p:spPr>
            <a:xfrm>
              <a:off x="2696672" y="3218914"/>
              <a:ext cx="50482" cy="59054"/>
            </a:xfrm>
            <a:custGeom>
              <a:avLst/>
              <a:gdLst>
                <a:gd name="connsiteX0" fmla="*/ 38100 w 50482"/>
                <a:gd name="connsiteY0" fmla="*/ 59055 h 59054"/>
                <a:gd name="connsiteX1" fmla="*/ 12382 w 50482"/>
                <a:gd name="connsiteY1" fmla="*/ 59055 h 59054"/>
                <a:gd name="connsiteX2" fmla="*/ 0 w 50482"/>
                <a:gd name="connsiteY2" fmla="*/ 46672 h 59054"/>
                <a:gd name="connsiteX3" fmla="*/ 0 w 50482"/>
                <a:gd name="connsiteY3" fmla="*/ 12382 h 59054"/>
                <a:gd name="connsiteX4" fmla="*/ 12382 w 50482"/>
                <a:gd name="connsiteY4" fmla="*/ 0 h 59054"/>
                <a:gd name="connsiteX5" fmla="*/ 38100 w 50482"/>
                <a:gd name="connsiteY5" fmla="*/ 0 h 59054"/>
                <a:gd name="connsiteX6" fmla="*/ 50482 w 50482"/>
                <a:gd name="connsiteY6" fmla="*/ 12382 h 59054"/>
                <a:gd name="connsiteX7" fmla="*/ 50482 w 50482"/>
                <a:gd name="connsiteY7" fmla="*/ 46672 h 59054"/>
                <a:gd name="connsiteX8" fmla="*/ 38100 w 50482"/>
                <a:gd name="connsiteY8" fmla="*/ 59055 h 59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482" h="59054">
                  <a:moveTo>
                    <a:pt x="38100" y="59055"/>
                  </a:moveTo>
                  <a:lnTo>
                    <a:pt x="12382" y="59055"/>
                  </a:lnTo>
                  <a:cubicBezTo>
                    <a:pt x="5715" y="59055"/>
                    <a:pt x="0" y="53340"/>
                    <a:pt x="0" y="46672"/>
                  </a:cubicBezTo>
                  <a:lnTo>
                    <a:pt x="0" y="12382"/>
                  </a:lnTo>
                  <a:cubicBezTo>
                    <a:pt x="0" y="5715"/>
                    <a:pt x="5715" y="0"/>
                    <a:pt x="12382" y="0"/>
                  </a:cubicBezTo>
                  <a:lnTo>
                    <a:pt x="38100" y="0"/>
                  </a:lnTo>
                  <a:cubicBezTo>
                    <a:pt x="44768" y="0"/>
                    <a:pt x="50482" y="5715"/>
                    <a:pt x="50482" y="12382"/>
                  </a:cubicBezTo>
                  <a:lnTo>
                    <a:pt x="50482" y="46672"/>
                  </a:lnTo>
                  <a:cubicBezTo>
                    <a:pt x="50482" y="53340"/>
                    <a:pt x="45720" y="59055"/>
                    <a:pt x="38100" y="59055"/>
                  </a:cubicBezTo>
                  <a:close/>
                </a:path>
              </a:pathLst>
            </a:custGeom>
            <a:noFill/>
            <a:ln w="1905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LID4096"/>
            </a:p>
          </p:txBody>
        </p:sp>
      </p:grpSp>
      <p:sp>
        <p:nvSpPr>
          <p:cNvPr id="118" name="Content Placeholder 3">
            <a:extLst>
              <a:ext uri="{FF2B5EF4-FFF2-40B4-BE49-F238E27FC236}">
                <a16:creationId xmlns:a16="http://schemas.microsoft.com/office/drawing/2014/main" id="{A6E18741-584A-D846-AF21-AB922EE87BC3}"/>
              </a:ext>
            </a:extLst>
          </p:cNvPr>
          <p:cNvSpPr txBox="1">
            <a:spLocks/>
          </p:cNvSpPr>
          <p:nvPr/>
        </p:nvSpPr>
        <p:spPr>
          <a:xfrm>
            <a:off x="218950" y="3857539"/>
            <a:ext cx="2122806" cy="12574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0" name="Content Placeholder 3">
            <a:extLst>
              <a:ext uri="{FF2B5EF4-FFF2-40B4-BE49-F238E27FC236}">
                <a16:creationId xmlns:a16="http://schemas.microsoft.com/office/drawing/2014/main" id="{94E5183A-C177-0F00-8657-FA8724EB73BA}"/>
              </a:ext>
            </a:extLst>
          </p:cNvPr>
          <p:cNvSpPr txBox="1">
            <a:spLocks/>
          </p:cNvSpPr>
          <p:nvPr/>
        </p:nvSpPr>
        <p:spPr>
          <a:xfrm>
            <a:off x="8431248" y="4322381"/>
            <a:ext cx="1957888" cy="28198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nl-BE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 algn="ctr">
              <a:buNone/>
            </a:pPr>
            <a:r>
              <a:rPr lang="nl-BE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lear</a:t>
            </a:r>
            <a:r>
              <a:rPr lang="nl-BE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nl-BE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unication</a:t>
            </a:r>
            <a:endParaRPr lang="nl-NL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22" name="Freeform 5">
            <a:extLst>
              <a:ext uri="{FF2B5EF4-FFF2-40B4-BE49-F238E27FC236}">
                <a16:creationId xmlns:a16="http://schemas.microsoft.com/office/drawing/2014/main" id="{F73722AA-A2F1-A8E0-15A9-FE7ADA6E402F}"/>
              </a:ext>
            </a:extLst>
          </p:cNvPr>
          <p:cNvSpPr>
            <a:spLocks noEditPoints="1"/>
          </p:cNvSpPr>
          <p:nvPr/>
        </p:nvSpPr>
        <p:spPr bwMode="auto">
          <a:xfrm>
            <a:off x="9212734" y="3701201"/>
            <a:ext cx="496888" cy="398462"/>
          </a:xfrm>
          <a:custGeom>
            <a:avLst/>
            <a:gdLst>
              <a:gd name="T0" fmla="*/ 695 w 1751"/>
              <a:gd name="T1" fmla="*/ 321 h 1398"/>
              <a:gd name="T2" fmla="*/ 1282 w 1751"/>
              <a:gd name="T3" fmla="*/ 0 h 1398"/>
              <a:gd name="T4" fmla="*/ 1282 w 1751"/>
              <a:gd name="T5" fmla="*/ 731 h 1398"/>
              <a:gd name="T6" fmla="*/ 1436 w 1751"/>
              <a:gd name="T7" fmla="*/ 321 h 1398"/>
              <a:gd name="T8" fmla="*/ 1544 w 1751"/>
              <a:gd name="T9" fmla="*/ 598 h 1398"/>
              <a:gd name="T10" fmla="*/ 1444 w 1751"/>
              <a:gd name="T11" fmla="*/ 864 h 1398"/>
              <a:gd name="T12" fmla="*/ 1587 w 1751"/>
              <a:gd name="T13" fmla="*/ 180 h 1398"/>
              <a:gd name="T14" fmla="*/ 1751 w 1751"/>
              <a:gd name="T15" fmla="*/ 600 h 1398"/>
              <a:gd name="T16" fmla="*/ 1600 w 1751"/>
              <a:gd name="T17" fmla="*/ 1006 h 1398"/>
              <a:gd name="T18" fmla="*/ 1282 w 1751"/>
              <a:gd name="T19" fmla="*/ 454 h 1398"/>
              <a:gd name="T20" fmla="*/ 1282 w 1751"/>
              <a:gd name="T21" fmla="*/ 1186 h 1398"/>
              <a:gd name="T22" fmla="*/ 611 w 1751"/>
              <a:gd name="T23" fmla="*/ 858 h 1398"/>
              <a:gd name="T24" fmla="*/ 474 w 1751"/>
              <a:gd name="T25" fmla="*/ 871 h 1398"/>
              <a:gd name="T26" fmla="*/ 608 w 1751"/>
              <a:gd name="T27" fmla="*/ 1398 h 1398"/>
              <a:gd name="T28" fmla="*/ 364 w 1751"/>
              <a:gd name="T29" fmla="*/ 1398 h 1398"/>
              <a:gd name="T30" fmla="*/ 138 w 1751"/>
              <a:gd name="T31" fmla="*/ 837 h 1398"/>
              <a:gd name="T32" fmla="*/ 474 w 1751"/>
              <a:gd name="T33" fmla="*/ 871 h 1398"/>
              <a:gd name="T34" fmla="*/ 263 w 1751"/>
              <a:gd name="T35" fmla="*/ 871 h 1398"/>
              <a:gd name="T36" fmla="*/ 0 w 1751"/>
              <a:gd name="T37" fmla="*/ 593 h 1398"/>
              <a:gd name="T38" fmla="*/ 263 w 1751"/>
              <a:gd name="T39" fmla="*/ 315 h 1398"/>
              <a:gd name="T40" fmla="*/ 474 w 1751"/>
              <a:gd name="T41" fmla="*/ 315 h 1398"/>
              <a:gd name="T42" fmla="*/ 474 w 1751"/>
              <a:gd name="T43" fmla="*/ 871 h 1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751" h="1398">
                <a:moveTo>
                  <a:pt x="695" y="321"/>
                </a:moveTo>
                <a:cubicBezTo>
                  <a:pt x="879" y="294"/>
                  <a:pt x="1163" y="133"/>
                  <a:pt x="1282" y="0"/>
                </a:cubicBezTo>
                <a:lnTo>
                  <a:pt x="1282" y="731"/>
                </a:lnTo>
                <a:moveTo>
                  <a:pt x="1436" y="321"/>
                </a:moveTo>
                <a:cubicBezTo>
                  <a:pt x="1503" y="392"/>
                  <a:pt x="1544" y="490"/>
                  <a:pt x="1544" y="598"/>
                </a:cubicBezTo>
                <a:cubicBezTo>
                  <a:pt x="1544" y="701"/>
                  <a:pt x="1506" y="794"/>
                  <a:pt x="1444" y="864"/>
                </a:cubicBezTo>
                <a:moveTo>
                  <a:pt x="1587" y="180"/>
                </a:moveTo>
                <a:cubicBezTo>
                  <a:pt x="1688" y="287"/>
                  <a:pt x="1751" y="436"/>
                  <a:pt x="1751" y="600"/>
                </a:cubicBezTo>
                <a:cubicBezTo>
                  <a:pt x="1751" y="757"/>
                  <a:pt x="1694" y="900"/>
                  <a:pt x="1600" y="1006"/>
                </a:cubicBezTo>
                <a:moveTo>
                  <a:pt x="1282" y="454"/>
                </a:moveTo>
                <a:lnTo>
                  <a:pt x="1282" y="1186"/>
                </a:lnTo>
                <a:cubicBezTo>
                  <a:pt x="1152" y="1040"/>
                  <a:pt x="788" y="858"/>
                  <a:pt x="611" y="858"/>
                </a:cubicBezTo>
                <a:lnTo>
                  <a:pt x="474" y="871"/>
                </a:lnTo>
                <a:lnTo>
                  <a:pt x="608" y="1398"/>
                </a:lnTo>
                <a:lnTo>
                  <a:pt x="364" y="1398"/>
                </a:lnTo>
                <a:lnTo>
                  <a:pt x="138" y="837"/>
                </a:lnTo>
                <a:moveTo>
                  <a:pt x="474" y="871"/>
                </a:moveTo>
                <a:lnTo>
                  <a:pt x="263" y="871"/>
                </a:lnTo>
                <a:cubicBezTo>
                  <a:pt x="118" y="871"/>
                  <a:pt x="0" y="746"/>
                  <a:pt x="0" y="593"/>
                </a:cubicBezTo>
                <a:cubicBezTo>
                  <a:pt x="0" y="440"/>
                  <a:pt x="118" y="315"/>
                  <a:pt x="263" y="315"/>
                </a:cubicBezTo>
                <a:lnTo>
                  <a:pt x="474" y="315"/>
                </a:lnTo>
                <a:lnTo>
                  <a:pt x="474" y="871"/>
                </a:lnTo>
                <a:close/>
              </a:path>
            </a:pathLst>
          </a:custGeom>
          <a:noFill/>
          <a:ln w="19050" cap="rnd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9">
            <a:extLst>
              <a:ext uri="{FF2B5EF4-FFF2-40B4-BE49-F238E27FC236}">
                <a16:creationId xmlns:a16="http://schemas.microsoft.com/office/drawing/2014/main" id="{F9B82901-7263-2FC5-F179-33CDA08FEDAE}"/>
              </a:ext>
            </a:extLst>
          </p:cNvPr>
          <p:cNvSpPr>
            <a:spLocks noEditPoints="1"/>
          </p:cNvSpPr>
          <p:nvPr/>
        </p:nvSpPr>
        <p:spPr bwMode="auto">
          <a:xfrm>
            <a:off x="2221520" y="3668724"/>
            <a:ext cx="431800" cy="415925"/>
          </a:xfrm>
          <a:custGeom>
            <a:avLst/>
            <a:gdLst>
              <a:gd name="T0" fmla="*/ 1207 w 1504"/>
              <a:gd name="T1" fmla="*/ 173 h 1462"/>
              <a:gd name="T2" fmla="*/ 1397 w 1504"/>
              <a:gd name="T3" fmla="*/ 173 h 1462"/>
              <a:gd name="T4" fmla="*/ 1504 w 1504"/>
              <a:gd name="T5" fmla="*/ 281 h 1462"/>
              <a:gd name="T6" fmla="*/ 1504 w 1504"/>
              <a:gd name="T7" fmla="*/ 1355 h 1462"/>
              <a:gd name="T8" fmla="*/ 1397 w 1504"/>
              <a:gd name="T9" fmla="*/ 1462 h 1462"/>
              <a:gd name="T10" fmla="*/ 108 w 1504"/>
              <a:gd name="T11" fmla="*/ 1462 h 1462"/>
              <a:gd name="T12" fmla="*/ 0 w 1504"/>
              <a:gd name="T13" fmla="*/ 1355 h 1462"/>
              <a:gd name="T14" fmla="*/ 0 w 1504"/>
              <a:gd name="T15" fmla="*/ 281 h 1462"/>
              <a:gd name="T16" fmla="*/ 108 w 1504"/>
              <a:gd name="T17" fmla="*/ 173 h 1462"/>
              <a:gd name="T18" fmla="*/ 337 w 1504"/>
              <a:gd name="T19" fmla="*/ 173 h 1462"/>
              <a:gd name="T20" fmla="*/ 685 w 1504"/>
              <a:gd name="T21" fmla="*/ 0 h 1462"/>
              <a:gd name="T22" fmla="*/ 685 w 1504"/>
              <a:gd name="T23" fmla="*/ 344 h 1462"/>
              <a:gd name="T24" fmla="*/ 500 w 1504"/>
              <a:gd name="T25" fmla="*/ 173 h 1462"/>
              <a:gd name="T26" fmla="*/ 652 w 1504"/>
              <a:gd name="T27" fmla="*/ 173 h 1462"/>
              <a:gd name="T28" fmla="*/ 852 w 1504"/>
              <a:gd name="T29" fmla="*/ 173 h 1462"/>
              <a:gd name="T30" fmla="*/ 1042 w 1504"/>
              <a:gd name="T31" fmla="*/ 173 h 1462"/>
              <a:gd name="T32" fmla="*/ 249 w 1504"/>
              <a:gd name="T33" fmla="*/ 1000 h 1462"/>
              <a:gd name="T34" fmla="*/ 1260 w 1504"/>
              <a:gd name="T35" fmla="*/ 1000 h 1462"/>
              <a:gd name="T36" fmla="*/ 495 w 1504"/>
              <a:gd name="T37" fmla="*/ 735 h 1462"/>
              <a:gd name="T38" fmla="*/ 495 w 1504"/>
              <a:gd name="T39" fmla="*/ 1266 h 1462"/>
              <a:gd name="T40" fmla="*/ 1020 w 1504"/>
              <a:gd name="T41" fmla="*/ 735 h 1462"/>
              <a:gd name="T42" fmla="*/ 1020 w 1504"/>
              <a:gd name="T43" fmla="*/ 1266 h 1462"/>
              <a:gd name="T44" fmla="*/ 758 w 1504"/>
              <a:gd name="T45" fmla="*/ 735 h 1462"/>
              <a:gd name="T46" fmla="*/ 758 w 1504"/>
              <a:gd name="T47" fmla="*/ 1266 h 1462"/>
              <a:gd name="T48" fmla="*/ 1049 w 1504"/>
              <a:gd name="T49" fmla="*/ 0 h 1462"/>
              <a:gd name="T50" fmla="*/ 1049 w 1504"/>
              <a:gd name="T51" fmla="*/ 344 h 1462"/>
              <a:gd name="T52" fmla="*/ 337 w 1504"/>
              <a:gd name="T53" fmla="*/ 0 h 1462"/>
              <a:gd name="T54" fmla="*/ 337 w 1504"/>
              <a:gd name="T55" fmla="*/ 344 h 1462"/>
              <a:gd name="T56" fmla="*/ 0 w 1504"/>
              <a:gd name="T57" fmla="*/ 540 h 1462"/>
              <a:gd name="T58" fmla="*/ 1504 w 1504"/>
              <a:gd name="T59" fmla="*/ 540 h 1462"/>
              <a:gd name="T60" fmla="*/ 1272 w 1504"/>
              <a:gd name="T61" fmla="*/ 1266 h 1462"/>
              <a:gd name="T62" fmla="*/ 239 w 1504"/>
              <a:gd name="T63" fmla="*/ 1266 h 1462"/>
              <a:gd name="T64" fmla="*/ 239 w 1504"/>
              <a:gd name="T65" fmla="*/ 735 h 1462"/>
              <a:gd name="T66" fmla="*/ 1272 w 1504"/>
              <a:gd name="T67" fmla="*/ 735 h 1462"/>
              <a:gd name="T68" fmla="*/ 1272 w 1504"/>
              <a:gd name="T69" fmla="*/ 1266 h 1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04" h="1462">
                <a:moveTo>
                  <a:pt x="1207" y="173"/>
                </a:moveTo>
                <a:lnTo>
                  <a:pt x="1397" y="173"/>
                </a:lnTo>
                <a:cubicBezTo>
                  <a:pt x="1456" y="173"/>
                  <a:pt x="1504" y="222"/>
                  <a:pt x="1504" y="281"/>
                </a:cubicBezTo>
                <a:lnTo>
                  <a:pt x="1504" y="1355"/>
                </a:lnTo>
                <a:cubicBezTo>
                  <a:pt x="1504" y="1414"/>
                  <a:pt x="1456" y="1462"/>
                  <a:pt x="1397" y="1462"/>
                </a:cubicBezTo>
                <a:lnTo>
                  <a:pt x="108" y="1462"/>
                </a:lnTo>
                <a:cubicBezTo>
                  <a:pt x="48" y="1462"/>
                  <a:pt x="0" y="1414"/>
                  <a:pt x="0" y="1355"/>
                </a:cubicBezTo>
                <a:lnTo>
                  <a:pt x="0" y="281"/>
                </a:lnTo>
                <a:cubicBezTo>
                  <a:pt x="0" y="222"/>
                  <a:pt x="48" y="173"/>
                  <a:pt x="108" y="173"/>
                </a:cubicBezTo>
                <a:lnTo>
                  <a:pt x="337" y="173"/>
                </a:lnTo>
                <a:moveTo>
                  <a:pt x="685" y="0"/>
                </a:moveTo>
                <a:lnTo>
                  <a:pt x="685" y="344"/>
                </a:lnTo>
                <a:moveTo>
                  <a:pt x="500" y="173"/>
                </a:moveTo>
                <a:lnTo>
                  <a:pt x="652" y="173"/>
                </a:lnTo>
                <a:moveTo>
                  <a:pt x="852" y="173"/>
                </a:moveTo>
                <a:lnTo>
                  <a:pt x="1042" y="173"/>
                </a:lnTo>
                <a:moveTo>
                  <a:pt x="249" y="1000"/>
                </a:moveTo>
                <a:lnTo>
                  <a:pt x="1260" y="1000"/>
                </a:lnTo>
                <a:moveTo>
                  <a:pt x="495" y="735"/>
                </a:moveTo>
                <a:lnTo>
                  <a:pt x="495" y="1266"/>
                </a:lnTo>
                <a:moveTo>
                  <a:pt x="1020" y="735"/>
                </a:moveTo>
                <a:lnTo>
                  <a:pt x="1020" y="1266"/>
                </a:lnTo>
                <a:moveTo>
                  <a:pt x="758" y="735"/>
                </a:moveTo>
                <a:lnTo>
                  <a:pt x="758" y="1266"/>
                </a:lnTo>
                <a:moveTo>
                  <a:pt x="1049" y="0"/>
                </a:moveTo>
                <a:lnTo>
                  <a:pt x="1049" y="344"/>
                </a:lnTo>
                <a:moveTo>
                  <a:pt x="337" y="0"/>
                </a:moveTo>
                <a:lnTo>
                  <a:pt x="337" y="344"/>
                </a:lnTo>
                <a:moveTo>
                  <a:pt x="0" y="540"/>
                </a:moveTo>
                <a:lnTo>
                  <a:pt x="1504" y="540"/>
                </a:lnTo>
                <a:moveTo>
                  <a:pt x="1272" y="1266"/>
                </a:moveTo>
                <a:lnTo>
                  <a:pt x="239" y="1266"/>
                </a:lnTo>
                <a:lnTo>
                  <a:pt x="239" y="735"/>
                </a:lnTo>
                <a:lnTo>
                  <a:pt x="1272" y="735"/>
                </a:lnTo>
                <a:lnTo>
                  <a:pt x="1272" y="1266"/>
                </a:lnTo>
                <a:close/>
              </a:path>
            </a:pathLst>
          </a:custGeom>
          <a:noFill/>
          <a:ln w="19050" cap="rnd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13">
            <a:extLst>
              <a:ext uri="{FF2B5EF4-FFF2-40B4-BE49-F238E27FC236}">
                <a16:creationId xmlns:a16="http://schemas.microsoft.com/office/drawing/2014/main" id="{A5B66B14-6E4B-0BD3-7B87-9D33341F5605}"/>
              </a:ext>
            </a:extLst>
          </p:cNvPr>
          <p:cNvSpPr>
            <a:spLocks noEditPoints="1"/>
          </p:cNvSpPr>
          <p:nvPr/>
        </p:nvSpPr>
        <p:spPr bwMode="auto">
          <a:xfrm>
            <a:off x="4555717" y="3730636"/>
            <a:ext cx="546100" cy="427037"/>
          </a:xfrm>
          <a:custGeom>
            <a:avLst/>
            <a:gdLst>
              <a:gd name="T0" fmla="*/ 405 w 1482"/>
              <a:gd name="T1" fmla="*/ 186 h 1174"/>
              <a:gd name="T2" fmla="*/ 1151 w 1482"/>
              <a:gd name="T3" fmla="*/ 186 h 1174"/>
              <a:gd name="T4" fmla="*/ 1035 w 1482"/>
              <a:gd name="T5" fmla="*/ 1174 h 1174"/>
              <a:gd name="T6" fmla="*/ 746 w 1482"/>
              <a:gd name="T7" fmla="*/ 869 h 1174"/>
              <a:gd name="T8" fmla="*/ 768 w 1482"/>
              <a:gd name="T9" fmla="*/ 780 h 1174"/>
              <a:gd name="T10" fmla="*/ 855 w 1482"/>
              <a:gd name="T11" fmla="*/ 780 h 1174"/>
              <a:gd name="T12" fmla="*/ 948 w 1482"/>
              <a:gd name="T13" fmla="*/ 874 h 1174"/>
              <a:gd name="T14" fmla="*/ 973 w 1482"/>
              <a:gd name="T15" fmla="*/ 877 h 1174"/>
              <a:gd name="T16" fmla="*/ 978 w 1482"/>
              <a:gd name="T17" fmla="*/ 847 h 1174"/>
              <a:gd name="T18" fmla="*/ 978 w 1482"/>
              <a:gd name="T19" fmla="*/ 399 h 1174"/>
              <a:gd name="T20" fmla="*/ 1047 w 1482"/>
              <a:gd name="T21" fmla="*/ 343 h 1174"/>
              <a:gd name="T22" fmla="*/ 1119 w 1482"/>
              <a:gd name="T23" fmla="*/ 400 h 1174"/>
              <a:gd name="T24" fmla="*/ 1119 w 1482"/>
              <a:gd name="T25" fmla="*/ 663 h 1174"/>
              <a:gd name="T26" fmla="*/ 1396 w 1482"/>
              <a:gd name="T27" fmla="*/ 706 h 1174"/>
              <a:gd name="T28" fmla="*/ 1475 w 1482"/>
              <a:gd name="T29" fmla="*/ 824 h 1174"/>
              <a:gd name="T30" fmla="*/ 1446 w 1482"/>
              <a:gd name="T31" fmla="*/ 1168 h 1174"/>
              <a:gd name="T32" fmla="*/ 269 w 1482"/>
              <a:gd name="T33" fmla="*/ 0 h 1174"/>
              <a:gd name="T34" fmla="*/ 269 w 1482"/>
              <a:gd name="T35" fmla="*/ 926 h 1174"/>
              <a:gd name="T36" fmla="*/ 571 w 1482"/>
              <a:gd name="T37" fmla="*/ 942 h 1174"/>
              <a:gd name="T38" fmla="*/ 81 w 1482"/>
              <a:gd name="T39" fmla="*/ 942 h 1174"/>
              <a:gd name="T40" fmla="*/ 0 w 1482"/>
              <a:gd name="T41" fmla="*/ 861 h 1174"/>
              <a:gd name="T42" fmla="*/ 0 w 1482"/>
              <a:gd name="T43" fmla="*/ 81 h 1174"/>
              <a:gd name="T44" fmla="*/ 81 w 1482"/>
              <a:gd name="T45" fmla="*/ 0 h 1174"/>
              <a:gd name="T46" fmla="*/ 1216 w 1482"/>
              <a:gd name="T47" fmla="*/ 0 h 1174"/>
              <a:gd name="T48" fmla="*/ 1297 w 1482"/>
              <a:gd name="T49" fmla="*/ 81 h 1174"/>
              <a:gd name="T50" fmla="*/ 1297 w 1482"/>
              <a:gd name="T51" fmla="*/ 516 h 1174"/>
              <a:gd name="T52" fmla="*/ 405 w 1482"/>
              <a:gd name="T53" fmla="*/ 591 h 1174"/>
              <a:gd name="T54" fmla="*/ 843 w 1482"/>
              <a:gd name="T55" fmla="*/ 591 h 1174"/>
              <a:gd name="T56" fmla="*/ 405 w 1482"/>
              <a:gd name="T57" fmla="*/ 391 h 1174"/>
              <a:gd name="T58" fmla="*/ 843 w 1482"/>
              <a:gd name="T59" fmla="*/ 391 h 1174"/>
              <a:gd name="T60" fmla="*/ 140 w 1482"/>
              <a:gd name="T61" fmla="*/ 516 h 1174"/>
              <a:gd name="T62" fmla="*/ 140 w 1482"/>
              <a:gd name="T63" fmla="*/ 516 h 1174"/>
              <a:gd name="T64" fmla="*/ 87 w 1482"/>
              <a:gd name="T65" fmla="*/ 463 h 1174"/>
              <a:gd name="T66" fmla="*/ 140 w 1482"/>
              <a:gd name="T67" fmla="*/ 410 h 1174"/>
              <a:gd name="T68" fmla="*/ 193 w 1482"/>
              <a:gd name="T69" fmla="*/ 463 h 1174"/>
              <a:gd name="T70" fmla="*/ 140 w 1482"/>
              <a:gd name="T71" fmla="*/ 516 h 1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82" h="1174">
                <a:moveTo>
                  <a:pt x="405" y="186"/>
                </a:moveTo>
                <a:lnTo>
                  <a:pt x="1151" y="186"/>
                </a:lnTo>
                <a:moveTo>
                  <a:pt x="1035" y="1174"/>
                </a:moveTo>
                <a:lnTo>
                  <a:pt x="746" y="869"/>
                </a:lnTo>
                <a:cubicBezTo>
                  <a:pt x="746" y="869"/>
                  <a:pt x="717" y="823"/>
                  <a:pt x="768" y="780"/>
                </a:cubicBezTo>
                <a:cubicBezTo>
                  <a:pt x="819" y="737"/>
                  <a:pt x="855" y="780"/>
                  <a:pt x="855" y="780"/>
                </a:cubicBezTo>
                <a:lnTo>
                  <a:pt x="948" y="874"/>
                </a:lnTo>
                <a:cubicBezTo>
                  <a:pt x="948" y="874"/>
                  <a:pt x="963" y="890"/>
                  <a:pt x="973" y="877"/>
                </a:cubicBezTo>
                <a:cubicBezTo>
                  <a:pt x="978" y="871"/>
                  <a:pt x="978" y="869"/>
                  <a:pt x="978" y="847"/>
                </a:cubicBezTo>
                <a:lnTo>
                  <a:pt x="978" y="399"/>
                </a:lnTo>
                <a:cubicBezTo>
                  <a:pt x="978" y="399"/>
                  <a:pt x="980" y="343"/>
                  <a:pt x="1047" y="343"/>
                </a:cubicBezTo>
                <a:cubicBezTo>
                  <a:pt x="1118" y="343"/>
                  <a:pt x="1119" y="400"/>
                  <a:pt x="1119" y="400"/>
                </a:cubicBezTo>
                <a:lnTo>
                  <a:pt x="1119" y="663"/>
                </a:lnTo>
                <a:lnTo>
                  <a:pt x="1396" y="706"/>
                </a:lnTo>
                <a:cubicBezTo>
                  <a:pt x="1396" y="706"/>
                  <a:pt x="1482" y="735"/>
                  <a:pt x="1475" y="824"/>
                </a:cubicBezTo>
                <a:cubicBezTo>
                  <a:pt x="1468" y="913"/>
                  <a:pt x="1446" y="1168"/>
                  <a:pt x="1446" y="1168"/>
                </a:cubicBezTo>
                <a:moveTo>
                  <a:pt x="269" y="0"/>
                </a:moveTo>
                <a:lnTo>
                  <a:pt x="269" y="926"/>
                </a:lnTo>
                <a:moveTo>
                  <a:pt x="571" y="942"/>
                </a:moveTo>
                <a:lnTo>
                  <a:pt x="81" y="942"/>
                </a:lnTo>
                <a:cubicBezTo>
                  <a:pt x="36" y="942"/>
                  <a:pt x="0" y="906"/>
                  <a:pt x="0" y="861"/>
                </a:cubicBezTo>
                <a:lnTo>
                  <a:pt x="0" y="81"/>
                </a:lnTo>
                <a:cubicBezTo>
                  <a:pt x="0" y="36"/>
                  <a:pt x="36" y="0"/>
                  <a:pt x="81" y="0"/>
                </a:cubicBezTo>
                <a:lnTo>
                  <a:pt x="1216" y="0"/>
                </a:lnTo>
                <a:cubicBezTo>
                  <a:pt x="1261" y="0"/>
                  <a:pt x="1297" y="36"/>
                  <a:pt x="1297" y="81"/>
                </a:cubicBezTo>
                <a:lnTo>
                  <a:pt x="1297" y="516"/>
                </a:lnTo>
                <a:moveTo>
                  <a:pt x="405" y="591"/>
                </a:moveTo>
                <a:lnTo>
                  <a:pt x="843" y="591"/>
                </a:lnTo>
                <a:moveTo>
                  <a:pt x="405" y="391"/>
                </a:moveTo>
                <a:lnTo>
                  <a:pt x="843" y="391"/>
                </a:lnTo>
                <a:moveTo>
                  <a:pt x="140" y="516"/>
                </a:moveTo>
                <a:lnTo>
                  <a:pt x="140" y="516"/>
                </a:lnTo>
                <a:cubicBezTo>
                  <a:pt x="110" y="516"/>
                  <a:pt x="87" y="492"/>
                  <a:pt x="87" y="463"/>
                </a:cubicBezTo>
                <a:cubicBezTo>
                  <a:pt x="87" y="434"/>
                  <a:pt x="110" y="410"/>
                  <a:pt x="140" y="410"/>
                </a:cubicBezTo>
                <a:cubicBezTo>
                  <a:pt x="169" y="410"/>
                  <a:pt x="193" y="434"/>
                  <a:pt x="193" y="463"/>
                </a:cubicBezTo>
                <a:cubicBezTo>
                  <a:pt x="193" y="492"/>
                  <a:pt x="169" y="516"/>
                  <a:pt x="140" y="516"/>
                </a:cubicBezTo>
                <a:close/>
              </a:path>
            </a:pathLst>
          </a:custGeom>
          <a:noFill/>
          <a:ln w="19050" cap="rnd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itre 1">
            <a:extLst>
              <a:ext uri="{FF2B5EF4-FFF2-40B4-BE49-F238E27FC236}">
                <a16:creationId xmlns:a16="http://schemas.microsoft.com/office/drawing/2014/main" id="{7E6C3535-02C0-E9CB-3572-CAF683452116}"/>
              </a:ext>
            </a:extLst>
          </p:cNvPr>
          <p:cNvSpPr txBox="1">
            <a:spLocks/>
          </p:cNvSpPr>
          <p:nvPr/>
        </p:nvSpPr>
        <p:spPr>
          <a:xfrm>
            <a:off x="540001" y="540000"/>
            <a:ext cx="6197130" cy="103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tx2"/>
                </a:solidFill>
                <a:latin typeface="Segoe UI Light"/>
                <a:cs typeface="Segoe UI Light"/>
              </a:rPr>
              <a:t>Challenge: European law</a:t>
            </a:r>
            <a:endParaRPr lang="fr-BE" sz="4000" dirty="0">
              <a:solidFill>
                <a:schemeClr val="tx2"/>
              </a:solidFill>
              <a:latin typeface="Segoe UI Light"/>
              <a:cs typeface="Segoe UI Light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6223507-4E68-D586-1D26-FF928FF8D74A}"/>
              </a:ext>
            </a:extLst>
          </p:cNvPr>
          <p:cNvSpPr txBox="1">
            <a:spLocks noChangeAspect="1"/>
          </p:cNvSpPr>
          <p:nvPr/>
        </p:nvSpPr>
        <p:spPr>
          <a:xfrm>
            <a:off x="4491678" y="4295158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FF0000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/>
              <a:t>.</a:t>
            </a:r>
            <a:endParaRPr lang="en-GB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63B8FE-EB4C-4A9D-7F28-94519743D32C}"/>
              </a:ext>
            </a:extLst>
          </p:cNvPr>
          <p:cNvSpPr txBox="1">
            <a:spLocks noChangeAspect="1"/>
          </p:cNvSpPr>
          <p:nvPr/>
        </p:nvSpPr>
        <p:spPr>
          <a:xfrm>
            <a:off x="6844228" y="427500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FF0000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/>
              <a:t>.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34BC82A-785F-842D-44A6-7253901CD6B5}"/>
              </a:ext>
            </a:extLst>
          </p:cNvPr>
          <p:cNvSpPr txBox="1">
            <a:spLocks noChangeAspect="1"/>
          </p:cNvSpPr>
          <p:nvPr/>
        </p:nvSpPr>
        <p:spPr>
          <a:xfrm>
            <a:off x="9140192" y="4252757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rgbClr val="FF0000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136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/>
      <p:bldP spid="107" grpId="0" animBg="1"/>
      <p:bldP spid="108" grpId="0"/>
      <p:bldP spid="110" grpId="0"/>
      <p:bldP spid="120" grpId="0"/>
      <p:bldP spid="122" grpId="0" animBg="1"/>
      <p:bldP spid="123" grpId="0" animBg="1"/>
      <p:bldP spid="124" grpId="0" animBg="1"/>
      <p:bldP spid="7" grpId="0" animBg="1"/>
      <p:bldP spid="8" grpId="0" animBg="1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BC40BA1-629A-CDF5-1031-0F05784C7C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-1193834" y="1123674"/>
            <a:ext cx="5104800" cy="5418000"/>
          </a:xfrm>
        </p:spPr>
        <p:txBody>
          <a:bodyPr/>
          <a:lstStyle/>
          <a:p>
            <a:pPr marL="180000" lvl="1" indent="0">
              <a:buNone/>
            </a:pPr>
            <a:endParaRPr lang="fr-BE" dirty="0">
              <a:cs typeface="Segoe UI" panose="020B0502040204020203" pitchFamily="34" charset="0"/>
            </a:endParaRPr>
          </a:p>
          <a:p>
            <a:pPr marL="180000" lvl="1" indent="0">
              <a:buNone/>
            </a:pPr>
            <a:r>
              <a:rPr lang="fr-BE" sz="2000" u="sng" dirty="0">
                <a:cs typeface="Segoe UI" panose="020B0502040204020203" pitchFamily="34" charset="0"/>
              </a:rPr>
              <a:t>»</a:t>
            </a:r>
            <a:endParaRPr lang="en-US" sz="2000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CF0F0E2-352F-1912-0898-B64377BF2A63}"/>
              </a:ext>
            </a:extLst>
          </p:cNvPr>
          <p:cNvSpPr txBox="1"/>
          <p:nvPr/>
        </p:nvSpPr>
        <p:spPr>
          <a:xfrm>
            <a:off x="3481330" y="4054207"/>
            <a:ext cx="242371" cy="121185"/>
          </a:xfrm>
          <a:prstGeom prst="rect">
            <a:avLst/>
          </a:prstGeom>
          <a:solidFill>
            <a:srgbClr val="D63547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44D68975-E28A-754B-DAA5-710C75220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/>
          <a:p>
            <a:pPr algn="l"/>
            <a:r>
              <a:rPr lang="en-US" sz="4000" dirty="0"/>
              <a:t>Challenge: serial returners</a:t>
            </a:r>
            <a:endParaRPr lang="fr-BE" sz="4000" dirty="0"/>
          </a:p>
        </p:txBody>
      </p:sp>
      <p:sp>
        <p:nvSpPr>
          <p:cNvPr id="2" name="Title 37">
            <a:extLst>
              <a:ext uri="{FF2B5EF4-FFF2-40B4-BE49-F238E27FC236}">
                <a16:creationId xmlns:a16="http://schemas.microsoft.com/office/drawing/2014/main" id="{ADBEA99E-DEC6-CA6A-653A-841A3782477B}"/>
              </a:ext>
            </a:extLst>
          </p:cNvPr>
          <p:cNvSpPr txBox="1">
            <a:spLocks/>
          </p:cNvSpPr>
          <p:nvPr/>
        </p:nvSpPr>
        <p:spPr>
          <a:xfrm>
            <a:off x="6541477" y="753626"/>
            <a:ext cx="4813159" cy="41499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2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200" dirty="0">
              <a:solidFill>
                <a:srgbClr val="5A5A5F"/>
              </a:solidFill>
            </a:endParaRPr>
          </a:p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dirty="0">
              <a:solidFill>
                <a:srgbClr val="5A5A5F"/>
              </a:solidFill>
            </a:endParaRPr>
          </a:p>
          <a:p>
            <a:pPr marR="0" lvl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dirty="0">
              <a:solidFill>
                <a:srgbClr val="5A5A5F"/>
              </a:solidFill>
            </a:endParaRPr>
          </a:p>
          <a:p>
            <a:pPr lvl="0">
              <a:defRPr/>
            </a:pPr>
            <a:r>
              <a:rPr lang="en-US" sz="2200" dirty="0">
                <a:solidFill>
                  <a:srgbClr val="5A5A5F"/>
                </a:solidFill>
              </a:rPr>
              <a:t>There is a clear difference between "normal" returns and repeated/abusive returns.</a:t>
            </a:r>
          </a:p>
          <a:p>
            <a:pPr lvl="0">
              <a:defRPr/>
            </a:pPr>
            <a:endParaRPr lang="en-US" sz="2200" dirty="0">
              <a:solidFill>
                <a:srgbClr val="5A5A5F"/>
              </a:solidFill>
            </a:endParaRPr>
          </a:p>
          <a:p>
            <a:pPr lvl="0">
              <a:defRPr/>
            </a:pPr>
            <a:r>
              <a:rPr lang="en-US" sz="2200" dirty="0">
                <a:solidFill>
                  <a:srgbClr val="5A5A5F"/>
                </a:solidFill>
              </a:rPr>
              <a:t>There are </a:t>
            </a:r>
            <a:r>
              <a:rPr lang="en-US" sz="2200" b="1" dirty="0">
                <a:solidFill>
                  <a:srgbClr val="5A5A5F"/>
                </a:solidFill>
              </a:rPr>
              <a:t>two types of consumer profiles who regularly make returns</a:t>
            </a:r>
            <a:r>
              <a:rPr lang="en-US" sz="2200" dirty="0">
                <a:solidFill>
                  <a:srgbClr val="5A5A5F"/>
                </a:solidFill>
              </a:rPr>
              <a:t>:</a:t>
            </a:r>
            <a:endParaRPr lang="en-US" sz="2200" dirty="0">
              <a:solidFill>
                <a:srgbClr val="5A5A5F"/>
              </a:solidFill>
              <a:cs typeface="Segoe UI Light"/>
            </a:endParaRPr>
          </a:p>
          <a:p>
            <a:pPr lvl="0">
              <a:defRPr/>
            </a:pPr>
            <a:endParaRPr lang="en-US" sz="2200" dirty="0">
              <a:solidFill>
                <a:srgbClr val="5A5A5F"/>
              </a:solidFill>
            </a:endParaRPr>
          </a:p>
          <a:p>
            <a:pPr marL="342900" lvl="0" indent="-342900">
              <a:lnSpc>
                <a:spcPct val="150000"/>
              </a:lnSpc>
              <a:buFont typeface="Calibri"/>
              <a:buChar char="-"/>
              <a:defRPr/>
            </a:pPr>
            <a:r>
              <a:rPr lang="en-US" sz="2200" dirty="0">
                <a:solidFill>
                  <a:srgbClr val="5A5A5F"/>
                </a:solidFill>
              </a:rPr>
              <a:t>The "</a:t>
            </a:r>
            <a:r>
              <a:rPr lang="en-US" sz="2200" dirty="0" err="1">
                <a:solidFill>
                  <a:srgbClr val="5A5A5F"/>
                </a:solidFill>
              </a:rPr>
              <a:t>wardrober</a:t>
            </a:r>
            <a:r>
              <a:rPr lang="en-US" sz="2200" dirty="0">
                <a:solidFill>
                  <a:srgbClr val="5A5A5F"/>
                </a:solidFill>
              </a:rPr>
              <a:t>" or "renter"</a:t>
            </a:r>
            <a:endParaRPr lang="en-US" sz="2200" dirty="0">
              <a:solidFill>
                <a:srgbClr val="5A5A5F"/>
              </a:solidFill>
              <a:cs typeface="Segoe UI Light"/>
            </a:endParaRPr>
          </a:p>
          <a:p>
            <a:pPr marL="342900" lvl="0" indent="-342900">
              <a:lnSpc>
                <a:spcPct val="150000"/>
              </a:lnSpc>
              <a:buFont typeface="Calibri"/>
              <a:buChar char="-"/>
              <a:defRPr/>
            </a:pPr>
            <a:r>
              <a:rPr lang="en-US" sz="2200" dirty="0">
                <a:solidFill>
                  <a:srgbClr val="5A5A5F"/>
                </a:solidFill>
              </a:rPr>
              <a:t>The bracketing/fitting roomer</a:t>
            </a:r>
            <a:endParaRPr lang="en-US" sz="2200" b="0" i="0" u="none" strike="noStrike" kern="1200" cap="none" spc="-10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cs typeface="Segoe UI Light"/>
            </a:endParaRPr>
          </a:p>
          <a:p>
            <a:pPr marL="0" marR="0" lvl="0" indent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200" dirty="0">
              <a:solidFill>
                <a:srgbClr val="5A5A5F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AA94E89-3F8F-2CDD-7EEA-DB7AFE8B9D24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ources : shopify.com / dhl.com</a:t>
            </a:r>
          </a:p>
        </p:txBody>
      </p:sp>
      <p:pic>
        <p:nvPicPr>
          <p:cNvPr id="14" name="Espace réservé du contenu 13" descr="Une image contenant dessin, croquis, art, intérieur&#10;&#10;Description générée automatiquement">
            <a:extLst>
              <a:ext uri="{FF2B5EF4-FFF2-40B4-BE49-F238E27FC236}">
                <a16:creationId xmlns:a16="http://schemas.microsoft.com/office/drawing/2014/main" id="{62B873C7-694C-A9E1-9B09-147BCB205D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2237316"/>
            <a:ext cx="5465763" cy="3643842"/>
          </a:xfrm>
        </p:spPr>
      </p:pic>
    </p:spTree>
    <p:extLst>
      <p:ext uri="{BB962C8B-B14F-4D97-AF65-F5344CB8AC3E}">
        <p14:creationId xmlns:p14="http://schemas.microsoft.com/office/powerpoint/2010/main" val="2325728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3AEDE4-A58F-7872-F881-0076BEE92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65539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 descr="Une image contenant trépied, échelle, mur, noir et blanc&#10;&#10;Description générée automatiquement">
            <a:extLst>
              <a:ext uri="{FF2B5EF4-FFF2-40B4-BE49-F238E27FC236}">
                <a16:creationId xmlns:a16="http://schemas.microsoft.com/office/drawing/2014/main" id="{632CB7C3-FE72-A1CA-0621-D5FA0A4218D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262" r="1591"/>
          <a:stretch/>
        </p:blipFill>
        <p:spPr>
          <a:xfrm>
            <a:off x="6380112" y="142875"/>
            <a:ext cx="5654726" cy="5876925"/>
          </a:xfrm>
        </p:spPr>
      </p:pic>
      <p:sp>
        <p:nvSpPr>
          <p:cNvPr id="23" name="Titre 1">
            <a:extLst>
              <a:ext uri="{FF2B5EF4-FFF2-40B4-BE49-F238E27FC236}">
                <a16:creationId xmlns:a16="http://schemas.microsoft.com/office/drawing/2014/main" id="{4043AFF5-6761-2F91-8248-1A82AAB0E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1" y="540000"/>
            <a:ext cx="5465400" cy="1036800"/>
          </a:xfrm>
        </p:spPr>
        <p:txBody>
          <a:bodyPr/>
          <a:lstStyle/>
          <a:p>
            <a:pPr algn="l"/>
            <a:r>
              <a:rPr lang="en-US" sz="4000" dirty="0"/>
              <a:t>Challenge: conclusion</a:t>
            </a:r>
            <a:endParaRPr lang="fr-BE" sz="4000" dirty="0"/>
          </a:p>
        </p:txBody>
      </p:sp>
      <p:sp>
        <p:nvSpPr>
          <p:cNvPr id="24" name="Title 37">
            <a:extLst>
              <a:ext uri="{FF2B5EF4-FFF2-40B4-BE49-F238E27FC236}">
                <a16:creationId xmlns:a16="http://schemas.microsoft.com/office/drawing/2014/main" id="{3D93FC2F-F74D-5433-6A58-47DAFD70F6BE}"/>
              </a:ext>
            </a:extLst>
          </p:cNvPr>
          <p:cNvSpPr txBox="1">
            <a:spLocks/>
          </p:cNvSpPr>
          <p:nvPr/>
        </p:nvSpPr>
        <p:spPr>
          <a:xfrm>
            <a:off x="540001" y="1979907"/>
            <a:ext cx="4813159" cy="37024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2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342900" indent="-342900" algn="l">
              <a:lnSpc>
                <a:spcPct val="150000"/>
              </a:lnSpc>
              <a:buFontTx/>
              <a:buChar char="-"/>
              <a:defRPr/>
            </a:pPr>
            <a:r>
              <a:rPr kumimoji="0" lang="en-US" sz="2200" b="0" i="0" u="none" strike="noStrike" kern="1200" cap="none" spc="-100" normalizeH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</a:rPr>
              <a:t>Sales</a:t>
            </a:r>
            <a:r>
              <a:rPr lang="en-US" sz="2200" dirty="0">
                <a:solidFill>
                  <a:srgbClr val="5A5A5F"/>
                </a:solidFill>
              </a:rPr>
              <a:t> Impact</a:t>
            </a:r>
            <a:endParaRPr kumimoji="0" lang="en-US" sz="2200" b="0" i="0" u="none" strike="noStrike" kern="1200" cap="none" spc="-100" normalizeH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</a:endParaRPr>
          </a:p>
          <a:p>
            <a:pPr marL="342900" lvl="0" indent="-342900" algn="l">
              <a:lnSpc>
                <a:spcPct val="150000"/>
              </a:lnSpc>
              <a:buFontTx/>
              <a:buChar char="-"/>
              <a:defRPr/>
            </a:pPr>
            <a:r>
              <a:rPr lang="en-US" sz="2400" dirty="0"/>
              <a:t>Complications &amp; cost</a:t>
            </a:r>
          </a:p>
          <a:p>
            <a:pPr marL="342900" lvl="0" indent="-342900" algn="l">
              <a:lnSpc>
                <a:spcPct val="150000"/>
              </a:lnSpc>
              <a:buFontTx/>
              <a:buChar char="-"/>
              <a:defRPr/>
            </a:pPr>
            <a:r>
              <a:rPr lang="en-US" sz="2200" dirty="0">
                <a:solidFill>
                  <a:srgbClr val="5A5A5F"/>
                </a:solidFill>
              </a:rPr>
              <a:t>Law </a:t>
            </a:r>
          </a:p>
          <a:p>
            <a:pPr marL="342900" lvl="0" indent="-342900" algn="l">
              <a:lnSpc>
                <a:spcPct val="150000"/>
              </a:lnSpc>
              <a:buFontTx/>
              <a:buChar char="-"/>
              <a:defRPr/>
            </a:pPr>
            <a:r>
              <a:rPr kumimoji="0" lang="en-US" sz="2200" b="0" i="0" u="none" strike="noStrike" kern="1200" cap="none" spc="-100" normalizeH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</a:rPr>
              <a:t>Serial returners</a:t>
            </a:r>
          </a:p>
          <a:p>
            <a:pPr marL="342900" indent="-342900" algn="l">
              <a:lnSpc>
                <a:spcPct val="150000"/>
              </a:lnSpc>
              <a:buFontTx/>
              <a:buChar char="-"/>
              <a:defRPr/>
            </a:pPr>
            <a:r>
              <a:rPr lang="en-US" sz="2200" dirty="0">
                <a:solidFill>
                  <a:srgbClr val="5A5A5F"/>
                </a:solidFill>
              </a:rPr>
              <a:t>Sustainability </a:t>
            </a:r>
            <a:endParaRPr lang="en-US" sz="2200" dirty="0">
              <a:solidFill>
                <a:srgbClr val="5A5A5F"/>
              </a:solidFill>
              <a:cs typeface="Segoe UI Light"/>
            </a:endParaRPr>
          </a:p>
          <a:p>
            <a:pPr lvl="0" algn="l">
              <a:lnSpc>
                <a:spcPct val="150000"/>
              </a:lnSpc>
              <a:defRPr/>
            </a:pPr>
            <a:endParaRPr lang="en-US" sz="2200" dirty="0">
              <a:solidFill>
                <a:srgbClr val="5A5A5F"/>
              </a:solidFill>
              <a:cs typeface="Segoe UI Light"/>
            </a:endParaRPr>
          </a:p>
          <a:p>
            <a:pPr lvl="0">
              <a:defRPr/>
            </a:pPr>
            <a:endParaRPr kumimoji="0" lang="en-US" sz="2200" b="0" i="0" u="none" strike="noStrike" kern="1200" cap="none" spc="-10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</a:endParaRPr>
          </a:p>
          <a:p>
            <a:pPr marL="0" marR="0" lvl="0" indent="0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200" dirty="0">
              <a:solidFill>
                <a:srgbClr val="5A5A5F"/>
              </a:solidFill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CAE625AF-6DCE-C87F-66B9-15AEEA61D548}"/>
              </a:ext>
            </a:extLst>
          </p:cNvPr>
          <p:cNvSpPr txBox="1"/>
          <p:nvPr/>
        </p:nvSpPr>
        <p:spPr>
          <a:xfrm>
            <a:off x="696210" y="5083226"/>
            <a:ext cx="4368634" cy="7694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nl-BE" sz="2200" dirty="0">
                <a:solidFill>
                  <a:schemeClr val="accent2"/>
                </a:solidFill>
              </a:rPr>
              <a:t>Returns </a:t>
            </a:r>
            <a:r>
              <a:rPr lang="nl-BE" sz="2200" dirty="0" err="1">
                <a:solidFill>
                  <a:schemeClr val="accent2"/>
                </a:solidFill>
              </a:rPr>
              <a:t>create</a:t>
            </a:r>
            <a:r>
              <a:rPr lang="nl-BE" sz="2200" dirty="0">
                <a:solidFill>
                  <a:schemeClr val="accent2"/>
                </a:solidFill>
              </a:rPr>
              <a:t> </a:t>
            </a:r>
            <a:r>
              <a:rPr lang="nl-BE" sz="2200" dirty="0" err="1">
                <a:solidFill>
                  <a:schemeClr val="accent2"/>
                </a:solidFill>
              </a:rPr>
              <a:t>both</a:t>
            </a:r>
            <a:r>
              <a:rPr lang="nl-BE" sz="2200" dirty="0">
                <a:solidFill>
                  <a:schemeClr val="accent2"/>
                </a:solidFill>
              </a:rPr>
              <a:t> a </a:t>
            </a:r>
            <a:r>
              <a:rPr lang="nl-BE" sz="2200" b="1" dirty="0" err="1">
                <a:solidFill>
                  <a:srgbClr val="FF0000"/>
                </a:solidFill>
              </a:rPr>
              <a:t>challenge</a:t>
            </a:r>
            <a:r>
              <a:rPr lang="nl-BE" sz="2200" dirty="0">
                <a:solidFill>
                  <a:schemeClr val="accent2"/>
                </a:solidFill>
              </a:rPr>
              <a:t> </a:t>
            </a:r>
            <a:r>
              <a:rPr lang="nl-BE" sz="2200" dirty="0" err="1">
                <a:solidFill>
                  <a:schemeClr val="accent2"/>
                </a:solidFill>
              </a:rPr>
              <a:t>and</a:t>
            </a:r>
            <a:r>
              <a:rPr lang="nl-BE" sz="2200" dirty="0">
                <a:solidFill>
                  <a:schemeClr val="accent2"/>
                </a:solidFill>
              </a:rPr>
              <a:t> </a:t>
            </a:r>
            <a:r>
              <a:rPr lang="nl-BE" sz="2200" b="1" dirty="0">
                <a:solidFill>
                  <a:srgbClr val="FF0000"/>
                </a:solidFill>
              </a:rPr>
              <a:t>opportunity</a:t>
            </a:r>
            <a:r>
              <a:rPr lang="nl-BE" sz="2200" dirty="0">
                <a:solidFill>
                  <a:schemeClr val="accent2"/>
                </a:solidFill>
              </a:rPr>
              <a:t> </a:t>
            </a:r>
            <a:r>
              <a:rPr lang="nl-BE" sz="2200" dirty="0" err="1">
                <a:solidFill>
                  <a:schemeClr val="accent2"/>
                </a:solidFill>
              </a:rPr>
              <a:t>for</a:t>
            </a:r>
            <a:r>
              <a:rPr lang="nl-BE" sz="2200" dirty="0">
                <a:solidFill>
                  <a:schemeClr val="accent2"/>
                </a:solidFill>
              </a:rPr>
              <a:t> retailers !</a:t>
            </a:r>
            <a:endParaRPr lang="fr-BE" sz="2200" dirty="0" err="1">
              <a:solidFill>
                <a:schemeClr val="accent2"/>
              </a:solidFill>
            </a:endParaRP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B204542E-9060-1FC7-68E1-9C22E7BF8587}"/>
              </a:ext>
            </a:extLst>
          </p:cNvPr>
          <p:cNvSpPr txBox="1">
            <a:spLocks noChangeAspect="1"/>
          </p:cNvSpPr>
          <p:nvPr/>
        </p:nvSpPr>
        <p:spPr>
          <a:xfrm>
            <a:off x="540000" y="1599230"/>
            <a:ext cx="540000" cy="40507"/>
          </a:xfrm>
          <a:custGeom>
            <a:avLst/>
            <a:gdLst>
              <a:gd name="connsiteX0" fmla="*/ 401855 w 12189600"/>
              <a:gd name="connsiteY0" fmla="*/ 0 h 914385"/>
              <a:gd name="connsiteX1" fmla="*/ 2406061 w 12189600"/>
              <a:gd name="connsiteY1" fmla="*/ 0 h 914385"/>
              <a:gd name="connsiteX2" fmla="*/ 4160089 w 12189600"/>
              <a:gd name="connsiteY2" fmla="*/ 0 h 914385"/>
              <a:gd name="connsiteX3" fmla="*/ 5680616 w 12189600"/>
              <a:gd name="connsiteY3" fmla="*/ 0 h 914385"/>
              <a:gd name="connsiteX4" fmla="*/ 6984323 w 12189600"/>
              <a:gd name="connsiteY4" fmla="*/ 0 h 914385"/>
              <a:gd name="connsiteX5" fmla="*/ 8087887 w 12189600"/>
              <a:gd name="connsiteY5" fmla="*/ 0 h 914385"/>
              <a:gd name="connsiteX6" fmla="*/ 9007987 w 12189600"/>
              <a:gd name="connsiteY6" fmla="*/ 0 h 914385"/>
              <a:gd name="connsiteX7" fmla="*/ 9761301 w 12189600"/>
              <a:gd name="connsiteY7" fmla="*/ 0 h 914385"/>
              <a:gd name="connsiteX8" fmla="*/ 10364509 w 12189600"/>
              <a:gd name="connsiteY8" fmla="*/ 0 h 914385"/>
              <a:gd name="connsiteX9" fmla="*/ 10834288 w 12189600"/>
              <a:gd name="connsiteY9" fmla="*/ 0 h 914385"/>
              <a:gd name="connsiteX10" fmla="*/ 11187317 w 12189600"/>
              <a:gd name="connsiteY10" fmla="*/ 0 h 914385"/>
              <a:gd name="connsiteX11" fmla="*/ 11440275 w 12189600"/>
              <a:gd name="connsiteY11" fmla="*/ 0 h 914385"/>
              <a:gd name="connsiteX12" fmla="*/ 11609840 w 12189600"/>
              <a:gd name="connsiteY12" fmla="*/ 0 h 914385"/>
              <a:gd name="connsiteX13" fmla="*/ 11765507 w 12189600"/>
              <a:gd name="connsiteY13" fmla="*/ 0 h 914385"/>
              <a:gd name="connsiteX14" fmla="*/ 11787745 w 12189600"/>
              <a:gd name="connsiteY14" fmla="*/ 0 h 914385"/>
              <a:gd name="connsiteX15" fmla="*/ 12189600 w 12189600"/>
              <a:gd name="connsiteY15" fmla="*/ 457193 h 914385"/>
              <a:gd name="connsiteX16" fmla="*/ 11787745 w 12189600"/>
              <a:gd name="connsiteY16" fmla="*/ 914385 h 914385"/>
              <a:gd name="connsiteX17" fmla="*/ 401855 w 12189600"/>
              <a:gd name="connsiteY17" fmla="*/ 914385 h 914385"/>
              <a:gd name="connsiteX18" fmla="*/ 0 w 12189600"/>
              <a:gd name="connsiteY18" fmla="*/ 457193 h 914385"/>
              <a:gd name="connsiteX19" fmla="*/ 401855 w 12189600"/>
              <a:gd name="connsiteY19" fmla="*/ 0 h 914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89600" h="914385">
                <a:moveTo>
                  <a:pt x="401855" y="0"/>
                </a:moveTo>
                <a:lnTo>
                  <a:pt x="2406061" y="0"/>
                </a:lnTo>
                <a:lnTo>
                  <a:pt x="4160089" y="0"/>
                </a:lnTo>
                <a:lnTo>
                  <a:pt x="5680616" y="0"/>
                </a:lnTo>
                <a:lnTo>
                  <a:pt x="6984323" y="0"/>
                </a:lnTo>
                <a:lnTo>
                  <a:pt x="8087887" y="0"/>
                </a:lnTo>
                <a:lnTo>
                  <a:pt x="9007987" y="0"/>
                </a:lnTo>
                <a:lnTo>
                  <a:pt x="9761301" y="0"/>
                </a:lnTo>
                <a:lnTo>
                  <a:pt x="10364509" y="0"/>
                </a:lnTo>
                <a:lnTo>
                  <a:pt x="10834288" y="0"/>
                </a:lnTo>
                <a:lnTo>
                  <a:pt x="11187317" y="0"/>
                </a:lnTo>
                <a:lnTo>
                  <a:pt x="11440275" y="0"/>
                </a:lnTo>
                <a:lnTo>
                  <a:pt x="11609840" y="0"/>
                </a:lnTo>
                <a:lnTo>
                  <a:pt x="11765507" y="0"/>
                </a:lnTo>
                <a:lnTo>
                  <a:pt x="11787745" y="0"/>
                </a:lnTo>
                <a:cubicBezTo>
                  <a:pt x="12015463" y="0"/>
                  <a:pt x="12189600" y="213357"/>
                  <a:pt x="12189600" y="457193"/>
                </a:cubicBezTo>
                <a:cubicBezTo>
                  <a:pt x="12189600" y="716268"/>
                  <a:pt x="12015463" y="914385"/>
                  <a:pt x="11787745" y="914385"/>
                </a:cubicBezTo>
                <a:cubicBezTo>
                  <a:pt x="401855" y="914385"/>
                  <a:pt x="401855" y="914385"/>
                  <a:pt x="401855" y="914385"/>
                </a:cubicBezTo>
                <a:cubicBezTo>
                  <a:pt x="174137" y="914385"/>
                  <a:pt x="0" y="716268"/>
                  <a:pt x="0" y="457193"/>
                </a:cubicBezTo>
                <a:cubicBezTo>
                  <a:pt x="0" y="213357"/>
                  <a:pt x="174137" y="0"/>
                  <a:pt x="401855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33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30175" indent="-1301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269875" indent="-1397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-"/>
              <a:defRPr sz="133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7103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0AEC000-F91E-09D2-002F-22CBA50474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8945"/>
          <a:stretch/>
        </p:blipFill>
        <p:spPr>
          <a:xfrm>
            <a:off x="6299897" y="1593342"/>
            <a:ext cx="5350985" cy="4412041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102D0EF9-84B1-577B-56F5-BFE508BC4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49" y="622241"/>
            <a:ext cx="11112001" cy="374400"/>
          </a:xfrm>
        </p:spPr>
        <p:txBody>
          <a:bodyPr/>
          <a:lstStyle/>
          <a:p>
            <a:r>
              <a:rPr lang="nl-BE" dirty="0"/>
              <a:t>How </a:t>
            </a:r>
            <a:r>
              <a:rPr lang="nl-BE" dirty="0" err="1"/>
              <a:t>can</a:t>
            </a:r>
            <a:r>
              <a:rPr lang="nl-BE" dirty="0"/>
              <a:t> we </a:t>
            </a:r>
            <a:r>
              <a:rPr lang="nl-BE" dirty="0" err="1"/>
              <a:t>better</a:t>
            </a:r>
            <a:r>
              <a:rPr lang="nl-BE" dirty="0"/>
              <a:t> manage returns?</a:t>
            </a:r>
            <a:endParaRPr lang="fr-B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8C7290-6336-742C-B586-04953A5E5FB0}"/>
              </a:ext>
            </a:extLst>
          </p:cNvPr>
          <p:cNvSpPr txBox="1"/>
          <p:nvPr/>
        </p:nvSpPr>
        <p:spPr>
          <a:xfrm>
            <a:off x="1613588" y="2328610"/>
            <a:ext cx="4709870" cy="369331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  <a:latin typeface="Segoe UI Light"/>
                <a:cs typeface="Segoe UI Light"/>
              </a:rPr>
              <a:t>Communications to minimize returns</a:t>
            </a:r>
            <a:endParaRPr lang="en-US" sz="2000" dirty="0">
              <a:solidFill>
                <a:schemeClr val="tx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342900" indent="-342900">
              <a:buFontTx/>
              <a:buChar char="-"/>
            </a:pPr>
            <a:endParaRPr lang="en-US" sz="2000" dirty="0">
              <a:solidFill>
                <a:schemeClr val="tx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indent="0">
              <a:buNone/>
            </a:pPr>
            <a:endParaRPr lang="en-US" sz="2000" dirty="0">
              <a:solidFill>
                <a:schemeClr val="tx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2000" dirty="0">
                <a:solidFill>
                  <a:schemeClr val="tx2"/>
                </a:solidFill>
                <a:latin typeface="Segoe UI Light"/>
                <a:cs typeface="Segoe UI Light"/>
              </a:rPr>
              <a:t>Simplify the shipment process </a:t>
            </a:r>
            <a:endParaRPr lang="en-US" sz="2000" dirty="0">
              <a:solidFill>
                <a:schemeClr val="tx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sz="2000" dirty="0">
              <a:solidFill>
                <a:schemeClr val="tx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endParaRPr lang="en-US" sz="2000" dirty="0">
              <a:solidFill>
                <a:schemeClr val="tx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US" sz="2000" dirty="0">
                <a:solidFill>
                  <a:schemeClr val="tx2"/>
                </a:solidFill>
                <a:latin typeface="Segoe UI Light"/>
                <a:cs typeface="Segoe UI Light"/>
              </a:rPr>
              <a:t>Smart product return &amp; recovery solutions</a:t>
            </a:r>
          </a:p>
          <a:p>
            <a:endParaRPr lang="en-US" sz="2000" dirty="0">
              <a:solidFill>
                <a:schemeClr val="tx2"/>
              </a:solidFill>
              <a:latin typeface="Segoe UI Light"/>
              <a:cs typeface="Segoe UI Light"/>
            </a:endParaRPr>
          </a:p>
          <a:p>
            <a:endParaRPr lang="en-US" sz="2000" dirty="0">
              <a:solidFill>
                <a:schemeClr val="tx2"/>
              </a:solidFill>
              <a:latin typeface="Segoe UI Light"/>
              <a:cs typeface="Segoe UI Light"/>
            </a:endParaRPr>
          </a:p>
          <a:p>
            <a:r>
              <a:rPr lang="en-US" sz="2000" dirty="0">
                <a:solidFill>
                  <a:schemeClr val="tx2"/>
                </a:solidFill>
                <a:latin typeface="Segoe UI Light"/>
                <a:cs typeface="Segoe UI Light"/>
              </a:rPr>
              <a:t>Return date analysis</a:t>
            </a:r>
          </a:p>
          <a:p>
            <a:pPr marL="342900" indent="-342900">
              <a:buFontTx/>
              <a:buChar char="-"/>
            </a:pPr>
            <a:endParaRPr lang="en-US" sz="1600" dirty="0">
              <a:solidFill>
                <a:schemeClr val="accent2"/>
              </a:solidFill>
              <a:latin typeface="Segoe UI Light (Body)"/>
            </a:endParaRPr>
          </a:p>
          <a:p>
            <a:r>
              <a:rPr lang="en-US" dirty="0">
                <a:solidFill>
                  <a:srgbClr val="595959"/>
                </a:solidFill>
                <a:latin typeface="Segoe UI Light (Body)"/>
              </a:rPr>
              <a:t>  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862D014E-AE1C-57A4-1F44-EE9456584759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Sources : </a:t>
            </a:r>
            <a:r>
              <a:rPr lang="fr-BE" sz="1200" i="1" dirty="0">
                <a:solidFill>
                  <a:schemeClr val="accent2"/>
                </a:solidFill>
              </a:rPr>
              <a:t> </a:t>
            </a:r>
            <a:r>
              <a:rPr lang="fr-BE" sz="1200" i="1" dirty="0">
                <a:solidFill>
                  <a:schemeClr val="accent2"/>
                </a:solidFill>
                <a:effectLst/>
              </a:rPr>
              <a:t>https://www.uspsdelivers.com/reverse-logistics-insights</a:t>
            </a:r>
            <a:endParaRPr kumimoji="0" lang="fr-BE" sz="1200" b="0" i="1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</p:txBody>
      </p:sp>
      <p:pic>
        <p:nvPicPr>
          <p:cNvPr id="4" name="Picture 3" descr="A red lines on a black background&#10;&#10;Description automatically generated">
            <a:extLst>
              <a:ext uri="{FF2B5EF4-FFF2-40B4-BE49-F238E27FC236}">
                <a16:creationId xmlns:a16="http://schemas.microsoft.com/office/drawing/2014/main" id="{686622E5-E1EA-468C-73AA-C791358606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7672" y="3304293"/>
            <a:ext cx="609602" cy="369359"/>
          </a:xfrm>
          <a:prstGeom prst="rect">
            <a:avLst/>
          </a:prstGeom>
        </p:spPr>
      </p:pic>
      <p:pic>
        <p:nvPicPr>
          <p:cNvPr id="5" name="Picture 4" descr="A red pencil and paper&#10;&#10;Description automatically generated">
            <a:extLst>
              <a:ext uri="{FF2B5EF4-FFF2-40B4-BE49-F238E27FC236}">
                <a16:creationId xmlns:a16="http://schemas.microsoft.com/office/drawing/2014/main" id="{871E780A-4E80-2988-88B4-D8AAF9729B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1797" y="2255308"/>
            <a:ext cx="377826" cy="474134"/>
          </a:xfrm>
          <a:prstGeom prst="rect">
            <a:avLst/>
          </a:prstGeom>
        </p:spPr>
      </p:pic>
      <p:pic>
        <p:nvPicPr>
          <p:cNvPr id="6" name="Picture 5" descr="A red box with black background&#10;&#10;Description automatically generated">
            <a:extLst>
              <a:ext uri="{FF2B5EF4-FFF2-40B4-BE49-F238E27FC236}">
                <a16:creationId xmlns:a16="http://schemas.microsoft.com/office/drawing/2014/main" id="{9C4A4CE1-A797-2138-03EB-F981C044FE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033" y="4109732"/>
            <a:ext cx="461434" cy="470959"/>
          </a:xfrm>
          <a:prstGeom prst="rect">
            <a:avLst/>
          </a:prstGeom>
        </p:spPr>
      </p:pic>
      <p:pic>
        <p:nvPicPr>
          <p:cNvPr id="8" name="Image 42">
            <a:extLst>
              <a:ext uri="{FF2B5EF4-FFF2-40B4-BE49-F238E27FC236}">
                <a16:creationId xmlns:a16="http://schemas.microsoft.com/office/drawing/2014/main" id="{31212BC1-0D29-155B-F6CB-9EEADCB50362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6000" contrast="6000"/>
          </a:blip>
          <a:stretch>
            <a:fillRect/>
          </a:stretch>
        </p:blipFill>
        <p:spPr>
          <a:xfrm>
            <a:off x="817033" y="5037094"/>
            <a:ext cx="539305" cy="426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733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1A72CB-6A3A-9AE2-2B7A-0474BBDD7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returns management 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EDC991-BA7D-7618-7255-B36DBA088D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015AA6-46B4-68EB-CEFA-BFDB41F35C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17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078AB2B-7804-93D6-363E-1074395974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054" b="16644"/>
          <a:stretch/>
        </p:blipFill>
        <p:spPr>
          <a:xfrm>
            <a:off x="570207" y="1833005"/>
            <a:ext cx="11118238" cy="188224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9F99AC8-8F1C-55A2-9667-D948DE93FFD5}"/>
              </a:ext>
            </a:extLst>
          </p:cNvPr>
          <p:cNvSpPr txBox="1"/>
          <p:nvPr/>
        </p:nvSpPr>
        <p:spPr>
          <a:xfrm>
            <a:off x="465085" y="4101088"/>
            <a:ext cx="6097836" cy="43088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55170" hangingPunct="0">
              <a:defRPr/>
            </a:pPr>
            <a:r>
              <a:rPr lang="en-US" sz="2200" b="1" kern="0" spc="-9" dirty="0">
                <a:solidFill>
                  <a:srgbClr val="4C4C4B"/>
                </a:solidFill>
                <a:latin typeface="Segoe UI Light"/>
                <a:ea typeface="Verdana"/>
                <a:cs typeface="Verdana"/>
                <a:sym typeface="Verdana"/>
              </a:rPr>
              <a:t>We offers </a:t>
            </a:r>
            <a:r>
              <a:rPr lang="en-US" sz="2200" b="1" kern="0" spc="-9" dirty="0">
                <a:solidFill>
                  <a:srgbClr val="EF2637"/>
                </a:solidFill>
                <a:latin typeface="Segoe UI Light"/>
                <a:ea typeface="Verdana"/>
                <a:cs typeface="Verdana"/>
                <a:sym typeface="Verdana"/>
              </a:rPr>
              <a:t>2 solutions </a:t>
            </a:r>
            <a:r>
              <a:rPr lang="en-US" sz="2200" b="1" kern="0" spc="-9" dirty="0">
                <a:solidFill>
                  <a:srgbClr val="4C4C4B"/>
                </a:solidFill>
                <a:latin typeface="Segoe UI Light"/>
                <a:ea typeface="Verdana"/>
                <a:cs typeface="Verdana"/>
                <a:sym typeface="Verdana"/>
              </a:rPr>
              <a:t>for international retur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5EF0C5-F20A-407C-58F5-855130062037}"/>
              </a:ext>
            </a:extLst>
          </p:cNvPr>
          <p:cNvSpPr txBox="1"/>
          <p:nvPr/>
        </p:nvSpPr>
        <p:spPr>
          <a:xfrm>
            <a:off x="1315927" y="4859137"/>
            <a:ext cx="6097836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55170" hangingPunct="0">
              <a:defRPr/>
            </a:pPr>
            <a:r>
              <a:rPr lang="en-US" sz="2200" b="1" kern="0" spc="-9" dirty="0">
                <a:solidFill>
                  <a:srgbClr val="EF262D"/>
                </a:solidFill>
                <a:latin typeface="Segoe UI Light"/>
                <a:ea typeface="Verdana"/>
                <a:cs typeface="Verdana"/>
                <a:sym typeface="Verdana"/>
              </a:rPr>
              <a:t>Easy Return</a:t>
            </a:r>
            <a:endParaRPr lang="en-US" sz="2200" b="1" kern="0" spc="-9" dirty="0">
              <a:solidFill>
                <a:srgbClr val="EF262D"/>
              </a:solidFill>
              <a:latin typeface="Segoe UI Light"/>
              <a:ea typeface="Verdana"/>
              <a:cs typeface="Verdana"/>
            </a:endParaRPr>
          </a:p>
          <a:p>
            <a:pPr defTabSz="655170" hangingPunct="0">
              <a:defRPr/>
            </a:pPr>
            <a:r>
              <a:rPr lang="en-US" sz="2200" kern="0" spc="-9" dirty="0">
                <a:solidFill>
                  <a:srgbClr val="4C4C4B"/>
                </a:solidFill>
                <a:latin typeface="Segoe UI Light"/>
                <a:ea typeface="Verdana"/>
                <a:cs typeface="Verdana"/>
                <a:sym typeface="Verdana"/>
              </a:rPr>
              <a:t>For </a:t>
            </a:r>
            <a:r>
              <a:rPr lang="en-US" sz="2200" b="1" kern="0" spc="-9" dirty="0">
                <a:solidFill>
                  <a:srgbClr val="4C4C4B"/>
                </a:solidFill>
                <a:latin typeface="Segoe UI Light"/>
                <a:ea typeface="Verdana"/>
                <a:cs typeface="Verdana"/>
                <a:sym typeface="Verdana"/>
              </a:rPr>
              <a:t>untracked</a:t>
            </a:r>
            <a:r>
              <a:rPr lang="en-US" sz="2200" kern="0" spc="-9" dirty="0">
                <a:solidFill>
                  <a:srgbClr val="4C4C4B"/>
                </a:solidFill>
                <a:latin typeface="Segoe UI Light"/>
                <a:ea typeface="Verdana"/>
                <a:cs typeface="Verdana"/>
                <a:sym typeface="Verdana"/>
              </a:rPr>
              <a:t> returns up to 2kg</a:t>
            </a:r>
            <a:endParaRPr lang="en-US" sz="2200" kern="0" spc="-9" dirty="0">
              <a:solidFill>
                <a:srgbClr val="4C4C4B"/>
              </a:solidFill>
              <a:latin typeface="Segoe UI Light"/>
              <a:ea typeface="Verdana"/>
              <a:cs typeface="Verdana"/>
            </a:endParaRPr>
          </a:p>
          <a:p>
            <a:pPr defTabSz="655170" hangingPunct="0">
              <a:defRPr/>
            </a:pPr>
            <a:endParaRPr lang="nl-BE" kern="0" spc="-9" dirty="0">
              <a:solidFill>
                <a:srgbClr val="4C4C4B"/>
              </a:solidFill>
              <a:latin typeface="Segoe UI Light (Body)"/>
              <a:ea typeface="Verdana"/>
              <a:sym typeface="Verdana"/>
            </a:endParaRPr>
          </a:p>
          <a:p>
            <a:pPr defTabSz="655170" hangingPunct="0">
              <a:defRPr/>
            </a:pPr>
            <a:endParaRPr lang="en-US" sz="1800" kern="0" spc="-9" dirty="0">
              <a:solidFill>
                <a:srgbClr val="4C4C4B"/>
              </a:solidFill>
              <a:latin typeface="Segoe UI Light (Body)"/>
              <a:ea typeface="Verdana"/>
              <a:cs typeface="Verdana"/>
              <a:sym typeface="Verdana"/>
            </a:endParaRPr>
          </a:p>
        </p:txBody>
      </p:sp>
      <p:pic>
        <p:nvPicPr>
          <p:cNvPr id="14" name="Image 47">
            <a:extLst>
              <a:ext uri="{FF2B5EF4-FFF2-40B4-BE49-F238E27FC236}">
                <a16:creationId xmlns:a16="http://schemas.microsoft.com/office/drawing/2014/main" id="{AE84D3F5-E76D-2845-5852-2E74C4390BD3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6000" contrast="6000"/>
          </a:blip>
          <a:stretch>
            <a:fillRect/>
          </a:stretch>
        </p:blipFill>
        <p:spPr>
          <a:xfrm>
            <a:off x="683749" y="4938602"/>
            <a:ext cx="508000" cy="520700"/>
          </a:xfrm>
          <a:prstGeom prst="rect">
            <a:avLst/>
          </a:prstGeom>
        </p:spPr>
      </p:pic>
      <p:pic>
        <p:nvPicPr>
          <p:cNvPr id="15" name="Image 45">
            <a:extLst>
              <a:ext uri="{FF2B5EF4-FFF2-40B4-BE49-F238E27FC236}">
                <a16:creationId xmlns:a16="http://schemas.microsoft.com/office/drawing/2014/main" id="{46BBD33B-4395-C2C8-0CD6-224C8635A3D2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6000" contrast="6000"/>
          </a:blip>
          <a:stretch>
            <a:fillRect/>
          </a:stretch>
        </p:blipFill>
        <p:spPr>
          <a:xfrm>
            <a:off x="5626100" y="4887360"/>
            <a:ext cx="469900" cy="4699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CD06457-0A44-77C9-0F73-686E3102477F}"/>
              </a:ext>
            </a:extLst>
          </p:cNvPr>
          <p:cNvSpPr txBox="1"/>
          <p:nvPr/>
        </p:nvSpPr>
        <p:spPr>
          <a:xfrm>
            <a:off x="6345404" y="4858408"/>
            <a:ext cx="6097836" cy="132343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55170" hangingPunct="0">
              <a:defRPr/>
            </a:pPr>
            <a:r>
              <a:rPr lang="en-US" sz="2200" b="1" kern="0" spc="-9" dirty="0">
                <a:solidFill>
                  <a:srgbClr val="EF262D"/>
                </a:solidFill>
                <a:latin typeface="+mj-lt"/>
                <a:ea typeface="Verdana"/>
                <a:cs typeface="Verdana"/>
                <a:sym typeface="Verdana"/>
              </a:rPr>
              <a:t>Global Tracked Return</a:t>
            </a:r>
          </a:p>
          <a:p>
            <a:pPr defTabSz="655170" hangingPunct="0">
              <a:defRPr/>
            </a:pPr>
            <a:r>
              <a:rPr lang="en-US" sz="2200" kern="0" spc="-9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For </a:t>
            </a:r>
            <a:r>
              <a:rPr lang="en-US" sz="2200" b="1" kern="0" spc="-9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tracked</a:t>
            </a:r>
            <a:r>
              <a:rPr lang="en-US" sz="2200" kern="0" spc="-9" dirty="0">
                <a:solidFill>
                  <a:srgbClr val="4C4C4B"/>
                </a:solidFill>
                <a:latin typeface="+mj-lt"/>
                <a:ea typeface="Verdana"/>
                <a:cs typeface="Verdana"/>
                <a:sym typeface="Verdana"/>
              </a:rPr>
              <a:t> returns up to 30kg</a:t>
            </a:r>
            <a:endParaRPr lang="en-US" sz="2200" kern="0" spc="-9" dirty="0">
              <a:solidFill>
                <a:srgbClr val="4C4C4B"/>
              </a:solidFill>
              <a:latin typeface="+mj-lt"/>
              <a:ea typeface="Verdana"/>
              <a:cs typeface="Verdana"/>
            </a:endParaRPr>
          </a:p>
          <a:p>
            <a:pPr defTabSz="655170">
              <a:defRPr/>
            </a:pPr>
            <a:endParaRPr lang="en-US" dirty="0">
              <a:solidFill>
                <a:srgbClr val="4C4C4B"/>
              </a:solidFill>
              <a:cs typeface="Segoe UI Light"/>
            </a:endParaRPr>
          </a:p>
          <a:p>
            <a:pPr defTabSz="655170">
              <a:defRPr/>
            </a:pPr>
            <a:endParaRPr lang="en-US" dirty="0">
              <a:cs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144965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E18C699-1D9D-3734-2384-CA2F56D339F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0B6C9F-5135-6649-2D72-6F4DE9F586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18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1F0DB7-6369-160E-5EB3-519D2A41B86F}"/>
              </a:ext>
            </a:extLst>
          </p:cNvPr>
          <p:cNvSpPr txBox="1">
            <a:spLocks/>
          </p:cNvSpPr>
          <p:nvPr/>
        </p:nvSpPr>
        <p:spPr>
          <a:xfrm>
            <a:off x="2640343" y="1902730"/>
            <a:ext cx="4309576" cy="366421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accent2"/>
                </a:solidFill>
              </a:rPr>
              <a:t>National returns</a:t>
            </a: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Simple &amp; user-friendly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2,300 manned return locations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Returns via bpost locker network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accent2"/>
              </a:solidFill>
              <a:cs typeface="Segoe UI Light"/>
            </a:endParaRPr>
          </a:p>
          <a:p>
            <a:endParaRPr lang="en-US" sz="1100" dirty="0">
              <a:solidFill>
                <a:schemeClr val="accent2"/>
              </a:solidFill>
              <a:cs typeface="Segoe UI Light"/>
            </a:endParaRPr>
          </a:p>
          <a:p>
            <a:r>
              <a:rPr lang="en-US" sz="2000" b="1" dirty="0">
                <a:solidFill>
                  <a:schemeClr val="accent2"/>
                </a:solidFill>
              </a:rPr>
              <a:t>International returns</a:t>
            </a:r>
            <a:endParaRPr lang="en-US" sz="2000" b="1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Integrated with International carriers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Customs support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70815" indent="-170815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2"/>
              </a:solidFill>
              <a:cs typeface="Segoe UI Light"/>
            </a:endParaRPr>
          </a:p>
          <a:p>
            <a:pPr marL="170815" indent="-170815"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accent2"/>
              </a:solidFill>
              <a:cs typeface="Segoe UI Light"/>
            </a:endParaRPr>
          </a:p>
          <a:p>
            <a:r>
              <a:rPr lang="en-US" sz="2000" b="1" dirty="0">
                <a:solidFill>
                  <a:schemeClr val="accent2"/>
                </a:solidFill>
              </a:rPr>
              <a:t>Warehouse returns</a:t>
            </a:r>
            <a:endParaRPr lang="en-US" sz="2000" b="1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Sortation, grading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Re-packaging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accent2"/>
                </a:solidFill>
              </a:rPr>
              <a:t>Testing, repair</a:t>
            </a:r>
            <a:endParaRPr lang="en-US" sz="1800" dirty="0">
              <a:solidFill>
                <a:schemeClr val="accent2"/>
              </a:solidFill>
              <a:cs typeface="Segoe UI Light"/>
            </a:endParaRPr>
          </a:p>
          <a:p>
            <a:pPr marL="131445" indent="-131445">
              <a:buFont typeface="Arial" panose="020B0604020202020204" pitchFamily="34" charset="0"/>
              <a:buChar char="•"/>
            </a:pPr>
            <a:endParaRPr lang="en-US" sz="1100" dirty="0">
              <a:solidFill>
                <a:schemeClr val="accent2"/>
              </a:solidFill>
              <a:cs typeface="Segoe UI Light"/>
            </a:endParaRPr>
          </a:p>
          <a:p>
            <a:endParaRPr lang="en-US" sz="1100" dirty="0">
              <a:solidFill>
                <a:schemeClr val="accent2"/>
              </a:solidFill>
            </a:endParaRPr>
          </a:p>
        </p:txBody>
      </p:sp>
      <p:pic>
        <p:nvPicPr>
          <p:cNvPr id="9" name="Picture 8" descr="Two people looking at a tablet&#10;&#10;Description automatically generated with medium confidence">
            <a:extLst>
              <a:ext uri="{FF2B5EF4-FFF2-40B4-BE49-F238E27FC236}">
                <a16:creationId xmlns:a16="http://schemas.microsoft.com/office/drawing/2014/main" id="{8E607D2E-EC40-D193-A097-3E074D2FFD3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8896" y="4891596"/>
            <a:ext cx="1218373" cy="887583"/>
          </a:xfrm>
          <a:prstGeom prst="round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 cap="flat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 descr="Bpost |">
            <a:extLst>
              <a:ext uri="{FF2B5EF4-FFF2-40B4-BE49-F238E27FC236}">
                <a16:creationId xmlns:a16="http://schemas.microsoft.com/office/drawing/2014/main" id="{06053A43-0A45-082D-9E5C-9732B69E38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1761" y="1987159"/>
            <a:ext cx="1216800" cy="841379"/>
          </a:xfrm>
          <a:prstGeom prst="round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 cap="flat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 descr="A picture containing indoor, ceiling, train, track&#10;&#10;Description automatically generated">
            <a:extLst>
              <a:ext uri="{FF2B5EF4-FFF2-40B4-BE49-F238E27FC236}">
                <a16:creationId xmlns:a16="http://schemas.microsoft.com/office/drawing/2014/main" id="{156E5903-DEEE-9387-BE17-C9F0C0CC4F97}"/>
              </a:ext>
            </a:extLst>
          </p:cNvPr>
          <p:cNvPicPr>
            <a:picLocks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1761" y="3474152"/>
            <a:ext cx="1216800" cy="828579"/>
          </a:xfrm>
          <a:prstGeom prst="roundRect">
            <a:avLst/>
          </a:prstGeom>
          <a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 cap="flat" cmpd="sng" algn="ctr">
            <a:solidFill>
              <a:srgbClr val="FFFFFF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77A3392-42E6-0ED1-4578-70348C0E511C}"/>
              </a:ext>
            </a:extLst>
          </p:cNvPr>
          <p:cNvSpPr txBox="1">
            <a:spLocks/>
          </p:cNvSpPr>
          <p:nvPr/>
        </p:nvSpPr>
        <p:spPr>
          <a:xfrm>
            <a:off x="294459" y="497413"/>
            <a:ext cx="7349714" cy="12338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spc="-100" dirty="0">
                <a:solidFill>
                  <a:schemeClr val="tx2"/>
                </a:solidFill>
                <a:ea typeface="+mj-ea"/>
                <a:cs typeface="+mj-cs"/>
              </a:rPr>
              <a:t>Returns</a:t>
            </a:r>
          </a:p>
          <a:p>
            <a:r>
              <a:rPr lang="en-US" sz="2000" dirty="0">
                <a:latin typeface="Segoe UI Light"/>
                <a:cs typeface="Segoe UI Light"/>
              </a:rPr>
              <a:t>Pickup, return, handling, grading, storage and re-use of product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37A63DC-B5C8-2955-A387-4F6C55EA83C0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1165503" y="5850775"/>
            <a:ext cx="203296" cy="1277763"/>
            <a:chOff x="11165489" y="5850769"/>
            <a:chExt cx="495300" cy="3113088"/>
          </a:xfrm>
          <a:solidFill>
            <a:schemeClr val="bg1"/>
          </a:solidFill>
        </p:grpSpPr>
        <p:sp>
          <p:nvSpPr>
            <p:cNvPr id="17" name="Freeform 43">
              <a:extLst>
                <a:ext uri="{FF2B5EF4-FFF2-40B4-BE49-F238E27FC236}">
                  <a16:creationId xmlns:a16="http://schemas.microsoft.com/office/drawing/2014/main" id="{AC42C428-AF79-4A1B-5CD9-264DF97576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8364" y="8786057"/>
              <a:ext cx="352425" cy="177800"/>
            </a:xfrm>
            <a:custGeom>
              <a:avLst/>
              <a:gdLst>
                <a:gd name="T0" fmla="*/ 362 w 362"/>
                <a:gd name="T1" fmla="*/ 0 h 186"/>
                <a:gd name="T2" fmla="*/ 362 w 362"/>
                <a:gd name="T3" fmla="*/ 0 h 186"/>
                <a:gd name="T4" fmla="*/ 313 w 362"/>
                <a:gd name="T5" fmla="*/ 133 h 186"/>
                <a:gd name="T6" fmla="*/ 181 w 362"/>
                <a:gd name="T7" fmla="*/ 186 h 186"/>
                <a:gd name="T8" fmla="*/ 50 w 362"/>
                <a:gd name="T9" fmla="*/ 133 h 186"/>
                <a:gd name="T10" fmla="*/ 0 w 362"/>
                <a:gd name="T11" fmla="*/ 0 h 186"/>
                <a:gd name="T12" fmla="*/ 70 w 362"/>
                <a:gd name="T13" fmla="*/ 0 h 186"/>
                <a:gd name="T14" fmla="*/ 101 w 362"/>
                <a:gd name="T15" fmla="*/ 85 h 186"/>
                <a:gd name="T16" fmla="*/ 181 w 362"/>
                <a:gd name="T17" fmla="*/ 117 h 186"/>
                <a:gd name="T18" fmla="*/ 262 w 362"/>
                <a:gd name="T19" fmla="*/ 85 h 186"/>
                <a:gd name="T20" fmla="*/ 293 w 362"/>
                <a:gd name="T21" fmla="*/ 0 h 186"/>
                <a:gd name="T22" fmla="*/ 362 w 362"/>
                <a:gd name="T23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2" h="186">
                  <a:moveTo>
                    <a:pt x="362" y="0"/>
                  </a:moveTo>
                  <a:lnTo>
                    <a:pt x="362" y="0"/>
                  </a:lnTo>
                  <a:cubicBezTo>
                    <a:pt x="362" y="53"/>
                    <a:pt x="346" y="98"/>
                    <a:pt x="313" y="133"/>
                  </a:cubicBezTo>
                  <a:cubicBezTo>
                    <a:pt x="279" y="168"/>
                    <a:pt x="235" y="186"/>
                    <a:pt x="181" y="186"/>
                  </a:cubicBezTo>
                  <a:cubicBezTo>
                    <a:pt x="128" y="186"/>
                    <a:pt x="84" y="168"/>
                    <a:pt x="50" y="133"/>
                  </a:cubicBezTo>
                  <a:cubicBezTo>
                    <a:pt x="17" y="98"/>
                    <a:pt x="0" y="53"/>
                    <a:pt x="0" y="0"/>
                  </a:cubicBezTo>
                  <a:lnTo>
                    <a:pt x="70" y="0"/>
                  </a:lnTo>
                  <a:cubicBezTo>
                    <a:pt x="70" y="35"/>
                    <a:pt x="80" y="63"/>
                    <a:pt x="101" y="85"/>
                  </a:cubicBezTo>
                  <a:cubicBezTo>
                    <a:pt x="121" y="107"/>
                    <a:pt x="147" y="117"/>
                    <a:pt x="181" y="117"/>
                  </a:cubicBezTo>
                  <a:cubicBezTo>
                    <a:pt x="216" y="117"/>
                    <a:pt x="242" y="107"/>
                    <a:pt x="262" y="85"/>
                  </a:cubicBezTo>
                  <a:cubicBezTo>
                    <a:pt x="283" y="63"/>
                    <a:pt x="293" y="35"/>
                    <a:pt x="293" y="0"/>
                  </a:cubicBezTo>
                  <a:lnTo>
                    <a:pt x="362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18" name="Freeform 44">
              <a:extLst>
                <a:ext uri="{FF2B5EF4-FFF2-40B4-BE49-F238E27FC236}">
                  <a16:creationId xmlns:a16="http://schemas.microsoft.com/office/drawing/2014/main" id="{F20E4156-80D1-D535-412E-2A41536B8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5489" y="8608257"/>
              <a:ext cx="352425" cy="177800"/>
            </a:xfrm>
            <a:custGeom>
              <a:avLst/>
              <a:gdLst>
                <a:gd name="T0" fmla="*/ 362 w 362"/>
                <a:gd name="T1" fmla="*/ 186 h 186"/>
                <a:gd name="T2" fmla="*/ 362 w 362"/>
                <a:gd name="T3" fmla="*/ 186 h 186"/>
                <a:gd name="T4" fmla="*/ 292 w 362"/>
                <a:gd name="T5" fmla="*/ 186 h 186"/>
                <a:gd name="T6" fmla="*/ 261 w 362"/>
                <a:gd name="T7" fmla="*/ 101 h 186"/>
                <a:gd name="T8" fmla="*/ 180 w 362"/>
                <a:gd name="T9" fmla="*/ 69 h 186"/>
                <a:gd name="T10" fmla="*/ 100 w 362"/>
                <a:gd name="T11" fmla="*/ 101 h 186"/>
                <a:gd name="T12" fmla="*/ 69 w 362"/>
                <a:gd name="T13" fmla="*/ 186 h 186"/>
                <a:gd name="T14" fmla="*/ 0 w 362"/>
                <a:gd name="T15" fmla="*/ 186 h 186"/>
                <a:gd name="T16" fmla="*/ 49 w 362"/>
                <a:gd name="T17" fmla="*/ 53 h 186"/>
                <a:gd name="T18" fmla="*/ 180 w 362"/>
                <a:gd name="T19" fmla="*/ 0 h 186"/>
                <a:gd name="T20" fmla="*/ 312 w 362"/>
                <a:gd name="T21" fmla="*/ 53 h 186"/>
                <a:gd name="T22" fmla="*/ 362 w 362"/>
                <a:gd name="T2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2" h="186">
                  <a:moveTo>
                    <a:pt x="362" y="186"/>
                  </a:moveTo>
                  <a:lnTo>
                    <a:pt x="362" y="186"/>
                  </a:lnTo>
                  <a:lnTo>
                    <a:pt x="292" y="186"/>
                  </a:lnTo>
                  <a:cubicBezTo>
                    <a:pt x="292" y="151"/>
                    <a:pt x="282" y="123"/>
                    <a:pt x="261" y="101"/>
                  </a:cubicBezTo>
                  <a:cubicBezTo>
                    <a:pt x="241" y="79"/>
                    <a:pt x="215" y="69"/>
                    <a:pt x="180" y="69"/>
                  </a:cubicBezTo>
                  <a:cubicBezTo>
                    <a:pt x="146" y="69"/>
                    <a:pt x="120" y="79"/>
                    <a:pt x="100" y="101"/>
                  </a:cubicBezTo>
                  <a:cubicBezTo>
                    <a:pt x="79" y="123"/>
                    <a:pt x="69" y="151"/>
                    <a:pt x="69" y="186"/>
                  </a:cubicBezTo>
                  <a:lnTo>
                    <a:pt x="0" y="186"/>
                  </a:lnTo>
                  <a:cubicBezTo>
                    <a:pt x="0" y="133"/>
                    <a:pt x="16" y="88"/>
                    <a:pt x="49" y="53"/>
                  </a:cubicBezTo>
                  <a:cubicBezTo>
                    <a:pt x="83" y="18"/>
                    <a:pt x="127" y="0"/>
                    <a:pt x="180" y="0"/>
                  </a:cubicBezTo>
                  <a:cubicBezTo>
                    <a:pt x="234" y="0"/>
                    <a:pt x="278" y="18"/>
                    <a:pt x="312" y="53"/>
                  </a:cubicBezTo>
                  <a:cubicBezTo>
                    <a:pt x="345" y="88"/>
                    <a:pt x="362" y="133"/>
                    <a:pt x="362" y="18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19" name="Freeform 45">
              <a:extLst>
                <a:ext uri="{FF2B5EF4-FFF2-40B4-BE49-F238E27FC236}">
                  <a16:creationId xmlns:a16="http://schemas.microsoft.com/office/drawing/2014/main" id="{C814A73D-F945-C794-D70B-E2EC40ED92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3602" y="8262182"/>
              <a:ext cx="227013" cy="166688"/>
            </a:xfrm>
            <a:custGeom>
              <a:avLst/>
              <a:gdLst>
                <a:gd name="T0" fmla="*/ 142 w 233"/>
                <a:gd name="T1" fmla="*/ 74 h 175"/>
                <a:gd name="T2" fmla="*/ 142 w 233"/>
                <a:gd name="T3" fmla="*/ 74 h 175"/>
                <a:gd name="T4" fmla="*/ 233 w 233"/>
                <a:gd name="T5" fmla="*/ 74 h 175"/>
                <a:gd name="T6" fmla="*/ 233 w 233"/>
                <a:gd name="T7" fmla="*/ 100 h 175"/>
                <a:gd name="T8" fmla="*/ 142 w 233"/>
                <a:gd name="T9" fmla="*/ 100 h 175"/>
                <a:gd name="T10" fmla="*/ 0 w 233"/>
                <a:gd name="T11" fmla="*/ 175 h 175"/>
                <a:gd name="T12" fmla="*/ 0 w 233"/>
                <a:gd name="T13" fmla="*/ 145 h 175"/>
                <a:gd name="T14" fmla="*/ 114 w 233"/>
                <a:gd name="T15" fmla="*/ 88 h 175"/>
                <a:gd name="T16" fmla="*/ 114 w 233"/>
                <a:gd name="T17" fmla="*/ 87 h 175"/>
                <a:gd name="T18" fmla="*/ 0 w 233"/>
                <a:gd name="T19" fmla="*/ 30 h 175"/>
                <a:gd name="T20" fmla="*/ 0 w 233"/>
                <a:gd name="T21" fmla="*/ 0 h 175"/>
                <a:gd name="T22" fmla="*/ 142 w 233"/>
                <a:gd name="T23" fmla="*/ 7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3" h="175">
                  <a:moveTo>
                    <a:pt x="142" y="74"/>
                  </a:moveTo>
                  <a:lnTo>
                    <a:pt x="142" y="74"/>
                  </a:lnTo>
                  <a:lnTo>
                    <a:pt x="233" y="74"/>
                  </a:lnTo>
                  <a:lnTo>
                    <a:pt x="233" y="100"/>
                  </a:lnTo>
                  <a:lnTo>
                    <a:pt x="142" y="100"/>
                  </a:lnTo>
                  <a:lnTo>
                    <a:pt x="0" y="175"/>
                  </a:lnTo>
                  <a:lnTo>
                    <a:pt x="0" y="145"/>
                  </a:lnTo>
                  <a:lnTo>
                    <a:pt x="114" y="88"/>
                  </a:lnTo>
                  <a:lnTo>
                    <a:pt x="114" y="87"/>
                  </a:lnTo>
                  <a:lnTo>
                    <a:pt x="0" y="30"/>
                  </a:lnTo>
                  <a:lnTo>
                    <a:pt x="0" y="0"/>
                  </a:lnTo>
                  <a:lnTo>
                    <a:pt x="142" y="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0" name="Freeform 46">
              <a:extLst>
                <a:ext uri="{FF2B5EF4-FFF2-40B4-BE49-F238E27FC236}">
                  <a16:creationId xmlns:a16="http://schemas.microsoft.com/office/drawing/2014/main" id="{EC0CB406-2E38-8230-7447-17A02C8502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5039" y="8116132"/>
              <a:ext cx="160338" cy="158750"/>
            </a:xfrm>
            <a:custGeom>
              <a:avLst/>
              <a:gdLst>
                <a:gd name="T0" fmla="*/ 82 w 164"/>
                <a:gd name="T1" fmla="*/ 141 h 167"/>
                <a:gd name="T2" fmla="*/ 82 w 164"/>
                <a:gd name="T3" fmla="*/ 141 h 167"/>
                <a:gd name="T4" fmla="*/ 140 w 164"/>
                <a:gd name="T5" fmla="*/ 83 h 167"/>
                <a:gd name="T6" fmla="*/ 82 w 164"/>
                <a:gd name="T7" fmla="*/ 25 h 167"/>
                <a:gd name="T8" fmla="*/ 24 w 164"/>
                <a:gd name="T9" fmla="*/ 83 h 167"/>
                <a:gd name="T10" fmla="*/ 82 w 164"/>
                <a:gd name="T11" fmla="*/ 141 h 167"/>
                <a:gd name="T12" fmla="*/ 82 w 164"/>
                <a:gd name="T13" fmla="*/ 0 h 167"/>
                <a:gd name="T14" fmla="*/ 82 w 164"/>
                <a:gd name="T15" fmla="*/ 0 h 167"/>
                <a:gd name="T16" fmla="*/ 164 w 164"/>
                <a:gd name="T17" fmla="*/ 83 h 167"/>
                <a:gd name="T18" fmla="*/ 82 w 164"/>
                <a:gd name="T19" fmla="*/ 167 h 167"/>
                <a:gd name="T20" fmla="*/ 0 w 164"/>
                <a:gd name="T21" fmla="*/ 83 h 167"/>
                <a:gd name="T22" fmla="*/ 82 w 164"/>
                <a:gd name="T2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67">
                  <a:moveTo>
                    <a:pt x="82" y="141"/>
                  </a:moveTo>
                  <a:lnTo>
                    <a:pt x="82" y="141"/>
                  </a:lnTo>
                  <a:cubicBezTo>
                    <a:pt x="117" y="141"/>
                    <a:pt x="140" y="117"/>
                    <a:pt x="140" y="83"/>
                  </a:cubicBezTo>
                  <a:cubicBezTo>
                    <a:pt x="140" y="50"/>
                    <a:pt x="117" y="25"/>
                    <a:pt x="82" y="25"/>
                  </a:cubicBezTo>
                  <a:cubicBezTo>
                    <a:pt x="47" y="25"/>
                    <a:pt x="24" y="50"/>
                    <a:pt x="24" y="83"/>
                  </a:cubicBezTo>
                  <a:cubicBezTo>
                    <a:pt x="24" y="117"/>
                    <a:pt x="47" y="141"/>
                    <a:pt x="82" y="141"/>
                  </a:cubicBezTo>
                  <a:close/>
                  <a:moveTo>
                    <a:pt x="82" y="0"/>
                  </a:moveTo>
                  <a:lnTo>
                    <a:pt x="82" y="0"/>
                  </a:lnTo>
                  <a:cubicBezTo>
                    <a:pt x="130" y="0"/>
                    <a:pt x="164" y="35"/>
                    <a:pt x="164" y="83"/>
                  </a:cubicBezTo>
                  <a:cubicBezTo>
                    <a:pt x="164" y="131"/>
                    <a:pt x="130" y="167"/>
                    <a:pt x="82" y="167"/>
                  </a:cubicBezTo>
                  <a:cubicBezTo>
                    <a:pt x="34" y="167"/>
                    <a:pt x="0" y="131"/>
                    <a:pt x="0" y="83"/>
                  </a:cubicBezTo>
                  <a:cubicBezTo>
                    <a:pt x="0" y="35"/>
                    <a:pt x="34" y="0"/>
                    <a:pt x="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1" name="Freeform 47">
              <a:extLst>
                <a:ext uri="{FF2B5EF4-FFF2-40B4-BE49-F238E27FC236}">
                  <a16:creationId xmlns:a16="http://schemas.microsoft.com/office/drawing/2014/main" id="{444B1E1E-D990-2D44-DAA9-AEFB1953E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79802" y="7960557"/>
              <a:ext cx="155575" cy="128588"/>
            </a:xfrm>
            <a:custGeom>
              <a:avLst/>
              <a:gdLst>
                <a:gd name="T0" fmla="*/ 93 w 159"/>
                <a:gd name="T1" fmla="*/ 134 h 134"/>
                <a:gd name="T2" fmla="*/ 93 w 159"/>
                <a:gd name="T3" fmla="*/ 134 h 134"/>
                <a:gd name="T4" fmla="*/ 0 w 159"/>
                <a:gd name="T5" fmla="*/ 134 h 134"/>
                <a:gd name="T6" fmla="*/ 0 w 159"/>
                <a:gd name="T7" fmla="*/ 110 h 134"/>
                <a:gd name="T8" fmla="*/ 92 w 159"/>
                <a:gd name="T9" fmla="*/ 110 h 134"/>
                <a:gd name="T10" fmla="*/ 136 w 159"/>
                <a:gd name="T11" fmla="*/ 71 h 134"/>
                <a:gd name="T12" fmla="*/ 70 w 159"/>
                <a:gd name="T13" fmla="*/ 24 h 134"/>
                <a:gd name="T14" fmla="*/ 0 w 159"/>
                <a:gd name="T15" fmla="*/ 24 h 134"/>
                <a:gd name="T16" fmla="*/ 0 w 159"/>
                <a:gd name="T17" fmla="*/ 0 h 134"/>
                <a:gd name="T18" fmla="*/ 154 w 159"/>
                <a:gd name="T19" fmla="*/ 0 h 134"/>
                <a:gd name="T20" fmla="*/ 154 w 159"/>
                <a:gd name="T21" fmla="*/ 24 h 134"/>
                <a:gd name="T22" fmla="*/ 125 w 159"/>
                <a:gd name="T23" fmla="*/ 24 h 134"/>
                <a:gd name="T24" fmla="*/ 125 w 159"/>
                <a:gd name="T25" fmla="*/ 25 h 134"/>
                <a:gd name="T26" fmla="*/ 159 w 159"/>
                <a:gd name="T27" fmla="*/ 77 h 134"/>
                <a:gd name="T28" fmla="*/ 93 w 159"/>
                <a:gd name="T2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34">
                  <a:moveTo>
                    <a:pt x="93" y="134"/>
                  </a:moveTo>
                  <a:lnTo>
                    <a:pt x="93" y="134"/>
                  </a:lnTo>
                  <a:lnTo>
                    <a:pt x="0" y="134"/>
                  </a:lnTo>
                  <a:lnTo>
                    <a:pt x="0" y="110"/>
                  </a:lnTo>
                  <a:lnTo>
                    <a:pt x="92" y="110"/>
                  </a:lnTo>
                  <a:cubicBezTo>
                    <a:pt x="123" y="110"/>
                    <a:pt x="136" y="94"/>
                    <a:pt x="136" y="71"/>
                  </a:cubicBezTo>
                  <a:cubicBezTo>
                    <a:pt x="136" y="45"/>
                    <a:pt x="119" y="24"/>
                    <a:pt x="70" y="24"/>
                  </a:cubicBezTo>
                  <a:lnTo>
                    <a:pt x="0" y="24"/>
                  </a:lnTo>
                  <a:lnTo>
                    <a:pt x="0" y="0"/>
                  </a:lnTo>
                  <a:lnTo>
                    <a:pt x="154" y="0"/>
                  </a:lnTo>
                  <a:lnTo>
                    <a:pt x="154" y="24"/>
                  </a:lnTo>
                  <a:lnTo>
                    <a:pt x="125" y="24"/>
                  </a:lnTo>
                  <a:lnTo>
                    <a:pt x="125" y="25"/>
                  </a:lnTo>
                  <a:cubicBezTo>
                    <a:pt x="143" y="32"/>
                    <a:pt x="159" y="48"/>
                    <a:pt x="159" y="77"/>
                  </a:cubicBezTo>
                  <a:cubicBezTo>
                    <a:pt x="159" y="109"/>
                    <a:pt x="140" y="134"/>
                    <a:pt x="93" y="1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2" name="Freeform 48">
              <a:extLst>
                <a:ext uri="{FF2B5EF4-FFF2-40B4-BE49-F238E27FC236}">
                  <a16:creationId xmlns:a16="http://schemas.microsoft.com/office/drawing/2014/main" id="{1289D83B-3A9F-DD47-B1FD-4EA157C92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75039" y="7609719"/>
              <a:ext cx="155575" cy="215900"/>
            </a:xfrm>
            <a:custGeom>
              <a:avLst/>
              <a:gdLst>
                <a:gd name="T0" fmla="*/ 5 w 159"/>
                <a:gd name="T1" fmla="*/ 226 h 226"/>
                <a:gd name="T2" fmla="*/ 5 w 159"/>
                <a:gd name="T3" fmla="*/ 226 h 226"/>
                <a:gd name="T4" fmla="*/ 5 w 159"/>
                <a:gd name="T5" fmla="*/ 202 h 226"/>
                <a:gd name="T6" fmla="*/ 33 w 159"/>
                <a:gd name="T7" fmla="*/ 202 h 226"/>
                <a:gd name="T8" fmla="*/ 33 w 159"/>
                <a:gd name="T9" fmla="*/ 201 h 226"/>
                <a:gd name="T10" fmla="*/ 0 w 159"/>
                <a:gd name="T11" fmla="*/ 153 h 226"/>
                <a:gd name="T12" fmla="*/ 34 w 159"/>
                <a:gd name="T13" fmla="*/ 104 h 226"/>
                <a:gd name="T14" fmla="*/ 34 w 159"/>
                <a:gd name="T15" fmla="*/ 103 h 226"/>
                <a:gd name="T16" fmla="*/ 0 w 159"/>
                <a:gd name="T17" fmla="*/ 52 h 226"/>
                <a:gd name="T18" fmla="*/ 63 w 159"/>
                <a:gd name="T19" fmla="*/ 0 h 226"/>
                <a:gd name="T20" fmla="*/ 159 w 159"/>
                <a:gd name="T21" fmla="*/ 0 h 226"/>
                <a:gd name="T22" fmla="*/ 159 w 159"/>
                <a:gd name="T23" fmla="*/ 24 h 226"/>
                <a:gd name="T24" fmla="*/ 63 w 159"/>
                <a:gd name="T25" fmla="*/ 24 h 226"/>
                <a:gd name="T26" fmla="*/ 24 w 159"/>
                <a:gd name="T27" fmla="*/ 59 h 226"/>
                <a:gd name="T28" fmla="*/ 79 w 159"/>
                <a:gd name="T29" fmla="*/ 101 h 226"/>
                <a:gd name="T30" fmla="*/ 159 w 159"/>
                <a:gd name="T31" fmla="*/ 101 h 226"/>
                <a:gd name="T32" fmla="*/ 159 w 159"/>
                <a:gd name="T33" fmla="*/ 125 h 226"/>
                <a:gd name="T34" fmla="*/ 68 w 159"/>
                <a:gd name="T35" fmla="*/ 125 h 226"/>
                <a:gd name="T36" fmla="*/ 24 w 159"/>
                <a:gd name="T37" fmla="*/ 161 h 226"/>
                <a:gd name="T38" fmla="*/ 82 w 159"/>
                <a:gd name="T39" fmla="*/ 202 h 226"/>
                <a:gd name="T40" fmla="*/ 159 w 159"/>
                <a:gd name="T41" fmla="*/ 202 h 226"/>
                <a:gd name="T42" fmla="*/ 159 w 159"/>
                <a:gd name="T43" fmla="*/ 226 h 226"/>
                <a:gd name="T44" fmla="*/ 5 w 159"/>
                <a:gd name="T45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9" h="226">
                  <a:moveTo>
                    <a:pt x="5" y="226"/>
                  </a:moveTo>
                  <a:lnTo>
                    <a:pt x="5" y="226"/>
                  </a:lnTo>
                  <a:lnTo>
                    <a:pt x="5" y="202"/>
                  </a:lnTo>
                  <a:lnTo>
                    <a:pt x="33" y="202"/>
                  </a:lnTo>
                  <a:lnTo>
                    <a:pt x="33" y="201"/>
                  </a:lnTo>
                  <a:cubicBezTo>
                    <a:pt x="11" y="193"/>
                    <a:pt x="0" y="176"/>
                    <a:pt x="0" y="153"/>
                  </a:cubicBezTo>
                  <a:cubicBezTo>
                    <a:pt x="0" y="129"/>
                    <a:pt x="11" y="113"/>
                    <a:pt x="34" y="104"/>
                  </a:cubicBezTo>
                  <a:lnTo>
                    <a:pt x="34" y="103"/>
                  </a:lnTo>
                  <a:cubicBezTo>
                    <a:pt x="10" y="95"/>
                    <a:pt x="0" y="74"/>
                    <a:pt x="0" y="52"/>
                  </a:cubicBezTo>
                  <a:cubicBezTo>
                    <a:pt x="0" y="23"/>
                    <a:pt x="17" y="0"/>
                    <a:pt x="63" y="0"/>
                  </a:cubicBezTo>
                  <a:lnTo>
                    <a:pt x="159" y="0"/>
                  </a:lnTo>
                  <a:lnTo>
                    <a:pt x="159" y="24"/>
                  </a:lnTo>
                  <a:lnTo>
                    <a:pt x="63" y="24"/>
                  </a:lnTo>
                  <a:cubicBezTo>
                    <a:pt x="37" y="24"/>
                    <a:pt x="24" y="36"/>
                    <a:pt x="24" y="59"/>
                  </a:cubicBezTo>
                  <a:cubicBezTo>
                    <a:pt x="24" y="83"/>
                    <a:pt x="39" y="101"/>
                    <a:pt x="79" y="101"/>
                  </a:cubicBezTo>
                  <a:lnTo>
                    <a:pt x="159" y="101"/>
                  </a:lnTo>
                  <a:lnTo>
                    <a:pt x="159" y="125"/>
                  </a:lnTo>
                  <a:lnTo>
                    <a:pt x="68" y="125"/>
                  </a:lnTo>
                  <a:cubicBezTo>
                    <a:pt x="39" y="125"/>
                    <a:pt x="24" y="137"/>
                    <a:pt x="24" y="161"/>
                  </a:cubicBezTo>
                  <a:cubicBezTo>
                    <a:pt x="24" y="185"/>
                    <a:pt x="41" y="202"/>
                    <a:pt x="82" y="202"/>
                  </a:cubicBezTo>
                  <a:lnTo>
                    <a:pt x="159" y="202"/>
                  </a:lnTo>
                  <a:lnTo>
                    <a:pt x="159" y="226"/>
                  </a:lnTo>
                  <a:lnTo>
                    <a:pt x="5" y="22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48B91858-AFC9-05A8-30A6-EA641CE267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5039" y="7430332"/>
              <a:ext cx="160338" cy="150813"/>
            </a:xfrm>
            <a:custGeom>
              <a:avLst/>
              <a:gdLst>
                <a:gd name="T0" fmla="*/ 82 w 164"/>
                <a:gd name="T1" fmla="*/ 22 h 159"/>
                <a:gd name="T2" fmla="*/ 82 w 164"/>
                <a:gd name="T3" fmla="*/ 22 h 159"/>
                <a:gd name="T4" fmla="*/ 24 w 164"/>
                <a:gd name="T5" fmla="*/ 78 h 159"/>
                <a:gd name="T6" fmla="*/ 82 w 164"/>
                <a:gd name="T7" fmla="*/ 134 h 159"/>
                <a:gd name="T8" fmla="*/ 140 w 164"/>
                <a:gd name="T9" fmla="*/ 78 h 159"/>
                <a:gd name="T10" fmla="*/ 82 w 164"/>
                <a:gd name="T11" fmla="*/ 22 h 159"/>
                <a:gd name="T12" fmla="*/ 82 w 164"/>
                <a:gd name="T13" fmla="*/ 159 h 159"/>
                <a:gd name="T14" fmla="*/ 82 w 164"/>
                <a:gd name="T15" fmla="*/ 159 h 159"/>
                <a:gd name="T16" fmla="*/ 0 w 164"/>
                <a:gd name="T17" fmla="*/ 83 h 159"/>
                <a:gd name="T18" fmla="*/ 32 w 164"/>
                <a:gd name="T19" fmla="*/ 24 h 159"/>
                <a:gd name="T20" fmla="*/ 32 w 164"/>
                <a:gd name="T21" fmla="*/ 24 h 159"/>
                <a:gd name="T22" fmla="*/ 5 w 164"/>
                <a:gd name="T23" fmla="*/ 24 h 159"/>
                <a:gd name="T24" fmla="*/ 5 w 164"/>
                <a:gd name="T25" fmla="*/ 0 h 159"/>
                <a:gd name="T26" fmla="*/ 159 w 164"/>
                <a:gd name="T27" fmla="*/ 0 h 159"/>
                <a:gd name="T28" fmla="*/ 159 w 164"/>
                <a:gd name="T29" fmla="*/ 24 h 159"/>
                <a:gd name="T30" fmla="*/ 132 w 164"/>
                <a:gd name="T31" fmla="*/ 24 h 159"/>
                <a:gd name="T32" fmla="*/ 132 w 164"/>
                <a:gd name="T33" fmla="*/ 24 h 159"/>
                <a:gd name="T34" fmla="*/ 164 w 164"/>
                <a:gd name="T35" fmla="*/ 83 h 159"/>
                <a:gd name="T36" fmla="*/ 82 w 164"/>
                <a:gd name="T3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4" h="159">
                  <a:moveTo>
                    <a:pt x="82" y="22"/>
                  </a:moveTo>
                  <a:lnTo>
                    <a:pt x="82" y="22"/>
                  </a:lnTo>
                  <a:cubicBezTo>
                    <a:pt x="48" y="22"/>
                    <a:pt x="24" y="44"/>
                    <a:pt x="24" y="78"/>
                  </a:cubicBezTo>
                  <a:cubicBezTo>
                    <a:pt x="24" y="112"/>
                    <a:pt x="48" y="134"/>
                    <a:pt x="82" y="134"/>
                  </a:cubicBezTo>
                  <a:cubicBezTo>
                    <a:pt x="116" y="134"/>
                    <a:pt x="140" y="112"/>
                    <a:pt x="140" y="78"/>
                  </a:cubicBezTo>
                  <a:cubicBezTo>
                    <a:pt x="140" y="44"/>
                    <a:pt x="116" y="22"/>
                    <a:pt x="82" y="22"/>
                  </a:cubicBezTo>
                  <a:close/>
                  <a:moveTo>
                    <a:pt x="82" y="159"/>
                  </a:moveTo>
                  <a:lnTo>
                    <a:pt x="82" y="159"/>
                  </a:lnTo>
                  <a:cubicBezTo>
                    <a:pt x="31" y="159"/>
                    <a:pt x="0" y="125"/>
                    <a:pt x="0" y="83"/>
                  </a:cubicBezTo>
                  <a:cubicBezTo>
                    <a:pt x="0" y="55"/>
                    <a:pt x="13" y="35"/>
                    <a:pt x="32" y="24"/>
                  </a:cubicBezTo>
                  <a:lnTo>
                    <a:pt x="32" y="24"/>
                  </a:lnTo>
                  <a:lnTo>
                    <a:pt x="5" y="24"/>
                  </a:lnTo>
                  <a:lnTo>
                    <a:pt x="5" y="0"/>
                  </a:lnTo>
                  <a:lnTo>
                    <a:pt x="159" y="0"/>
                  </a:lnTo>
                  <a:lnTo>
                    <a:pt x="159" y="24"/>
                  </a:lnTo>
                  <a:lnTo>
                    <a:pt x="132" y="24"/>
                  </a:lnTo>
                  <a:lnTo>
                    <a:pt x="132" y="24"/>
                  </a:lnTo>
                  <a:cubicBezTo>
                    <a:pt x="151" y="35"/>
                    <a:pt x="164" y="55"/>
                    <a:pt x="164" y="83"/>
                  </a:cubicBezTo>
                  <a:cubicBezTo>
                    <a:pt x="164" y="125"/>
                    <a:pt x="133" y="159"/>
                    <a:pt x="82" y="1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4" name="Freeform 50">
              <a:extLst>
                <a:ext uri="{FF2B5EF4-FFF2-40B4-BE49-F238E27FC236}">
                  <a16:creationId xmlns:a16="http://schemas.microsoft.com/office/drawing/2014/main" id="{DDE5565D-6D95-8898-DFA3-617DF534C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3602" y="7269994"/>
              <a:ext cx="227013" cy="122238"/>
            </a:xfrm>
            <a:custGeom>
              <a:avLst/>
              <a:gdLst>
                <a:gd name="T0" fmla="*/ 233 w 233"/>
                <a:gd name="T1" fmla="*/ 33 h 128"/>
                <a:gd name="T2" fmla="*/ 233 w 233"/>
                <a:gd name="T3" fmla="*/ 33 h 128"/>
                <a:gd name="T4" fmla="*/ 155 w 233"/>
                <a:gd name="T5" fmla="*/ 104 h 128"/>
                <a:gd name="T6" fmla="*/ 233 w 233"/>
                <a:gd name="T7" fmla="*/ 104 h 128"/>
                <a:gd name="T8" fmla="*/ 233 w 233"/>
                <a:gd name="T9" fmla="*/ 128 h 128"/>
                <a:gd name="T10" fmla="*/ 0 w 233"/>
                <a:gd name="T11" fmla="*/ 128 h 128"/>
                <a:gd name="T12" fmla="*/ 0 w 233"/>
                <a:gd name="T13" fmla="*/ 104 h 128"/>
                <a:gd name="T14" fmla="*/ 146 w 233"/>
                <a:gd name="T15" fmla="*/ 104 h 128"/>
                <a:gd name="T16" fmla="*/ 79 w 233"/>
                <a:gd name="T17" fmla="*/ 40 h 128"/>
                <a:gd name="T18" fmla="*/ 79 w 233"/>
                <a:gd name="T19" fmla="*/ 7 h 128"/>
                <a:gd name="T20" fmla="*/ 149 w 233"/>
                <a:gd name="T21" fmla="*/ 78 h 128"/>
                <a:gd name="T22" fmla="*/ 233 w 233"/>
                <a:gd name="T23" fmla="*/ 0 h 128"/>
                <a:gd name="T24" fmla="*/ 233 w 233"/>
                <a:gd name="T25" fmla="*/ 3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3" h="128">
                  <a:moveTo>
                    <a:pt x="233" y="33"/>
                  </a:moveTo>
                  <a:lnTo>
                    <a:pt x="233" y="33"/>
                  </a:lnTo>
                  <a:lnTo>
                    <a:pt x="155" y="104"/>
                  </a:lnTo>
                  <a:lnTo>
                    <a:pt x="233" y="104"/>
                  </a:lnTo>
                  <a:lnTo>
                    <a:pt x="233" y="128"/>
                  </a:lnTo>
                  <a:lnTo>
                    <a:pt x="0" y="128"/>
                  </a:lnTo>
                  <a:lnTo>
                    <a:pt x="0" y="104"/>
                  </a:lnTo>
                  <a:lnTo>
                    <a:pt x="146" y="104"/>
                  </a:lnTo>
                  <a:lnTo>
                    <a:pt x="79" y="40"/>
                  </a:lnTo>
                  <a:lnTo>
                    <a:pt x="79" y="7"/>
                  </a:lnTo>
                  <a:lnTo>
                    <a:pt x="149" y="78"/>
                  </a:lnTo>
                  <a:lnTo>
                    <a:pt x="233" y="0"/>
                  </a:lnTo>
                  <a:lnTo>
                    <a:pt x="233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5" name="Freeform 51">
              <a:extLst>
                <a:ext uri="{FF2B5EF4-FFF2-40B4-BE49-F238E27FC236}">
                  <a16:creationId xmlns:a16="http://schemas.microsoft.com/office/drawing/2014/main" id="{36925A7F-92D4-5DCB-4215-A6CBDEA2E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5039" y="7123944"/>
              <a:ext cx="160338" cy="146050"/>
            </a:xfrm>
            <a:custGeom>
              <a:avLst/>
              <a:gdLst>
                <a:gd name="T0" fmla="*/ 67 w 164"/>
                <a:gd name="T1" fmla="*/ 127 h 153"/>
                <a:gd name="T2" fmla="*/ 67 w 164"/>
                <a:gd name="T3" fmla="*/ 127 h 153"/>
                <a:gd name="T4" fmla="*/ 67 w 164"/>
                <a:gd name="T5" fmla="*/ 26 h 153"/>
                <a:gd name="T6" fmla="*/ 22 w 164"/>
                <a:gd name="T7" fmla="*/ 76 h 153"/>
                <a:gd name="T8" fmla="*/ 67 w 164"/>
                <a:gd name="T9" fmla="*/ 127 h 153"/>
                <a:gd name="T10" fmla="*/ 81 w 164"/>
                <a:gd name="T11" fmla="*/ 0 h 153"/>
                <a:gd name="T12" fmla="*/ 81 w 164"/>
                <a:gd name="T13" fmla="*/ 0 h 153"/>
                <a:gd name="T14" fmla="*/ 85 w 164"/>
                <a:gd name="T15" fmla="*/ 0 h 153"/>
                <a:gd name="T16" fmla="*/ 85 w 164"/>
                <a:gd name="T17" fmla="*/ 128 h 153"/>
                <a:gd name="T18" fmla="*/ 141 w 164"/>
                <a:gd name="T19" fmla="*/ 73 h 153"/>
                <a:gd name="T20" fmla="*/ 111 w 164"/>
                <a:gd name="T21" fmla="*/ 20 h 153"/>
                <a:gd name="T22" fmla="*/ 127 w 164"/>
                <a:gd name="T23" fmla="*/ 3 h 153"/>
                <a:gd name="T24" fmla="*/ 164 w 164"/>
                <a:gd name="T25" fmla="*/ 73 h 153"/>
                <a:gd name="T26" fmla="*/ 82 w 164"/>
                <a:gd name="T27" fmla="*/ 153 h 153"/>
                <a:gd name="T28" fmla="*/ 0 w 164"/>
                <a:gd name="T29" fmla="*/ 74 h 153"/>
                <a:gd name="T30" fmla="*/ 81 w 164"/>
                <a:gd name="T31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53">
                  <a:moveTo>
                    <a:pt x="67" y="127"/>
                  </a:moveTo>
                  <a:lnTo>
                    <a:pt x="67" y="127"/>
                  </a:lnTo>
                  <a:lnTo>
                    <a:pt x="67" y="26"/>
                  </a:lnTo>
                  <a:cubicBezTo>
                    <a:pt x="39" y="29"/>
                    <a:pt x="22" y="46"/>
                    <a:pt x="22" y="76"/>
                  </a:cubicBezTo>
                  <a:cubicBezTo>
                    <a:pt x="22" y="102"/>
                    <a:pt x="38" y="124"/>
                    <a:pt x="67" y="127"/>
                  </a:cubicBezTo>
                  <a:close/>
                  <a:moveTo>
                    <a:pt x="81" y="0"/>
                  </a:moveTo>
                  <a:lnTo>
                    <a:pt x="81" y="0"/>
                  </a:lnTo>
                  <a:lnTo>
                    <a:pt x="85" y="0"/>
                  </a:lnTo>
                  <a:lnTo>
                    <a:pt x="85" y="128"/>
                  </a:lnTo>
                  <a:cubicBezTo>
                    <a:pt x="119" y="128"/>
                    <a:pt x="141" y="105"/>
                    <a:pt x="141" y="73"/>
                  </a:cubicBezTo>
                  <a:cubicBezTo>
                    <a:pt x="141" y="44"/>
                    <a:pt x="124" y="30"/>
                    <a:pt x="111" y="20"/>
                  </a:cubicBezTo>
                  <a:lnTo>
                    <a:pt x="127" y="3"/>
                  </a:lnTo>
                  <a:cubicBezTo>
                    <a:pt x="143" y="14"/>
                    <a:pt x="164" y="34"/>
                    <a:pt x="164" y="73"/>
                  </a:cubicBezTo>
                  <a:cubicBezTo>
                    <a:pt x="164" y="121"/>
                    <a:pt x="131" y="153"/>
                    <a:pt x="82" y="153"/>
                  </a:cubicBezTo>
                  <a:cubicBezTo>
                    <a:pt x="33" y="153"/>
                    <a:pt x="0" y="121"/>
                    <a:pt x="0" y="74"/>
                  </a:cubicBezTo>
                  <a:cubicBezTo>
                    <a:pt x="0" y="24"/>
                    <a:pt x="35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6" name="Freeform 52">
              <a:extLst>
                <a:ext uri="{FF2B5EF4-FFF2-40B4-BE49-F238E27FC236}">
                  <a16:creationId xmlns:a16="http://schemas.microsoft.com/office/drawing/2014/main" id="{E47611BF-F675-56AF-DFA5-AC28C5A68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79802" y="6871532"/>
              <a:ext cx="155575" cy="128588"/>
            </a:xfrm>
            <a:custGeom>
              <a:avLst/>
              <a:gdLst>
                <a:gd name="T0" fmla="*/ 93 w 159"/>
                <a:gd name="T1" fmla="*/ 135 h 135"/>
                <a:gd name="T2" fmla="*/ 93 w 159"/>
                <a:gd name="T3" fmla="*/ 135 h 135"/>
                <a:gd name="T4" fmla="*/ 0 w 159"/>
                <a:gd name="T5" fmla="*/ 135 h 135"/>
                <a:gd name="T6" fmla="*/ 0 w 159"/>
                <a:gd name="T7" fmla="*/ 110 h 135"/>
                <a:gd name="T8" fmla="*/ 92 w 159"/>
                <a:gd name="T9" fmla="*/ 110 h 135"/>
                <a:gd name="T10" fmla="*/ 136 w 159"/>
                <a:gd name="T11" fmla="*/ 71 h 135"/>
                <a:gd name="T12" fmla="*/ 70 w 159"/>
                <a:gd name="T13" fmla="*/ 24 h 135"/>
                <a:gd name="T14" fmla="*/ 0 w 159"/>
                <a:gd name="T15" fmla="*/ 24 h 135"/>
                <a:gd name="T16" fmla="*/ 0 w 159"/>
                <a:gd name="T17" fmla="*/ 0 h 135"/>
                <a:gd name="T18" fmla="*/ 154 w 159"/>
                <a:gd name="T19" fmla="*/ 0 h 135"/>
                <a:gd name="T20" fmla="*/ 154 w 159"/>
                <a:gd name="T21" fmla="*/ 24 h 135"/>
                <a:gd name="T22" fmla="*/ 125 w 159"/>
                <a:gd name="T23" fmla="*/ 24 h 135"/>
                <a:gd name="T24" fmla="*/ 125 w 159"/>
                <a:gd name="T25" fmla="*/ 25 h 135"/>
                <a:gd name="T26" fmla="*/ 159 w 159"/>
                <a:gd name="T27" fmla="*/ 77 h 135"/>
                <a:gd name="T28" fmla="*/ 93 w 159"/>
                <a:gd name="T2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9" h="135">
                  <a:moveTo>
                    <a:pt x="93" y="135"/>
                  </a:moveTo>
                  <a:lnTo>
                    <a:pt x="93" y="135"/>
                  </a:lnTo>
                  <a:lnTo>
                    <a:pt x="0" y="135"/>
                  </a:lnTo>
                  <a:lnTo>
                    <a:pt x="0" y="110"/>
                  </a:lnTo>
                  <a:lnTo>
                    <a:pt x="92" y="110"/>
                  </a:lnTo>
                  <a:cubicBezTo>
                    <a:pt x="123" y="110"/>
                    <a:pt x="136" y="94"/>
                    <a:pt x="136" y="71"/>
                  </a:cubicBezTo>
                  <a:cubicBezTo>
                    <a:pt x="136" y="45"/>
                    <a:pt x="119" y="24"/>
                    <a:pt x="70" y="24"/>
                  </a:cubicBezTo>
                  <a:lnTo>
                    <a:pt x="0" y="24"/>
                  </a:lnTo>
                  <a:lnTo>
                    <a:pt x="0" y="0"/>
                  </a:lnTo>
                  <a:lnTo>
                    <a:pt x="154" y="0"/>
                  </a:lnTo>
                  <a:lnTo>
                    <a:pt x="154" y="24"/>
                  </a:lnTo>
                  <a:lnTo>
                    <a:pt x="125" y="24"/>
                  </a:lnTo>
                  <a:lnTo>
                    <a:pt x="125" y="25"/>
                  </a:lnTo>
                  <a:cubicBezTo>
                    <a:pt x="143" y="33"/>
                    <a:pt x="159" y="48"/>
                    <a:pt x="159" y="77"/>
                  </a:cubicBezTo>
                  <a:cubicBezTo>
                    <a:pt x="159" y="109"/>
                    <a:pt x="140" y="135"/>
                    <a:pt x="93" y="1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7" name="Freeform 53">
              <a:extLst>
                <a:ext uri="{FF2B5EF4-FFF2-40B4-BE49-F238E27FC236}">
                  <a16:creationId xmlns:a16="http://schemas.microsoft.com/office/drawing/2014/main" id="{845F8120-B5B5-8BDD-6C2D-55D44322E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75039" y="6733419"/>
              <a:ext cx="160338" cy="115888"/>
            </a:xfrm>
            <a:custGeom>
              <a:avLst/>
              <a:gdLst>
                <a:gd name="T0" fmla="*/ 146 w 164"/>
                <a:gd name="T1" fmla="*/ 121 h 121"/>
                <a:gd name="T2" fmla="*/ 146 w 164"/>
                <a:gd name="T3" fmla="*/ 121 h 121"/>
                <a:gd name="T4" fmla="*/ 125 w 164"/>
                <a:gd name="T5" fmla="*/ 110 h 121"/>
                <a:gd name="T6" fmla="*/ 141 w 164"/>
                <a:gd name="T7" fmla="*/ 57 h 121"/>
                <a:gd name="T8" fmla="*/ 121 w 164"/>
                <a:gd name="T9" fmla="*/ 26 h 121"/>
                <a:gd name="T10" fmla="*/ 98 w 164"/>
                <a:gd name="T11" fmla="*/ 47 h 121"/>
                <a:gd name="T12" fmla="*/ 84 w 164"/>
                <a:gd name="T13" fmla="*/ 76 h 121"/>
                <a:gd name="T14" fmla="*/ 41 w 164"/>
                <a:gd name="T15" fmla="*/ 109 h 121"/>
                <a:gd name="T16" fmla="*/ 0 w 164"/>
                <a:gd name="T17" fmla="*/ 56 h 121"/>
                <a:gd name="T18" fmla="*/ 12 w 164"/>
                <a:gd name="T19" fmla="*/ 4 h 121"/>
                <a:gd name="T20" fmla="*/ 33 w 164"/>
                <a:gd name="T21" fmla="*/ 14 h 121"/>
                <a:gd name="T22" fmla="*/ 23 w 164"/>
                <a:gd name="T23" fmla="*/ 57 h 121"/>
                <a:gd name="T24" fmla="*/ 40 w 164"/>
                <a:gd name="T25" fmla="*/ 83 h 121"/>
                <a:gd name="T26" fmla="*/ 64 w 164"/>
                <a:gd name="T27" fmla="*/ 61 h 121"/>
                <a:gd name="T28" fmla="*/ 77 w 164"/>
                <a:gd name="T29" fmla="*/ 33 h 121"/>
                <a:gd name="T30" fmla="*/ 120 w 164"/>
                <a:gd name="T31" fmla="*/ 0 h 121"/>
                <a:gd name="T32" fmla="*/ 164 w 164"/>
                <a:gd name="T33" fmla="*/ 58 h 121"/>
                <a:gd name="T34" fmla="*/ 146 w 164"/>
                <a:gd name="T3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4" h="121">
                  <a:moveTo>
                    <a:pt x="146" y="121"/>
                  </a:moveTo>
                  <a:lnTo>
                    <a:pt x="146" y="121"/>
                  </a:lnTo>
                  <a:lnTo>
                    <a:pt x="125" y="110"/>
                  </a:lnTo>
                  <a:cubicBezTo>
                    <a:pt x="135" y="94"/>
                    <a:pt x="141" y="76"/>
                    <a:pt x="141" y="57"/>
                  </a:cubicBezTo>
                  <a:cubicBezTo>
                    <a:pt x="141" y="36"/>
                    <a:pt x="133" y="26"/>
                    <a:pt x="121" y="26"/>
                  </a:cubicBezTo>
                  <a:cubicBezTo>
                    <a:pt x="111" y="26"/>
                    <a:pt x="104" y="33"/>
                    <a:pt x="98" y="47"/>
                  </a:cubicBezTo>
                  <a:lnTo>
                    <a:pt x="84" y="76"/>
                  </a:lnTo>
                  <a:cubicBezTo>
                    <a:pt x="74" y="98"/>
                    <a:pt x="60" y="109"/>
                    <a:pt x="41" y="109"/>
                  </a:cubicBezTo>
                  <a:cubicBezTo>
                    <a:pt x="14" y="109"/>
                    <a:pt x="0" y="88"/>
                    <a:pt x="0" y="56"/>
                  </a:cubicBezTo>
                  <a:cubicBezTo>
                    <a:pt x="0" y="38"/>
                    <a:pt x="5" y="20"/>
                    <a:pt x="12" y="4"/>
                  </a:cubicBezTo>
                  <a:lnTo>
                    <a:pt x="33" y="14"/>
                  </a:lnTo>
                  <a:cubicBezTo>
                    <a:pt x="27" y="27"/>
                    <a:pt x="23" y="41"/>
                    <a:pt x="23" y="57"/>
                  </a:cubicBezTo>
                  <a:cubicBezTo>
                    <a:pt x="23" y="74"/>
                    <a:pt x="29" y="83"/>
                    <a:pt x="40" y="83"/>
                  </a:cubicBezTo>
                  <a:cubicBezTo>
                    <a:pt x="51" y="83"/>
                    <a:pt x="57" y="76"/>
                    <a:pt x="64" y="61"/>
                  </a:cubicBezTo>
                  <a:lnTo>
                    <a:pt x="77" y="33"/>
                  </a:lnTo>
                  <a:cubicBezTo>
                    <a:pt x="86" y="14"/>
                    <a:pt x="98" y="0"/>
                    <a:pt x="120" y="0"/>
                  </a:cubicBezTo>
                  <a:cubicBezTo>
                    <a:pt x="149" y="0"/>
                    <a:pt x="164" y="23"/>
                    <a:pt x="164" y="58"/>
                  </a:cubicBezTo>
                  <a:cubicBezTo>
                    <a:pt x="164" y="81"/>
                    <a:pt x="157" y="104"/>
                    <a:pt x="146" y="1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8" name="Freeform 54">
              <a:extLst>
                <a:ext uri="{FF2B5EF4-FFF2-40B4-BE49-F238E27FC236}">
                  <a16:creationId xmlns:a16="http://schemas.microsoft.com/office/drawing/2014/main" id="{7972D8FE-DA49-BF21-E9F8-C0349A4D6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75039" y="6395282"/>
              <a:ext cx="155575" cy="215900"/>
            </a:xfrm>
            <a:custGeom>
              <a:avLst/>
              <a:gdLst>
                <a:gd name="T0" fmla="*/ 5 w 159"/>
                <a:gd name="T1" fmla="*/ 227 h 227"/>
                <a:gd name="T2" fmla="*/ 5 w 159"/>
                <a:gd name="T3" fmla="*/ 227 h 227"/>
                <a:gd name="T4" fmla="*/ 5 w 159"/>
                <a:gd name="T5" fmla="*/ 203 h 227"/>
                <a:gd name="T6" fmla="*/ 33 w 159"/>
                <a:gd name="T7" fmla="*/ 203 h 227"/>
                <a:gd name="T8" fmla="*/ 33 w 159"/>
                <a:gd name="T9" fmla="*/ 202 h 227"/>
                <a:gd name="T10" fmla="*/ 0 w 159"/>
                <a:gd name="T11" fmla="*/ 154 h 227"/>
                <a:gd name="T12" fmla="*/ 34 w 159"/>
                <a:gd name="T13" fmla="*/ 105 h 227"/>
                <a:gd name="T14" fmla="*/ 34 w 159"/>
                <a:gd name="T15" fmla="*/ 104 h 227"/>
                <a:gd name="T16" fmla="*/ 0 w 159"/>
                <a:gd name="T17" fmla="*/ 53 h 227"/>
                <a:gd name="T18" fmla="*/ 63 w 159"/>
                <a:gd name="T19" fmla="*/ 0 h 227"/>
                <a:gd name="T20" fmla="*/ 159 w 159"/>
                <a:gd name="T21" fmla="*/ 0 h 227"/>
                <a:gd name="T22" fmla="*/ 159 w 159"/>
                <a:gd name="T23" fmla="*/ 24 h 227"/>
                <a:gd name="T24" fmla="*/ 63 w 159"/>
                <a:gd name="T25" fmla="*/ 24 h 227"/>
                <a:gd name="T26" fmla="*/ 24 w 159"/>
                <a:gd name="T27" fmla="*/ 60 h 227"/>
                <a:gd name="T28" fmla="*/ 79 w 159"/>
                <a:gd name="T29" fmla="*/ 101 h 227"/>
                <a:gd name="T30" fmla="*/ 159 w 159"/>
                <a:gd name="T31" fmla="*/ 101 h 227"/>
                <a:gd name="T32" fmla="*/ 159 w 159"/>
                <a:gd name="T33" fmla="*/ 125 h 227"/>
                <a:gd name="T34" fmla="*/ 68 w 159"/>
                <a:gd name="T35" fmla="*/ 125 h 227"/>
                <a:gd name="T36" fmla="*/ 24 w 159"/>
                <a:gd name="T37" fmla="*/ 161 h 227"/>
                <a:gd name="T38" fmla="*/ 82 w 159"/>
                <a:gd name="T39" fmla="*/ 203 h 227"/>
                <a:gd name="T40" fmla="*/ 159 w 159"/>
                <a:gd name="T41" fmla="*/ 203 h 227"/>
                <a:gd name="T42" fmla="*/ 159 w 159"/>
                <a:gd name="T43" fmla="*/ 227 h 227"/>
                <a:gd name="T44" fmla="*/ 5 w 159"/>
                <a:gd name="T45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9" h="227">
                  <a:moveTo>
                    <a:pt x="5" y="227"/>
                  </a:moveTo>
                  <a:lnTo>
                    <a:pt x="5" y="227"/>
                  </a:lnTo>
                  <a:lnTo>
                    <a:pt x="5" y="203"/>
                  </a:lnTo>
                  <a:lnTo>
                    <a:pt x="33" y="203"/>
                  </a:lnTo>
                  <a:lnTo>
                    <a:pt x="33" y="202"/>
                  </a:lnTo>
                  <a:cubicBezTo>
                    <a:pt x="11" y="194"/>
                    <a:pt x="0" y="177"/>
                    <a:pt x="0" y="154"/>
                  </a:cubicBezTo>
                  <a:cubicBezTo>
                    <a:pt x="0" y="130"/>
                    <a:pt x="11" y="114"/>
                    <a:pt x="34" y="105"/>
                  </a:cubicBezTo>
                  <a:lnTo>
                    <a:pt x="34" y="104"/>
                  </a:lnTo>
                  <a:cubicBezTo>
                    <a:pt x="10" y="95"/>
                    <a:pt x="0" y="75"/>
                    <a:pt x="0" y="53"/>
                  </a:cubicBezTo>
                  <a:cubicBezTo>
                    <a:pt x="0" y="24"/>
                    <a:pt x="17" y="0"/>
                    <a:pt x="63" y="0"/>
                  </a:cubicBezTo>
                  <a:lnTo>
                    <a:pt x="159" y="0"/>
                  </a:lnTo>
                  <a:lnTo>
                    <a:pt x="159" y="24"/>
                  </a:lnTo>
                  <a:lnTo>
                    <a:pt x="63" y="24"/>
                  </a:lnTo>
                  <a:cubicBezTo>
                    <a:pt x="37" y="24"/>
                    <a:pt x="24" y="37"/>
                    <a:pt x="24" y="60"/>
                  </a:cubicBezTo>
                  <a:cubicBezTo>
                    <a:pt x="24" y="84"/>
                    <a:pt x="39" y="101"/>
                    <a:pt x="79" y="101"/>
                  </a:cubicBezTo>
                  <a:lnTo>
                    <a:pt x="159" y="101"/>
                  </a:lnTo>
                  <a:lnTo>
                    <a:pt x="159" y="125"/>
                  </a:lnTo>
                  <a:lnTo>
                    <a:pt x="68" y="125"/>
                  </a:lnTo>
                  <a:cubicBezTo>
                    <a:pt x="39" y="125"/>
                    <a:pt x="24" y="138"/>
                    <a:pt x="24" y="161"/>
                  </a:cubicBezTo>
                  <a:cubicBezTo>
                    <a:pt x="24" y="186"/>
                    <a:pt x="41" y="203"/>
                    <a:pt x="82" y="203"/>
                  </a:cubicBezTo>
                  <a:lnTo>
                    <a:pt x="159" y="203"/>
                  </a:lnTo>
                  <a:lnTo>
                    <a:pt x="159" y="227"/>
                  </a:lnTo>
                  <a:lnTo>
                    <a:pt x="5" y="2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29" name="Freeform 55">
              <a:extLst>
                <a:ext uri="{FF2B5EF4-FFF2-40B4-BE49-F238E27FC236}">
                  <a16:creationId xmlns:a16="http://schemas.microsoft.com/office/drawing/2014/main" id="{7FBA440F-C0DF-69CC-2B52-10A2DCFB95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5039" y="6209544"/>
              <a:ext cx="160338" cy="158750"/>
            </a:xfrm>
            <a:custGeom>
              <a:avLst/>
              <a:gdLst>
                <a:gd name="T0" fmla="*/ 82 w 164"/>
                <a:gd name="T1" fmla="*/ 141 h 166"/>
                <a:gd name="T2" fmla="*/ 82 w 164"/>
                <a:gd name="T3" fmla="*/ 141 h 166"/>
                <a:gd name="T4" fmla="*/ 140 w 164"/>
                <a:gd name="T5" fmla="*/ 83 h 166"/>
                <a:gd name="T6" fmla="*/ 82 w 164"/>
                <a:gd name="T7" fmla="*/ 25 h 166"/>
                <a:gd name="T8" fmla="*/ 24 w 164"/>
                <a:gd name="T9" fmla="*/ 83 h 166"/>
                <a:gd name="T10" fmla="*/ 82 w 164"/>
                <a:gd name="T11" fmla="*/ 141 h 166"/>
                <a:gd name="T12" fmla="*/ 82 w 164"/>
                <a:gd name="T13" fmla="*/ 0 h 166"/>
                <a:gd name="T14" fmla="*/ 82 w 164"/>
                <a:gd name="T15" fmla="*/ 0 h 166"/>
                <a:gd name="T16" fmla="*/ 164 w 164"/>
                <a:gd name="T17" fmla="*/ 83 h 166"/>
                <a:gd name="T18" fmla="*/ 82 w 164"/>
                <a:gd name="T19" fmla="*/ 166 h 166"/>
                <a:gd name="T20" fmla="*/ 0 w 164"/>
                <a:gd name="T21" fmla="*/ 83 h 166"/>
                <a:gd name="T22" fmla="*/ 82 w 164"/>
                <a:gd name="T23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66">
                  <a:moveTo>
                    <a:pt x="82" y="141"/>
                  </a:moveTo>
                  <a:lnTo>
                    <a:pt x="82" y="141"/>
                  </a:lnTo>
                  <a:cubicBezTo>
                    <a:pt x="117" y="141"/>
                    <a:pt x="140" y="116"/>
                    <a:pt x="140" y="83"/>
                  </a:cubicBezTo>
                  <a:cubicBezTo>
                    <a:pt x="140" y="50"/>
                    <a:pt x="117" y="25"/>
                    <a:pt x="82" y="25"/>
                  </a:cubicBezTo>
                  <a:cubicBezTo>
                    <a:pt x="47" y="25"/>
                    <a:pt x="24" y="50"/>
                    <a:pt x="24" y="83"/>
                  </a:cubicBezTo>
                  <a:cubicBezTo>
                    <a:pt x="24" y="116"/>
                    <a:pt x="47" y="141"/>
                    <a:pt x="82" y="141"/>
                  </a:cubicBezTo>
                  <a:close/>
                  <a:moveTo>
                    <a:pt x="82" y="0"/>
                  </a:moveTo>
                  <a:lnTo>
                    <a:pt x="82" y="0"/>
                  </a:lnTo>
                  <a:cubicBezTo>
                    <a:pt x="130" y="0"/>
                    <a:pt x="164" y="35"/>
                    <a:pt x="164" y="83"/>
                  </a:cubicBezTo>
                  <a:cubicBezTo>
                    <a:pt x="164" y="131"/>
                    <a:pt x="130" y="166"/>
                    <a:pt x="82" y="166"/>
                  </a:cubicBezTo>
                  <a:cubicBezTo>
                    <a:pt x="34" y="166"/>
                    <a:pt x="0" y="131"/>
                    <a:pt x="0" y="83"/>
                  </a:cubicBezTo>
                  <a:cubicBezTo>
                    <a:pt x="0" y="35"/>
                    <a:pt x="34" y="0"/>
                    <a:pt x="8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30" name="Freeform 56">
              <a:extLst>
                <a:ext uri="{FF2B5EF4-FFF2-40B4-BE49-F238E27FC236}">
                  <a16:creationId xmlns:a16="http://schemas.microsoft.com/office/drawing/2014/main" id="{15378BEA-6CE1-6543-194E-1F5E36A80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79802" y="6061907"/>
              <a:ext cx="150813" cy="141288"/>
            </a:xfrm>
            <a:custGeom>
              <a:avLst/>
              <a:gdLst>
                <a:gd name="T0" fmla="*/ 0 w 154"/>
                <a:gd name="T1" fmla="*/ 0 h 148"/>
                <a:gd name="T2" fmla="*/ 0 w 154"/>
                <a:gd name="T3" fmla="*/ 0 h 148"/>
                <a:gd name="T4" fmla="*/ 154 w 154"/>
                <a:gd name="T5" fmla="*/ 63 h 148"/>
                <a:gd name="T6" fmla="*/ 154 w 154"/>
                <a:gd name="T7" fmla="*/ 86 h 148"/>
                <a:gd name="T8" fmla="*/ 0 w 154"/>
                <a:gd name="T9" fmla="*/ 148 h 148"/>
                <a:gd name="T10" fmla="*/ 0 w 154"/>
                <a:gd name="T11" fmla="*/ 120 h 148"/>
                <a:gd name="T12" fmla="*/ 125 w 154"/>
                <a:gd name="T13" fmla="*/ 74 h 148"/>
                <a:gd name="T14" fmla="*/ 0 w 154"/>
                <a:gd name="T15" fmla="*/ 28 h 148"/>
                <a:gd name="T16" fmla="*/ 0 w 154"/>
                <a:gd name="T17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4" h="148">
                  <a:moveTo>
                    <a:pt x="0" y="0"/>
                  </a:moveTo>
                  <a:lnTo>
                    <a:pt x="0" y="0"/>
                  </a:lnTo>
                  <a:lnTo>
                    <a:pt x="154" y="63"/>
                  </a:lnTo>
                  <a:lnTo>
                    <a:pt x="154" y="86"/>
                  </a:lnTo>
                  <a:lnTo>
                    <a:pt x="0" y="148"/>
                  </a:lnTo>
                  <a:lnTo>
                    <a:pt x="0" y="120"/>
                  </a:lnTo>
                  <a:lnTo>
                    <a:pt x="125" y="74"/>
                  </a:ln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31" name="Freeform 57">
              <a:extLst>
                <a:ext uri="{FF2B5EF4-FFF2-40B4-BE49-F238E27FC236}">
                  <a16:creationId xmlns:a16="http://schemas.microsoft.com/office/drawing/2014/main" id="{C962CA07-0724-B1EC-A33C-BFE80E6DAD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5039" y="5911094"/>
              <a:ext cx="160338" cy="146050"/>
            </a:xfrm>
            <a:custGeom>
              <a:avLst/>
              <a:gdLst>
                <a:gd name="T0" fmla="*/ 67 w 164"/>
                <a:gd name="T1" fmla="*/ 127 h 153"/>
                <a:gd name="T2" fmla="*/ 67 w 164"/>
                <a:gd name="T3" fmla="*/ 127 h 153"/>
                <a:gd name="T4" fmla="*/ 67 w 164"/>
                <a:gd name="T5" fmla="*/ 26 h 153"/>
                <a:gd name="T6" fmla="*/ 22 w 164"/>
                <a:gd name="T7" fmla="*/ 76 h 153"/>
                <a:gd name="T8" fmla="*/ 67 w 164"/>
                <a:gd name="T9" fmla="*/ 127 h 153"/>
                <a:gd name="T10" fmla="*/ 81 w 164"/>
                <a:gd name="T11" fmla="*/ 0 h 153"/>
                <a:gd name="T12" fmla="*/ 81 w 164"/>
                <a:gd name="T13" fmla="*/ 0 h 153"/>
                <a:gd name="T14" fmla="*/ 85 w 164"/>
                <a:gd name="T15" fmla="*/ 0 h 153"/>
                <a:gd name="T16" fmla="*/ 85 w 164"/>
                <a:gd name="T17" fmla="*/ 128 h 153"/>
                <a:gd name="T18" fmla="*/ 141 w 164"/>
                <a:gd name="T19" fmla="*/ 73 h 153"/>
                <a:gd name="T20" fmla="*/ 111 w 164"/>
                <a:gd name="T21" fmla="*/ 20 h 153"/>
                <a:gd name="T22" fmla="*/ 127 w 164"/>
                <a:gd name="T23" fmla="*/ 3 h 153"/>
                <a:gd name="T24" fmla="*/ 164 w 164"/>
                <a:gd name="T25" fmla="*/ 73 h 153"/>
                <a:gd name="T26" fmla="*/ 82 w 164"/>
                <a:gd name="T27" fmla="*/ 153 h 153"/>
                <a:gd name="T28" fmla="*/ 0 w 164"/>
                <a:gd name="T29" fmla="*/ 74 h 153"/>
                <a:gd name="T30" fmla="*/ 81 w 164"/>
                <a:gd name="T31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4" h="153">
                  <a:moveTo>
                    <a:pt x="67" y="127"/>
                  </a:moveTo>
                  <a:lnTo>
                    <a:pt x="67" y="127"/>
                  </a:lnTo>
                  <a:lnTo>
                    <a:pt x="67" y="26"/>
                  </a:lnTo>
                  <a:cubicBezTo>
                    <a:pt x="39" y="29"/>
                    <a:pt x="22" y="46"/>
                    <a:pt x="22" y="76"/>
                  </a:cubicBezTo>
                  <a:cubicBezTo>
                    <a:pt x="22" y="102"/>
                    <a:pt x="38" y="124"/>
                    <a:pt x="67" y="127"/>
                  </a:cubicBezTo>
                  <a:close/>
                  <a:moveTo>
                    <a:pt x="81" y="0"/>
                  </a:moveTo>
                  <a:lnTo>
                    <a:pt x="81" y="0"/>
                  </a:lnTo>
                  <a:lnTo>
                    <a:pt x="85" y="0"/>
                  </a:lnTo>
                  <a:lnTo>
                    <a:pt x="85" y="128"/>
                  </a:lnTo>
                  <a:cubicBezTo>
                    <a:pt x="119" y="128"/>
                    <a:pt x="141" y="105"/>
                    <a:pt x="141" y="73"/>
                  </a:cubicBezTo>
                  <a:cubicBezTo>
                    <a:pt x="141" y="44"/>
                    <a:pt x="124" y="30"/>
                    <a:pt x="111" y="20"/>
                  </a:cubicBezTo>
                  <a:lnTo>
                    <a:pt x="127" y="3"/>
                  </a:lnTo>
                  <a:cubicBezTo>
                    <a:pt x="143" y="14"/>
                    <a:pt x="164" y="34"/>
                    <a:pt x="164" y="73"/>
                  </a:cubicBezTo>
                  <a:cubicBezTo>
                    <a:pt x="164" y="121"/>
                    <a:pt x="131" y="153"/>
                    <a:pt x="82" y="153"/>
                  </a:cubicBezTo>
                  <a:cubicBezTo>
                    <a:pt x="33" y="153"/>
                    <a:pt x="0" y="121"/>
                    <a:pt x="0" y="74"/>
                  </a:cubicBezTo>
                  <a:cubicBezTo>
                    <a:pt x="0" y="24"/>
                    <a:pt x="35" y="0"/>
                    <a:pt x="8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  <p:sp>
          <p:nvSpPr>
            <p:cNvPr id="32" name="Freeform 58">
              <a:extLst>
                <a:ext uri="{FF2B5EF4-FFF2-40B4-BE49-F238E27FC236}">
                  <a16:creationId xmlns:a16="http://schemas.microsoft.com/office/drawing/2014/main" id="{A7C0B446-8423-161C-D02B-C5BDFC932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86164" y="5850769"/>
              <a:ext cx="44450" cy="42863"/>
            </a:xfrm>
            <a:custGeom>
              <a:avLst/>
              <a:gdLst>
                <a:gd name="T0" fmla="*/ 45 w 45"/>
                <a:gd name="T1" fmla="*/ 21 h 44"/>
                <a:gd name="T2" fmla="*/ 45 w 45"/>
                <a:gd name="T3" fmla="*/ 21 h 44"/>
                <a:gd name="T4" fmla="*/ 45 w 45"/>
                <a:gd name="T5" fmla="*/ 21 h 44"/>
                <a:gd name="T6" fmla="*/ 22 w 45"/>
                <a:gd name="T7" fmla="*/ 44 h 44"/>
                <a:gd name="T8" fmla="*/ 22 w 45"/>
                <a:gd name="T9" fmla="*/ 44 h 44"/>
                <a:gd name="T10" fmla="*/ 0 w 45"/>
                <a:gd name="T11" fmla="*/ 21 h 44"/>
                <a:gd name="T12" fmla="*/ 22 w 45"/>
                <a:gd name="T13" fmla="*/ 0 h 44"/>
                <a:gd name="T14" fmla="*/ 22 w 45"/>
                <a:gd name="T15" fmla="*/ 0 h 44"/>
                <a:gd name="T16" fmla="*/ 45 w 45"/>
                <a:gd name="T17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4">
                  <a:moveTo>
                    <a:pt x="45" y="21"/>
                  </a:moveTo>
                  <a:lnTo>
                    <a:pt x="45" y="21"/>
                  </a:lnTo>
                  <a:lnTo>
                    <a:pt x="45" y="21"/>
                  </a:lnTo>
                  <a:cubicBezTo>
                    <a:pt x="45" y="34"/>
                    <a:pt x="35" y="44"/>
                    <a:pt x="22" y="44"/>
                  </a:cubicBezTo>
                  <a:lnTo>
                    <a:pt x="22" y="44"/>
                  </a:lnTo>
                  <a:cubicBezTo>
                    <a:pt x="10" y="44"/>
                    <a:pt x="0" y="34"/>
                    <a:pt x="0" y="21"/>
                  </a:cubicBezTo>
                  <a:cubicBezTo>
                    <a:pt x="0" y="9"/>
                    <a:pt x="10" y="0"/>
                    <a:pt x="22" y="0"/>
                  </a:cubicBezTo>
                  <a:lnTo>
                    <a:pt x="22" y="0"/>
                  </a:lnTo>
                  <a:cubicBezTo>
                    <a:pt x="35" y="0"/>
                    <a:pt x="45" y="9"/>
                    <a:pt x="45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800"/>
            </a:p>
          </p:txBody>
        </p:sp>
      </p:grpSp>
      <p:sp>
        <p:nvSpPr>
          <p:cNvPr id="14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B25494A1-4ECA-C0D1-E4C1-8313B45FF464}"/>
              </a:ext>
            </a:extLst>
          </p:cNvPr>
          <p:cNvSpPr/>
          <p:nvPr/>
        </p:nvSpPr>
        <p:spPr>
          <a:xfrm>
            <a:off x="10458451" y="6273314"/>
            <a:ext cx="1639765" cy="4396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DCA105-D199-E8E0-22B2-821658D53147}"/>
              </a:ext>
            </a:extLst>
          </p:cNvPr>
          <p:cNvSpPr/>
          <p:nvPr/>
        </p:nvSpPr>
        <p:spPr>
          <a:xfrm>
            <a:off x="7481483" y="24790"/>
            <a:ext cx="4702146" cy="6913967"/>
          </a:xfrm>
          <a:prstGeom prst="rect">
            <a:avLst/>
          </a:prstGeom>
          <a:solidFill>
            <a:srgbClr val="01B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NL" sz="1800"/>
          </a:p>
        </p:txBody>
      </p:sp>
      <p:sp>
        <p:nvSpPr>
          <p:cNvPr id="15" name="TextBox 24">
            <a:extLst>
              <a:ext uri="{FF2B5EF4-FFF2-40B4-BE49-F238E27FC236}">
                <a16:creationId xmlns:a16="http://schemas.microsoft.com/office/drawing/2014/main" id="{C1D30D3C-DA8D-A589-4EF1-EA233A37DDCE}"/>
              </a:ext>
            </a:extLst>
          </p:cNvPr>
          <p:cNvSpPr txBox="1"/>
          <p:nvPr/>
        </p:nvSpPr>
        <p:spPr>
          <a:xfrm>
            <a:off x="8171859" y="2581276"/>
            <a:ext cx="3498096" cy="380104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nl-B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3538">
              <a:spcBef>
                <a:spcPts val="1200"/>
              </a:spcBef>
              <a:spcAft>
                <a:spcPts val="1000"/>
              </a:spcAft>
              <a:defRPr/>
            </a:pPr>
            <a:r>
              <a:rPr lang="en-US" sz="2400" b="1" dirty="0">
                <a:solidFill>
                  <a:schemeClr val="accent2"/>
                </a:solidFill>
                <a:sym typeface="Verdana"/>
              </a:rPr>
              <a:t>We make returns easy</a:t>
            </a:r>
            <a:endParaRPr lang="en-US" sz="2400" b="1" dirty="0">
              <a:solidFill>
                <a:schemeClr val="accent2"/>
              </a:solidFill>
              <a:cs typeface="Segoe UI Light"/>
            </a:endParaRPr>
          </a:p>
          <a:p>
            <a:pPr algn="ctr" defTabSz="873538">
              <a:spcBef>
                <a:spcPts val="1200"/>
              </a:spcBef>
              <a:spcAft>
                <a:spcPts val="1000"/>
              </a:spcAft>
              <a:defRPr/>
            </a:pPr>
            <a:r>
              <a:rPr lang="en-US" b="1" dirty="0">
                <a:solidFill>
                  <a:schemeClr val="accent2"/>
                </a:solidFill>
              </a:rPr>
              <a:t>We help our clients to</a:t>
            </a:r>
            <a:endParaRPr lang="en-US" b="1" dirty="0">
              <a:solidFill>
                <a:schemeClr val="accent2"/>
              </a:solidFill>
              <a:cs typeface="Segoe UI Light"/>
            </a:endParaRPr>
          </a:p>
          <a:p>
            <a:pPr algn="ctr" defTabSz="873538">
              <a:defRPr/>
            </a:pPr>
            <a:endParaRPr lang="en-US" dirty="0">
              <a:solidFill>
                <a:schemeClr val="accent2"/>
              </a:solidFill>
              <a:cs typeface="Segoe UI Light"/>
            </a:endParaRPr>
          </a:p>
          <a:p>
            <a:pPr marL="285750" indent="-285750" algn="ctr" defTabSz="873538">
              <a:buFont typeface="Wingdings" panose="05000000000000000000" pitchFamily="2" charset="2"/>
              <a:buChar char="ü"/>
              <a:defRPr/>
            </a:pPr>
            <a:r>
              <a:rPr lang="en-US" b="1" dirty="0">
                <a:solidFill>
                  <a:schemeClr val="accent2"/>
                </a:solidFill>
              </a:rPr>
              <a:t>reduce costs</a:t>
            </a:r>
          </a:p>
          <a:p>
            <a:pPr algn="ctr" defTabSz="873538">
              <a:defRPr/>
            </a:pPr>
            <a:endParaRPr lang="en-US" b="1" dirty="0">
              <a:solidFill>
                <a:schemeClr val="accent2"/>
              </a:solidFill>
              <a:cs typeface="Segoe UI Light"/>
            </a:endParaRPr>
          </a:p>
          <a:p>
            <a:pPr marL="285750" indent="-285750" algn="ctr" defTabSz="873538">
              <a:buFont typeface="Wingdings" panose="05000000000000000000" pitchFamily="2" charset="2"/>
              <a:buChar char="ü"/>
              <a:defRPr/>
            </a:pPr>
            <a:r>
              <a:rPr lang="en-US" b="1" dirty="0">
                <a:solidFill>
                  <a:schemeClr val="accent2"/>
                </a:solidFill>
              </a:rPr>
              <a:t>improve efficiency</a:t>
            </a:r>
            <a:endParaRPr lang="en-US" b="1" dirty="0">
              <a:solidFill>
                <a:schemeClr val="accent2"/>
              </a:solidFill>
              <a:cs typeface="Segoe UI Light"/>
            </a:endParaRPr>
          </a:p>
          <a:p>
            <a:pPr marL="285750" indent="-285750" algn="ctr" defTabSz="873538">
              <a:buFont typeface="Wingdings" panose="05000000000000000000" pitchFamily="2" charset="2"/>
              <a:buChar char="ü"/>
              <a:defRPr/>
            </a:pPr>
            <a:endParaRPr lang="en-US" b="1" dirty="0">
              <a:solidFill>
                <a:schemeClr val="accent2"/>
              </a:solidFill>
              <a:cs typeface="Segoe UI Light"/>
            </a:endParaRPr>
          </a:p>
          <a:p>
            <a:pPr marL="285750" indent="-285750" algn="ctr" defTabSz="873538">
              <a:buFont typeface="Wingdings" panose="05000000000000000000" pitchFamily="2" charset="2"/>
              <a:buChar char="ü"/>
              <a:defRPr/>
            </a:pPr>
            <a:r>
              <a:rPr lang="en-US" b="1" dirty="0">
                <a:solidFill>
                  <a:schemeClr val="accent2"/>
                </a:solidFill>
              </a:rPr>
              <a:t>enhance the experience</a:t>
            </a:r>
            <a:endParaRPr lang="en-US" b="1" dirty="0">
              <a:solidFill>
                <a:schemeClr val="accent2"/>
              </a:solidFill>
              <a:cs typeface="Segoe UI Light"/>
            </a:endParaRPr>
          </a:p>
          <a:p>
            <a:pPr algn="ctr" defTabSz="873538">
              <a:spcBef>
                <a:spcPts val="1200"/>
              </a:spcBef>
              <a:spcAft>
                <a:spcPts val="1000"/>
              </a:spcAft>
              <a:defRPr/>
            </a:pPr>
            <a:endParaRPr lang="en-US" b="1" dirty="0">
              <a:solidFill>
                <a:schemeClr val="accent2"/>
              </a:solidFill>
              <a:cs typeface="Segoe UI Light"/>
            </a:endParaRPr>
          </a:p>
          <a:p>
            <a:pPr algn="ctr" defTabSz="873538">
              <a:spcBef>
                <a:spcPts val="1200"/>
              </a:spcBef>
              <a:spcAft>
                <a:spcPts val="1000"/>
              </a:spcAft>
              <a:defRPr/>
            </a:pPr>
            <a:endParaRPr lang="en-US" b="1" dirty="0">
              <a:solidFill>
                <a:schemeClr val="accent2"/>
              </a:solidFill>
              <a:cs typeface="Segoe UI Light"/>
            </a:endParaRPr>
          </a:p>
        </p:txBody>
      </p:sp>
      <p:pic>
        <p:nvPicPr>
          <p:cNvPr id="16" name="Espace réservé du contenu 10" descr="Une image contenant cœur, symbole&#10;&#10;Description générée automatiquement">
            <a:extLst>
              <a:ext uri="{FF2B5EF4-FFF2-40B4-BE49-F238E27FC236}">
                <a16:creationId xmlns:a16="http://schemas.microsoft.com/office/drawing/2014/main" id="{A2164D7C-3E32-FB3B-4533-009C7866591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491" t="13954" r="25081" b="14609"/>
          <a:stretch/>
        </p:blipFill>
        <p:spPr>
          <a:xfrm>
            <a:off x="9199206" y="631907"/>
            <a:ext cx="1454360" cy="16873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8761810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D5FEAF0-1309-9E2B-9F81-184BF2514D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1744" y="1544003"/>
            <a:ext cx="6620256" cy="737957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nl-BE" sz="2800" dirty="0"/>
              <a:t>International </a:t>
            </a:r>
            <a:r>
              <a:rPr lang="nl-BE" sz="2800" dirty="0" err="1"/>
              <a:t>insights</a:t>
            </a:r>
            <a:r>
              <a:rPr lang="nl-BE" sz="2800" dirty="0"/>
              <a:t> &amp; </a:t>
            </a:r>
            <a:r>
              <a:rPr lang="nl-BE" sz="2800" dirty="0" err="1"/>
              <a:t>challenges</a:t>
            </a:r>
            <a:endParaRPr lang="nl-BE" sz="2800" dirty="0"/>
          </a:p>
          <a:p>
            <a:pPr>
              <a:lnSpc>
                <a:spcPct val="200000"/>
              </a:lnSpc>
            </a:pPr>
            <a:r>
              <a:rPr lang="nl-BE" sz="2800" b="1" dirty="0" err="1"/>
              <a:t>Belgian</a:t>
            </a:r>
            <a:r>
              <a:rPr lang="nl-BE" sz="2800" b="1" dirty="0"/>
              <a:t> </a:t>
            </a:r>
            <a:r>
              <a:rPr lang="nl-BE" sz="2800" b="1" dirty="0" err="1"/>
              <a:t>insights</a:t>
            </a:r>
            <a:endParaRPr lang="fr-BE" sz="2800" b="1" dirty="0"/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fr-BE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16D16A8-C595-455E-4A07-3FFF75A1B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16573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D5FEAF0-1309-9E2B-9F81-184BF2514D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1744" y="1544003"/>
            <a:ext cx="6620256" cy="737957"/>
          </a:xfrm>
        </p:spPr>
        <p:txBody>
          <a:bodyPr vert="horz" lIns="0" tIns="0" rIns="0" bIns="0" rtlCol="0" anchor="t">
            <a:noAutofit/>
          </a:bodyPr>
          <a:lstStyle/>
          <a:p>
            <a:pPr marL="753745" indent="-753745">
              <a:lnSpc>
                <a:spcPct val="200000"/>
              </a:lnSpc>
            </a:pPr>
            <a:r>
              <a:rPr lang="nl-BE" sz="2800" dirty="0"/>
              <a:t>International </a:t>
            </a:r>
            <a:r>
              <a:rPr lang="nl-BE" sz="2800" dirty="0" err="1"/>
              <a:t>insights</a:t>
            </a:r>
            <a:r>
              <a:rPr lang="nl-BE" sz="2800" dirty="0"/>
              <a:t> &amp; </a:t>
            </a:r>
            <a:r>
              <a:rPr lang="nl-BE" sz="2800" dirty="0" err="1"/>
              <a:t>challenges</a:t>
            </a:r>
            <a:endParaRPr lang="nl-BE" sz="2800" dirty="0">
              <a:cs typeface="Segoe UI Light"/>
            </a:endParaRPr>
          </a:p>
          <a:p>
            <a:pPr marL="753745" indent="-753745">
              <a:lnSpc>
                <a:spcPct val="200000"/>
              </a:lnSpc>
            </a:pPr>
            <a:r>
              <a:rPr lang="nl-BE" sz="2800" dirty="0" err="1"/>
              <a:t>Belgian</a:t>
            </a:r>
            <a:r>
              <a:rPr lang="nl-BE" sz="2800" dirty="0"/>
              <a:t> </a:t>
            </a:r>
            <a:r>
              <a:rPr lang="nl-BE" sz="2800" dirty="0" err="1"/>
              <a:t>insights</a:t>
            </a:r>
            <a:endParaRPr lang="fr-BE" sz="2800" dirty="0">
              <a:cs typeface="Segoe UI Light"/>
            </a:endParaRPr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fr-BE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16D16A8-C595-455E-4A07-3FFF75A1B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4334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3AEDE4-A58F-7872-F881-0076BEE92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4465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Graphique 19">
            <a:extLst>
              <a:ext uri="{FF2B5EF4-FFF2-40B4-BE49-F238E27FC236}">
                <a16:creationId xmlns:a16="http://schemas.microsoft.com/office/drawing/2014/main" id="{E2B39D15-C37E-2413-CDF3-8EA66A5B05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8344039"/>
              </p:ext>
            </p:extLst>
          </p:nvPr>
        </p:nvGraphicFramePr>
        <p:xfrm>
          <a:off x="5424346" y="277611"/>
          <a:ext cx="2861696" cy="2042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59C33CD3-6CB8-FA3E-0B06-9E9442B38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Return </a:t>
            </a:r>
            <a:r>
              <a:rPr lang="nl-BE" dirty="0" err="1"/>
              <a:t>rates</a:t>
            </a:r>
            <a:r>
              <a:rPr lang="nl-BE" dirty="0"/>
              <a:t> in Belgium</a:t>
            </a:r>
            <a:endParaRPr lang="fr-BE" dirty="0"/>
          </a:p>
        </p:txBody>
      </p:sp>
      <p:pic>
        <p:nvPicPr>
          <p:cNvPr id="17" name="Espace réservé du contenu 16" descr="Une image contenant boomerang, outil&#10;&#10;Description générée automatiquement">
            <a:extLst>
              <a:ext uri="{FF2B5EF4-FFF2-40B4-BE49-F238E27FC236}">
                <a16:creationId xmlns:a16="http://schemas.microsoft.com/office/drawing/2014/main" id="{A7678964-6526-29B9-976F-B820F37D348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19" y="1800225"/>
            <a:ext cx="4518025" cy="4518025"/>
          </a:xfrm>
        </p:spPr>
      </p:pic>
      <p:sp>
        <p:nvSpPr>
          <p:cNvPr id="19" name="TextBox 28">
            <a:extLst>
              <a:ext uri="{FF2B5EF4-FFF2-40B4-BE49-F238E27FC236}">
                <a16:creationId xmlns:a16="http://schemas.microsoft.com/office/drawing/2014/main" id="{BCDF8203-CE2B-5561-C756-279F8602C52A}"/>
              </a:ext>
            </a:extLst>
          </p:cNvPr>
          <p:cNvSpPr txBox="1"/>
          <p:nvPr/>
        </p:nvSpPr>
        <p:spPr>
          <a:xfrm>
            <a:off x="6427926" y="1022802"/>
            <a:ext cx="84638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BE" sz="3600" b="1" dirty="0">
                <a:solidFill>
                  <a:schemeClr val="tx2"/>
                </a:solidFill>
              </a:rPr>
              <a:t>48%</a:t>
            </a:r>
            <a:endParaRPr lang="en-US" sz="3600" b="1" dirty="0" err="1">
              <a:solidFill>
                <a:schemeClr val="tx2"/>
              </a:solidFill>
            </a:endParaRPr>
          </a:p>
        </p:txBody>
      </p:sp>
      <p:graphicFrame>
        <p:nvGraphicFramePr>
          <p:cNvPr id="21" name="Graphique 20">
            <a:extLst>
              <a:ext uri="{FF2B5EF4-FFF2-40B4-BE49-F238E27FC236}">
                <a16:creationId xmlns:a16="http://schemas.microsoft.com/office/drawing/2014/main" id="{A014533E-0C3C-8A57-6652-9586A145E5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4996596"/>
              </p:ext>
            </p:extLst>
          </p:nvPr>
        </p:nvGraphicFramePr>
        <p:xfrm>
          <a:off x="5332783" y="2498439"/>
          <a:ext cx="3043569" cy="2042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TextBox 28">
            <a:extLst>
              <a:ext uri="{FF2B5EF4-FFF2-40B4-BE49-F238E27FC236}">
                <a16:creationId xmlns:a16="http://schemas.microsoft.com/office/drawing/2014/main" id="{1313C09F-A315-1DD5-790C-14FAA6D82556}"/>
              </a:ext>
            </a:extLst>
          </p:cNvPr>
          <p:cNvSpPr txBox="1"/>
          <p:nvPr/>
        </p:nvSpPr>
        <p:spPr>
          <a:xfrm>
            <a:off x="6310911" y="3241368"/>
            <a:ext cx="1114088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BE" sz="3600" b="1" dirty="0">
                <a:solidFill>
                  <a:schemeClr val="tx2"/>
                </a:solidFill>
              </a:rPr>
              <a:t>14,6%</a:t>
            </a:r>
            <a:endParaRPr lang="en-US" sz="3600" b="1" dirty="0" err="1">
              <a:solidFill>
                <a:schemeClr val="tx2"/>
              </a:solidFill>
            </a:endParaRPr>
          </a:p>
        </p:txBody>
      </p:sp>
      <p:graphicFrame>
        <p:nvGraphicFramePr>
          <p:cNvPr id="23" name="Graphique 22">
            <a:extLst>
              <a:ext uri="{FF2B5EF4-FFF2-40B4-BE49-F238E27FC236}">
                <a16:creationId xmlns:a16="http://schemas.microsoft.com/office/drawing/2014/main" id="{AE05EAAA-6539-DCEF-113C-48E7EE5BCE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9139356"/>
              </p:ext>
            </p:extLst>
          </p:nvPr>
        </p:nvGraphicFramePr>
        <p:xfrm>
          <a:off x="4979813" y="4538295"/>
          <a:ext cx="3396539" cy="1915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TextBox 28">
            <a:extLst>
              <a:ext uri="{FF2B5EF4-FFF2-40B4-BE49-F238E27FC236}">
                <a16:creationId xmlns:a16="http://schemas.microsoft.com/office/drawing/2014/main" id="{F811A1E0-237A-A040-8852-80469E986988}"/>
              </a:ext>
            </a:extLst>
          </p:cNvPr>
          <p:cNvSpPr txBox="1"/>
          <p:nvPr/>
        </p:nvSpPr>
        <p:spPr>
          <a:xfrm>
            <a:off x="6434338" y="5313440"/>
            <a:ext cx="83997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BE" sz="3600" b="1" dirty="0">
                <a:solidFill>
                  <a:schemeClr val="tx2"/>
                </a:solidFill>
              </a:rPr>
              <a:t>28%</a:t>
            </a:r>
            <a:endParaRPr lang="en-US" sz="3600" b="1" dirty="0" err="1">
              <a:solidFill>
                <a:schemeClr val="tx2"/>
              </a:solidFill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7247048D-13E2-7AF5-6065-77121B7F7199}"/>
              </a:ext>
            </a:extLst>
          </p:cNvPr>
          <p:cNvSpPr txBox="1"/>
          <p:nvPr/>
        </p:nvSpPr>
        <p:spPr>
          <a:xfrm>
            <a:off x="7811911" y="878347"/>
            <a:ext cx="393982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BE" sz="2800" dirty="0">
                <a:solidFill>
                  <a:schemeClr val="accent2"/>
                </a:solidFill>
              </a:rPr>
              <a:t>of </a:t>
            </a:r>
            <a:r>
              <a:rPr lang="fr-BE" sz="2800" dirty="0" err="1">
                <a:solidFill>
                  <a:schemeClr val="accent2"/>
                </a:solidFill>
              </a:rPr>
              <a:t>Belgians</a:t>
            </a:r>
            <a:r>
              <a:rPr lang="fr-BE" sz="2800" dirty="0">
                <a:solidFill>
                  <a:schemeClr val="accent2"/>
                </a:solidFill>
              </a:rPr>
              <a:t> </a:t>
            </a:r>
            <a:r>
              <a:rPr lang="fr-BE" sz="2800" dirty="0" err="1">
                <a:solidFill>
                  <a:schemeClr val="accent2"/>
                </a:solidFill>
              </a:rPr>
              <a:t>returned</a:t>
            </a:r>
            <a:r>
              <a:rPr lang="fr-BE" sz="2800" dirty="0">
                <a:solidFill>
                  <a:schemeClr val="accent2"/>
                </a:solidFill>
              </a:rPr>
              <a:t> one or more </a:t>
            </a:r>
            <a:r>
              <a:rPr lang="fr-BE" sz="2800" dirty="0" err="1">
                <a:solidFill>
                  <a:schemeClr val="accent2"/>
                </a:solidFill>
              </a:rPr>
              <a:t>purchases</a:t>
            </a:r>
            <a:r>
              <a:rPr lang="fr-BE" sz="2800" dirty="0">
                <a:solidFill>
                  <a:schemeClr val="accent2"/>
                </a:solidFill>
              </a:rPr>
              <a:t> over the </a:t>
            </a:r>
            <a:r>
              <a:rPr lang="fr-BE" sz="2800" dirty="0" err="1">
                <a:solidFill>
                  <a:schemeClr val="accent2"/>
                </a:solidFill>
              </a:rPr>
              <a:t>year</a:t>
            </a:r>
            <a:endParaRPr lang="fr-BE" sz="2800" dirty="0">
              <a:solidFill>
                <a:schemeClr val="accent2"/>
              </a:solidFill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247F801F-F22B-038B-6D82-B77DC9874A3E}"/>
              </a:ext>
            </a:extLst>
          </p:cNvPr>
          <p:cNvSpPr txBox="1"/>
          <p:nvPr/>
        </p:nvSpPr>
        <p:spPr>
          <a:xfrm>
            <a:off x="7811911" y="2966501"/>
            <a:ext cx="3939822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chemeClr val="accent2"/>
                </a:solidFill>
              </a:rPr>
              <a:t>of parcels are returned or planned to be returned</a:t>
            </a:r>
            <a:endParaRPr lang="fr-BE" sz="2800" dirty="0">
              <a:solidFill>
                <a:schemeClr val="accent2"/>
              </a:solidFill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53FB69D3-8CE2-6EB8-122E-6DDEF86E14F4}"/>
              </a:ext>
            </a:extLst>
          </p:cNvPr>
          <p:cNvSpPr txBox="1"/>
          <p:nvPr/>
        </p:nvSpPr>
        <p:spPr>
          <a:xfrm>
            <a:off x="7811911" y="5128774"/>
            <a:ext cx="393982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chemeClr val="accent2"/>
                </a:solidFill>
              </a:rPr>
              <a:t>for shoes</a:t>
            </a:r>
            <a:endParaRPr lang="fr-BE" sz="2800" dirty="0">
              <a:solidFill>
                <a:schemeClr val="accent2"/>
              </a:solidFill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0481033A-85FC-A065-1742-929293D0394D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BE" sz="1200" i="1" dirty="0">
                <a:solidFill>
                  <a:schemeClr val="accent2"/>
                </a:solidFill>
              </a:rPr>
              <a:t>Source : IPC / Online tracker </a:t>
            </a:r>
            <a:r>
              <a:rPr lang="fr-BE" sz="1200" i="1" dirty="0" err="1">
                <a:solidFill>
                  <a:schemeClr val="accent2"/>
                </a:solidFill>
              </a:rPr>
              <a:t>bpost</a:t>
            </a:r>
            <a:r>
              <a:rPr lang="fr-BE" sz="1200" i="1" dirty="0">
                <a:solidFill>
                  <a:schemeClr val="accent2"/>
                </a:solidFill>
              </a:rPr>
              <a:t> full </a:t>
            </a:r>
            <a:r>
              <a:rPr lang="fr-BE" sz="1200" i="1" dirty="0" err="1">
                <a:solidFill>
                  <a:schemeClr val="accent2"/>
                </a:solidFill>
              </a:rPr>
              <a:t>year</a:t>
            </a:r>
            <a:r>
              <a:rPr lang="fr-BE" sz="1200" i="1" dirty="0">
                <a:solidFill>
                  <a:schemeClr val="accent2"/>
                </a:solidFill>
              </a:rPr>
              <a:t> 2022 / Online tracker </a:t>
            </a:r>
            <a:r>
              <a:rPr lang="fr-BE" sz="1200" i="1" dirty="0" err="1">
                <a:solidFill>
                  <a:schemeClr val="accent2"/>
                </a:solidFill>
              </a:rPr>
              <a:t>bpost</a:t>
            </a:r>
            <a:r>
              <a:rPr lang="fr-BE" sz="1200" i="1" dirty="0">
                <a:solidFill>
                  <a:schemeClr val="accent2"/>
                </a:solidFill>
              </a:rPr>
              <a:t> Q2 2023, YTD</a:t>
            </a:r>
          </a:p>
        </p:txBody>
      </p:sp>
    </p:spTree>
    <p:extLst>
      <p:ext uri="{BB962C8B-B14F-4D97-AF65-F5344CB8AC3E}">
        <p14:creationId xmlns:p14="http://schemas.microsoft.com/office/powerpoint/2010/main" val="1900332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2" grpId="0"/>
      <p:bldP spid="24" grpId="0"/>
      <p:bldP spid="26" grpId="0"/>
      <p:bldP spid="27" grpId="0"/>
      <p:bldP spid="2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Espace réservé du contenu 16" descr="Une image contenant boomerang, outil&#10;&#10;Description générée automatiquement">
            <a:extLst>
              <a:ext uri="{FF2B5EF4-FFF2-40B4-BE49-F238E27FC236}">
                <a16:creationId xmlns:a16="http://schemas.microsoft.com/office/drawing/2014/main" id="{A7678964-6526-29B9-976F-B820F37D348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165182">
            <a:off x="7407052" y="-185532"/>
            <a:ext cx="4518025" cy="4518025"/>
          </a:xfr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59C33CD3-6CB8-FA3E-0B06-9E9442B38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Return </a:t>
            </a:r>
            <a:r>
              <a:rPr lang="nl-BE" dirty="0" err="1"/>
              <a:t>rates</a:t>
            </a:r>
            <a:r>
              <a:rPr lang="nl-BE" dirty="0"/>
              <a:t> in Belgium</a:t>
            </a:r>
            <a:br>
              <a:rPr lang="nl-BE" dirty="0"/>
            </a:br>
            <a:r>
              <a:rPr lang="en-BE" sz="2800" b="0" dirty="0"/>
              <a:t>by </a:t>
            </a:r>
            <a:r>
              <a:rPr lang="nl-BE" sz="2800" b="0" dirty="0"/>
              <a:t>product </a:t>
            </a:r>
            <a:r>
              <a:rPr lang="nl-BE" sz="2800" b="0" dirty="0" err="1"/>
              <a:t>categor</a:t>
            </a:r>
            <a:r>
              <a:rPr lang="en-BE" sz="2800" dirty="0"/>
              <a:t>y</a:t>
            </a:r>
            <a:endParaRPr lang="fr-BE" sz="2800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6FC7D475-C42E-818B-65D5-6240EDF35CB1}"/>
              </a:ext>
            </a:extLst>
          </p:cNvPr>
          <p:cNvSpPr txBox="1">
            <a:spLocks/>
          </p:cNvSpPr>
          <p:nvPr/>
        </p:nvSpPr>
        <p:spPr>
          <a:xfrm>
            <a:off x="539998" y="1799999"/>
            <a:ext cx="11112002" cy="4518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Tx/>
              <a:buNone/>
              <a:defRPr/>
            </a:pPr>
            <a:r>
              <a:rPr lang="nl-BE" dirty="0" err="1"/>
              <a:t>Returning</a:t>
            </a:r>
            <a:r>
              <a:rPr lang="nl-BE" dirty="0"/>
              <a:t> </a:t>
            </a:r>
            <a:r>
              <a:rPr lang="nl-BE" dirty="0" err="1"/>
              <a:t>by</a:t>
            </a:r>
            <a:r>
              <a:rPr lang="nl-BE" dirty="0"/>
              <a:t> product </a:t>
            </a:r>
            <a:r>
              <a:rPr lang="nl-BE" dirty="0" err="1"/>
              <a:t>category</a:t>
            </a:r>
            <a:r>
              <a:rPr lang="nl-BE" dirty="0"/>
              <a:t> (</a:t>
            </a:r>
            <a:r>
              <a:rPr lang="en-BE" dirty="0"/>
              <a:t>YTD</a:t>
            </a:r>
            <a:r>
              <a:rPr lang="nl-BE" dirty="0"/>
              <a:t> 202</a:t>
            </a:r>
            <a:r>
              <a:rPr lang="en-BE" dirty="0"/>
              <a:t>3</a:t>
            </a:r>
            <a:r>
              <a:rPr lang="nl-BE" dirty="0"/>
              <a:t>)</a:t>
            </a:r>
            <a:r>
              <a:rPr lang="en-BE" dirty="0"/>
              <a:t> </a:t>
            </a:r>
            <a:r>
              <a:rPr lang="en-BE" sz="900" dirty="0">
                <a:solidFill>
                  <a:srgbClr val="5A5A5F"/>
                </a:solidFill>
                <a:latin typeface="Segoe UI Light"/>
              </a:rPr>
              <a:t>(n=7704 parcels)</a:t>
            </a:r>
            <a:endParaRPr lang="nl-NL" sz="900" dirty="0">
              <a:solidFill>
                <a:srgbClr val="5A5A5F"/>
              </a:solidFill>
              <a:latin typeface="Segoe UI Light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l-BE" dirty="0"/>
          </a:p>
        </p:txBody>
      </p:sp>
      <p:graphicFrame>
        <p:nvGraphicFramePr>
          <p:cNvPr id="8" name="Chart 2">
            <a:extLst>
              <a:ext uri="{FF2B5EF4-FFF2-40B4-BE49-F238E27FC236}">
                <a16:creationId xmlns:a16="http://schemas.microsoft.com/office/drawing/2014/main" id="{35033386-7558-0522-3120-944646F482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0274597"/>
              </p:ext>
            </p:extLst>
          </p:nvPr>
        </p:nvGraphicFramePr>
        <p:xfrm>
          <a:off x="270933" y="1576800"/>
          <a:ext cx="12259734" cy="4853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9795611-1360-B9A1-DD6D-5EBD0D213F37}"/>
              </a:ext>
            </a:extLst>
          </p:cNvPr>
          <p:cNvSpPr txBox="1">
            <a:spLocks/>
          </p:cNvSpPr>
          <p:nvPr/>
        </p:nvSpPr>
        <p:spPr>
          <a:xfrm>
            <a:off x="11022947" y="3812330"/>
            <a:ext cx="10312400" cy="246669"/>
          </a:xfrm>
          <a:prstGeom prst="rect">
            <a:avLst/>
          </a:prstGeom>
        </p:spPr>
        <p:txBody>
          <a:bodyPr vert="horz" lIns="0" tIns="32139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952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9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ts val="107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9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ts val="107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9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07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933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107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sz="9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200" i="1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B5906BF-3D92-3612-F6FE-3A761102B2AE}"/>
              </a:ext>
            </a:extLst>
          </p:cNvPr>
          <p:cNvSpPr txBox="1"/>
          <p:nvPr/>
        </p:nvSpPr>
        <p:spPr>
          <a:xfrm>
            <a:off x="10855200" y="5127311"/>
            <a:ext cx="9096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BE" dirty="0" err="1"/>
              <a:t>total</a:t>
            </a:r>
            <a:r>
              <a:rPr lang="nl-BE" sz="2000" dirty="0">
                <a:solidFill>
                  <a:schemeClr val="tx2"/>
                </a:solidFill>
              </a:rPr>
              <a:t> </a:t>
            </a:r>
            <a:endParaRPr lang="fr-BE" sz="2000" dirty="0" err="1">
              <a:solidFill>
                <a:schemeClr val="tx2"/>
              </a:solidFill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149F408-BD34-687A-3268-1D3603B63E91}"/>
              </a:ext>
            </a:extLst>
          </p:cNvPr>
          <p:cNvSpPr txBox="1"/>
          <p:nvPr/>
        </p:nvSpPr>
        <p:spPr>
          <a:xfrm>
            <a:off x="63943" y="6594293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Source : Online tracker </a:t>
            </a:r>
            <a:r>
              <a:rPr kumimoji="0" lang="fr-BE" sz="1200" i="1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bpost</a:t>
            </a:r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 Q2 2023. </a:t>
            </a:r>
            <a:r>
              <a:rPr lang="en-GB" sz="1200" i="1" dirty="0">
                <a:solidFill>
                  <a:schemeClr val="accent2"/>
                </a:solidFill>
              </a:rPr>
              <a:t>Q: </a:t>
            </a:r>
            <a:r>
              <a:rPr lang="en-US" sz="1200" i="1" dirty="0">
                <a:solidFill>
                  <a:schemeClr val="accent2"/>
                </a:solidFill>
              </a:rPr>
              <a:t>Have you returned the product(s) ordered from the parcel or do you plan to do so?</a:t>
            </a:r>
            <a:endParaRPr lang="en-GB" sz="1200" i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862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A471EC4-3A18-D1CF-1D0B-2D9DEDA0F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What are the reasons for returns?</a:t>
            </a:r>
            <a:endParaRPr lang="fr-BE" dirty="0"/>
          </a:p>
        </p:txBody>
      </p:sp>
      <p:pic>
        <p:nvPicPr>
          <p:cNvPr id="7" name="Espace réservé du contenu 6" descr="Une image contenant habits, personne&#10;&#10;Description générée automatiquement">
            <a:extLst>
              <a:ext uri="{FF2B5EF4-FFF2-40B4-BE49-F238E27FC236}">
                <a16:creationId xmlns:a16="http://schemas.microsoft.com/office/drawing/2014/main" id="{3B9EE6F4-19C2-EEAD-F891-09D64029C0E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257" b="7257"/>
          <a:stretch/>
        </p:blipFill>
        <p:spPr>
          <a:noFill/>
        </p:spPr>
      </p:pic>
      <p:graphicFrame>
        <p:nvGraphicFramePr>
          <p:cNvPr id="3" name="Chart 15">
            <a:extLst>
              <a:ext uri="{FF2B5EF4-FFF2-40B4-BE49-F238E27FC236}">
                <a16:creationId xmlns:a16="http://schemas.microsoft.com/office/drawing/2014/main" id="{249D1524-8125-CD5E-7049-CB42212E4B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1309468"/>
              </p:ext>
            </p:extLst>
          </p:nvPr>
        </p:nvGraphicFramePr>
        <p:xfrm>
          <a:off x="-179154" y="2048137"/>
          <a:ext cx="8380532" cy="3667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ZoneTexte 7">
            <a:extLst>
              <a:ext uri="{FF2B5EF4-FFF2-40B4-BE49-F238E27FC236}">
                <a16:creationId xmlns:a16="http://schemas.microsoft.com/office/drawing/2014/main" id="{E5FF1CCB-2EAE-A01E-A188-0F54C0B2B034}"/>
              </a:ext>
            </a:extLst>
          </p:cNvPr>
          <p:cNvSpPr txBox="1"/>
          <p:nvPr/>
        </p:nvSpPr>
        <p:spPr>
          <a:xfrm>
            <a:off x="141379" y="6581001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Source : Online tracker </a:t>
            </a:r>
            <a:r>
              <a:rPr kumimoji="0" lang="fr-BE" sz="1200" i="1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bpost</a:t>
            </a:r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 Q2 2023. </a:t>
            </a:r>
            <a:r>
              <a:rPr lang="nl-BE" sz="1200" i="1" dirty="0" err="1">
                <a:solidFill>
                  <a:schemeClr val="accent2"/>
                </a:solidFill>
              </a:rPr>
              <a:t>Reasons</a:t>
            </a:r>
            <a:r>
              <a:rPr lang="nl-BE" sz="1200" i="1" dirty="0">
                <a:solidFill>
                  <a:schemeClr val="accent2"/>
                </a:solidFill>
              </a:rPr>
              <a:t> </a:t>
            </a:r>
            <a:r>
              <a:rPr lang="nl-BE" sz="1200" i="1" dirty="0" err="1">
                <a:solidFill>
                  <a:schemeClr val="accent2"/>
                </a:solidFill>
              </a:rPr>
              <a:t>for</a:t>
            </a:r>
            <a:r>
              <a:rPr lang="nl-BE" sz="1200" i="1" dirty="0">
                <a:solidFill>
                  <a:schemeClr val="accent2"/>
                </a:solidFill>
              </a:rPr>
              <a:t> </a:t>
            </a:r>
            <a:r>
              <a:rPr lang="nl-BE" sz="1200" i="1" dirty="0" err="1">
                <a:solidFill>
                  <a:schemeClr val="accent2"/>
                </a:solidFill>
              </a:rPr>
              <a:t>returning</a:t>
            </a:r>
            <a:r>
              <a:rPr lang="nl-BE" sz="1200" i="1" dirty="0">
                <a:solidFill>
                  <a:schemeClr val="accent2"/>
                </a:solidFill>
              </a:rPr>
              <a:t> a </a:t>
            </a:r>
            <a:r>
              <a:rPr lang="nl-BE" sz="1200" i="1" dirty="0" err="1">
                <a:solidFill>
                  <a:schemeClr val="accent2"/>
                </a:solidFill>
              </a:rPr>
              <a:t>parcel</a:t>
            </a:r>
            <a:r>
              <a:rPr lang="nl-BE" sz="1200" i="1" dirty="0">
                <a:solidFill>
                  <a:schemeClr val="accent2"/>
                </a:solidFill>
              </a:rPr>
              <a:t> in </a:t>
            </a:r>
            <a:r>
              <a:rPr lang="nl-BE" sz="1200" i="1" dirty="0" err="1">
                <a:solidFill>
                  <a:schemeClr val="accent2"/>
                </a:solidFill>
              </a:rPr>
              <a:t>general</a:t>
            </a:r>
            <a:r>
              <a:rPr lang="nl-BE" sz="1200" i="1" dirty="0">
                <a:solidFill>
                  <a:schemeClr val="accent2"/>
                </a:solidFill>
              </a:rPr>
              <a:t> (YTD 2023). </a:t>
            </a:r>
            <a:r>
              <a:rPr lang="en-BE" sz="1200" i="1" dirty="0">
                <a:solidFill>
                  <a:schemeClr val="accent2"/>
                </a:solidFill>
              </a:rPr>
              <a:t>(n=</a:t>
            </a:r>
            <a:r>
              <a:rPr kumimoji="0" lang="en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 7704</a:t>
            </a:r>
            <a:r>
              <a:rPr lang="en-BE" sz="1200" i="1" dirty="0">
                <a:solidFill>
                  <a:schemeClr val="accent2"/>
                </a:solidFill>
              </a:rPr>
              <a:t> parcels)</a:t>
            </a:r>
            <a:r>
              <a:rPr lang="nl-BE" sz="1200" i="1" dirty="0">
                <a:solidFill>
                  <a:schemeClr val="accent2"/>
                </a:solidFill>
              </a:rPr>
              <a:t>. </a:t>
            </a:r>
            <a:endParaRPr lang="en-GB" sz="1200" i="1" dirty="0">
              <a:solidFill>
                <a:schemeClr val="accent2"/>
              </a:solidFill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5EA41721-EB56-C4B6-2FC5-5015C682F1EE}"/>
              </a:ext>
            </a:extLst>
          </p:cNvPr>
          <p:cNvSpPr txBox="1"/>
          <p:nvPr/>
        </p:nvSpPr>
        <p:spPr>
          <a:xfrm>
            <a:off x="1422399" y="2193976"/>
            <a:ext cx="2314223" cy="338554"/>
          </a:xfrm>
          <a:prstGeom prst="rect">
            <a:avLst/>
          </a:prstGeom>
          <a:solidFill>
            <a:srgbClr val="E6E7E9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BE" sz="2200" b="1" dirty="0">
                <a:solidFill>
                  <a:schemeClr val="tx2"/>
                </a:solidFill>
              </a:rPr>
              <a:t>The </a:t>
            </a:r>
            <a:r>
              <a:rPr lang="nl-BE" sz="2200" b="1" dirty="0" err="1">
                <a:solidFill>
                  <a:schemeClr val="tx2"/>
                </a:solidFill>
              </a:rPr>
              <a:t>size</a:t>
            </a:r>
            <a:r>
              <a:rPr lang="nl-BE" sz="2200" b="1" dirty="0">
                <a:solidFill>
                  <a:schemeClr val="tx2"/>
                </a:solidFill>
              </a:rPr>
              <a:t> was wrong</a:t>
            </a:r>
            <a:endParaRPr lang="fr-BE" sz="2200" b="1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830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1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5FACC1-AC02-189E-25C5-6182CE927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profile of people who make returns?</a:t>
            </a:r>
            <a:endParaRPr lang="fr-BE" dirty="0"/>
          </a:p>
        </p:txBody>
      </p:sp>
      <p:pic>
        <p:nvPicPr>
          <p:cNvPr id="7" name="Espace réservé du contenu 6" descr="Une image contenant personne, mur, intérieur, boîte&#10;&#10;Description générée automatiquement">
            <a:extLst>
              <a:ext uri="{FF2B5EF4-FFF2-40B4-BE49-F238E27FC236}">
                <a16:creationId xmlns:a16="http://schemas.microsoft.com/office/drawing/2014/main" id="{BBCAA095-0126-EE5B-2F5D-B5833D62FF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2237316"/>
            <a:ext cx="5465763" cy="3643842"/>
          </a:xfr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515560EE-51C5-400A-AF79-28FABA4F553E}"/>
              </a:ext>
            </a:extLst>
          </p:cNvPr>
          <p:cNvSpPr txBox="1"/>
          <p:nvPr/>
        </p:nvSpPr>
        <p:spPr>
          <a:xfrm>
            <a:off x="141379" y="6581001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Source : Online tracker </a:t>
            </a:r>
            <a:r>
              <a:rPr kumimoji="0" lang="fr-BE" sz="1200" i="1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bpost</a:t>
            </a:r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nl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2022</a:t>
            </a:r>
            <a:endParaRPr lang="en-GB" sz="1200" i="1" dirty="0">
              <a:solidFill>
                <a:schemeClr val="accent2"/>
              </a:solidFill>
            </a:endParaRPr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6831B0F8-E14A-53E8-9870-125A26672DD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1963064"/>
              </p:ext>
            </p:extLst>
          </p:nvPr>
        </p:nvGraphicFramePr>
        <p:xfrm>
          <a:off x="6186489" y="599915"/>
          <a:ext cx="5465399" cy="5758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id="{C51FC984-4BAF-6299-2021-A9D83D12B8A7}"/>
              </a:ext>
            </a:extLst>
          </p:cNvPr>
          <p:cNvSpPr txBox="1"/>
          <p:nvPr/>
        </p:nvSpPr>
        <p:spPr>
          <a:xfrm>
            <a:off x="7371644" y="4319931"/>
            <a:ext cx="677334" cy="338554"/>
          </a:xfrm>
          <a:prstGeom prst="rect">
            <a:avLst/>
          </a:prstGeom>
          <a:solidFill>
            <a:srgbClr val="E6E7E9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BE" sz="2200" b="1" dirty="0">
                <a:solidFill>
                  <a:schemeClr val="tx2"/>
                </a:solidFill>
              </a:rPr>
              <a:t>Men</a:t>
            </a:r>
            <a:endParaRPr lang="fr-BE" sz="2200" b="1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21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ADC7483-7BCD-B0A8-2C03-3D57F470D2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profile of people who make returns?</a:t>
            </a:r>
            <a:endParaRPr lang="fr-BE" dirty="0"/>
          </a:p>
        </p:txBody>
      </p:sp>
      <p:pic>
        <p:nvPicPr>
          <p:cNvPr id="9" name="Espace réservé du contenu 8" descr="Une image contenant intérieur, personne, ordinateur portable, canapé&#10;&#10;Description générée automatiquement">
            <a:extLst>
              <a:ext uri="{FF2B5EF4-FFF2-40B4-BE49-F238E27FC236}">
                <a16:creationId xmlns:a16="http://schemas.microsoft.com/office/drawing/2014/main" id="{A79697A2-9150-0E48-44BA-C7972DFDF024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75" y="1727200"/>
            <a:ext cx="5105400" cy="3403600"/>
          </a:xfr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7AC99B07-3BEE-C0AF-C2D3-0B25EB192F79}"/>
              </a:ext>
            </a:extLst>
          </p:cNvPr>
          <p:cNvSpPr txBox="1"/>
          <p:nvPr/>
        </p:nvSpPr>
        <p:spPr>
          <a:xfrm>
            <a:off x="141379" y="6581001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Source : Online tracker </a:t>
            </a:r>
            <a:r>
              <a:rPr kumimoji="0" lang="fr-BE" sz="1200" i="1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bpost</a:t>
            </a:r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nl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2022</a:t>
            </a:r>
            <a:endParaRPr lang="en-GB" sz="1200" i="1" dirty="0">
              <a:solidFill>
                <a:schemeClr val="accent2"/>
              </a:solidFill>
            </a:endParaRPr>
          </a:p>
        </p:txBody>
      </p:sp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0CFE3A34-F31E-8A84-ABBB-4C7120E5079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0946800"/>
              </p:ext>
            </p:extLst>
          </p:nvPr>
        </p:nvGraphicFramePr>
        <p:xfrm>
          <a:off x="540000" y="1727200"/>
          <a:ext cx="4935111" cy="4707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id="{B9D9033A-518F-34D4-72A0-65FDD2CD60CF}"/>
              </a:ext>
            </a:extLst>
          </p:cNvPr>
          <p:cNvSpPr txBox="1"/>
          <p:nvPr/>
        </p:nvSpPr>
        <p:spPr>
          <a:xfrm>
            <a:off x="1140177" y="5046133"/>
            <a:ext cx="677334" cy="338554"/>
          </a:xfrm>
          <a:prstGeom prst="rect">
            <a:avLst/>
          </a:prstGeom>
          <a:solidFill>
            <a:srgbClr val="E6E7E9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BE" sz="2200" b="1" dirty="0">
                <a:solidFill>
                  <a:schemeClr val="tx2"/>
                </a:solidFill>
              </a:rPr>
              <a:t>18-34</a:t>
            </a:r>
            <a:endParaRPr lang="fr-BE" sz="2200" b="1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7317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 descr="Une image contenant ciel, boomerang, nuage, personne&#10;&#10;Description générée automatiquement">
            <a:extLst>
              <a:ext uri="{FF2B5EF4-FFF2-40B4-BE49-F238E27FC236}">
                <a16:creationId xmlns:a16="http://schemas.microsoft.com/office/drawing/2014/main" id="{1E4E17E7-8989-F12C-D117-9DE8056201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116" b="17116"/>
          <a:stretch>
            <a:fillRect/>
          </a:stretch>
        </p:blipFill>
        <p:spPr/>
      </p:pic>
      <p:sp>
        <p:nvSpPr>
          <p:cNvPr id="9" name="Organigramme : Connecteur 8">
            <a:extLst>
              <a:ext uri="{FF2B5EF4-FFF2-40B4-BE49-F238E27FC236}">
                <a16:creationId xmlns:a16="http://schemas.microsoft.com/office/drawing/2014/main" id="{01001BC7-D550-F7A7-29F9-73B09EC0A126}"/>
              </a:ext>
            </a:extLst>
          </p:cNvPr>
          <p:cNvSpPr/>
          <p:nvPr/>
        </p:nvSpPr>
        <p:spPr>
          <a:xfrm>
            <a:off x="640717" y="3496104"/>
            <a:ext cx="1995242" cy="1984138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0" name="Organigramme : Connecteur 9">
            <a:extLst>
              <a:ext uri="{FF2B5EF4-FFF2-40B4-BE49-F238E27FC236}">
                <a16:creationId xmlns:a16="http://schemas.microsoft.com/office/drawing/2014/main" id="{62A8E1AB-FF3C-C681-FD85-94212D621957}"/>
              </a:ext>
            </a:extLst>
          </p:cNvPr>
          <p:cNvSpPr/>
          <p:nvPr/>
        </p:nvSpPr>
        <p:spPr>
          <a:xfrm>
            <a:off x="3670113" y="3474004"/>
            <a:ext cx="1995242" cy="1984138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B40AF219-E036-D961-6164-6EFD5ECE7FE8}"/>
              </a:ext>
            </a:extLst>
          </p:cNvPr>
          <p:cNvSpPr txBox="1"/>
          <p:nvPr/>
        </p:nvSpPr>
        <p:spPr>
          <a:xfrm>
            <a:off x="1308216" y="4178814"/>
            <a:ext cx="7911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54%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2" name="Organigramme : Connecteur 11">
            <a:extLst>
              <a:ext uri="{FF2B5EF4-FFF2-40B4-BE49-F238E27FC236}">
                <a16:creationId xmlns:a16="http://schemas.microsoft.com/office/drawing/2014/main" id="{61BE773D-B2F1-C2A6-1F39-583BB711AA51}"/>
              </a:ext>
            </a:extLst>
          </p:cNvPr>
          <p:cNvSpPr/>
          <p:nvPr/>
        </p:nvSpPr>
        <p:spPr>
          <a:xfrm>
            <a:off x="6699509" y="3457065"/>
            <a:ext cx="1995242" cy="1984138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3" name="Organigramme : Connecteur 12">
            <a:extLst>
              <a:ext uri="{FF2B5EF4-FFF2-40B4-BE49-F238E27FC236}">
                <a16:creationId xmlns:a16="http://schemas.microsoft.com/office/drawing/2014/main" id="{19927BC4-BD1D-05C9-090B-4A49E9130651}"/>
              </a:ext>
            </a:extLst>
          </p:cNvPr>
          <p:cNvSpPr/>
          <p:nvPr/>
        </p:nvSpPr>
        <p:spPr>
          <a:xfrm>
            <a:off x="9597957" y="3474004"/>
            <a:ext cx="1995242" cy="1984138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0D732B1-0B29-9F36-3E41-8666B13212B0}"/>
              </a:ext>
            </a:extLst>
          </p:cNvPr>
          <p:cNvSpPr txBox="1"/>
          <p:nvPr/>
        </p:nvSpPr>
        <p:spPr>
          <a:xfrm>
            <a:off x="4442825" y="4188210"/>
            <a:ext cx="7911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2800" b="1" dirty="0">
                <a:solidFill>
                  <a:srgbClr val="5A5A5F"/>
                </a:solidFill>
                <a:latin typeface="Segoe UI Light"/>
              </a:rPr>
              <a:t>33</a:t>
            </a: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%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4F54F9EC-29F3-6283-4565-FAF98ADAE83E}"/>
              </a:ext>
            </a:extLst>
          </p:cNvPr>
          <p:cNvSpPr txBox="1"/>
          <p:nvPr/>
        </p:nvSpPr>
        <p:spPr>
          <a:xfrm>
            <a:off x="7423769" y="4188210"/>
            <a:ext cx="7911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2800" b="1" dirty="0">
                <a:solidFill>
                  <a:srgbClr val="5A5A5F"/>
                </a:solidFill>
                <a:latin typeface="Segoe UI Light"/>
              </a:rPr>
              <a:t>43</a:t>
            </a: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%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8B2F641-2290-BE35-6F33-7AFA26058AF5}"/>
              </a:ext>
            </a:extLst>
          </p:cNvPr>
          <p:cNvSpPr txBox="1"/>
          <p:nvPr/>
        </p:nvSpPr>
        <p:spPr>
          <a:xfrm>
            <a:off x="10199981" y="4188210"/>
            <a:ext cx="7911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BE" sz="2800" b="1" dirty="0">
                <a:solidFill>
                  <a:srgbClr val="5A5A5F"/>
                </a:solidFill>
                <a:latin typeface="Segoe UI Light"/>
              </a:rPr>
              <a:t>76</a:t>
            </a: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%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2690FB6-1E5F-AF0D-51C7-9DF09E3B962C}"/>
              </a:ext>
            </a:extLst>
          </p:cNvPr>
          <p:cNvSpPr txBox="1"/>
          <p:nvPr/>
        </p:nvSpPr>
        <p:spPr>
          <a:xfrm>
            <a:off x="141379" y="6581001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Source : Online tracker </a:t>
            </a:r>
            <a:r>
              <a:rPr kumimoji="0" lang="fr-BE" sz="1200" i="1" u="none" strike="noStrike" kern="1200" cap="none" spc="0" normalizeH="0" baseline="0" noProof="0" dirty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bpost</a:t>
            </a:r>
            <a:r>
              <a:rPr kumimoji="0" lang="fr-BE" sz="1200" i="1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lang="nl-BE" sz="1200" i="1" dirty="0">
                <a:solidFill>
                  <a:schemeClr val="accent2"/>
                </a:solidFill>
              </a:rPr>
              <a:t>Q2 2023</a:t>
            </a:r>
            <a:endParaRPr lang="en-GB" sz="1200" i="1" dirty="0">
              <a:solidFill>
                <a:schemeClr val="accent2"/>
              </a:solidFill>
            </a:endParaRP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20795010-E66E-EE9B-63AD-931A612528D6}"/>
              </a:ext>
            </a:extLst>
          </p:cNvPr>
          <p:cNvSpPr txBox="1">
            <a:spLocks/>
          </p:cNvSpPr>
          <p:nvPr/>
        </p:nvSpPr>
        <p:spPr>
          <a:xfrm>
            <a:off x="379462" y="5607905"/>
            <a:ext cx="2517752" cy="8063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nl-BE" sz="1800" noProof="0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abel</a:t>
            </a:r>
            <a:endParaRPr kumimoji="0" lang="nl-NL" sz="180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F81CD02E-598A-381C-258A-ABFA2F6339A1}"/>
              </a:ext>
            </a:extLst>
          </p:cNvPr>
          <p:cNvSpPr txBox="1">
            <a:spLocks/>
          </p:cNvSpPr>
          <p:nvPr/>
        </p:nvSpPr>
        <p:spPr>
          <a:xfrm>
            <a:off x="3408858" y="5607905"/>
            <a:ext cx="2517752" cy="8063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fr-BE" sz="1800" dirty="0" err="1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mmediately</a:t>
            </a:r>
            <a:endParaRPr kumimoji="0" lang="nl-NL" sz="180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5169E3EE-8C9E-20BC-B9A3-CBBEDCDC80D0}"/>
              </a:ext>
            </a:extLst>
          </p:cNvPr>
          <p:cNvSpPr txBox="1">
            <a:spLocks/>
          </p:cNvSpPr>
          <p:nvPr/>
        </p:nvSpPr>
        <p:spPr>
          <a:xfrm>
            <a:off x="6351822" y="5607905"/>
            <a:ext cx="2517752" cy="8063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fr-BE" sz="1800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st office</a:t>
            </a:r>
            <a:endParaRPr kumimoji="0" lang="nl-NL" sz="180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Light"/>
            </a:endParaRP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20BEB188-10AD-C82A-CC34-A75305E90842}"/>
              </a:ext>
            </a:extLst>
          </p:cNvPr>
          <p:cNvSpPr txBox="1">
            <a:spLocks/>
          </p:cNvSpPr>
          <p:nvPr/>
        </p:nvSpPr>
        <p:spPr>
          <a:xfrm>
            <a:off x="9294786" y="5607905"/>
            <a:ext cx="2517752" cy="8063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fr-BE" sz="1800" dirty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ree</a:t>
            </a:r>
            <a:endParaRPr kumimoji="0" lang="nl-NL" sz="180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46714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  <p:bldP spid="12" grpId="0" animBg="1"/>
      <p:bldP spid="13" grpId="0" animBg="1"/>
      <p:bldP spid="14" grpId="0"/>
      <p:bldP spid="15" grpId="0"/>
      <p:bldP spid="16" grpId="0"/>
      <p:bldP spid="18" grpId="0"/>
      <p:bldP spid="19" grpId="0"/>
      <p:bldP spid="20" grpId="0"/>
      <p:bldP spid="2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5FACC1-AC02-189E-25C5-6182CE927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nl-BE" dirty="0"/>
              <a:t>Free returns ?</a:t>
            </a:r>
            <a:endParaRPr lang="fr-BE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BC40BA1-629A-CDF5-1031-0F05784C7C8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2800" dirty="0">
                <a:solidFill>
                  <a:schemeClr val="accent2"/>
                </a:solidFill>
                <a:cs typeface="Segoe UI" panose="020B0502040204020203" pitchFamily="34" charset="0"/>
              </a:rPr>
              <a:t>For 59% of consumers, offering free returns is an important element of an ideal online shop…</a:t>
            </a:r>
            <a:endParaRPr lang="fr-BE" sz="2800" dirty="0">
              <a:solidFill>
                <a:schemeClr val="accent2"/>
              </a:solidFill>
              <a:cs typeface="Segoe UI" panose="020B0502040204020203" pitchFamily="34" charset="0"/>
            </a:endParaRPr>
          </a:p>
          <a:p>
            <a:pPr marL="0" indent="0" algn="ctr">
              <a:buNone/>
            </a:pPr>
            <a:endParaRPr lang="nl-NL" sz="2800" dirty="0">
              <a:solidFill>
                <a:schemeClr val="accent2"/>
              </a:solidFill>
              <a:cs typeface="Segoe UI" panose="020B0502040204020203" pitchFamily="34" charset="0"/>
            </a:endParaRPr>
          </a:p>
          <a:p>
            <a:pPr marL="0" indent="0" algn="ctr">
              <a:buNone/>
            </a:pPr>
            <a:endParaRPr lang="fr-BE" sz="2800" dirty="0">
              <a:solidFill>
                <a:schemeClr val="accent2"/>
              </a:solidFill>
              <a:cs typeface="Segoe UI" panose="020B0502040204020203" pitchFamily="34" charset="0"/>
            </a:endParaRPr>
          </a:p>
          <a:p>
            <a:pPr marL="0" indent="0" algn="ctr">
              <a:buNone/>
            </a:pPr>
            <a:r>
              <a:rPr lang="en-US" sz="2800" dirty="0">
                <a:solidFill>
                  <a:schemeClr val="accent2"/>
                </a:solidFill>
                <a:cs typeface="Segoe UI" panose="020B0502040204020203" pitchFamily="34" charset="0"/>
              </a:rPr>
              <a:t>E-consumers say they will stop ordering goods online if it requires them to cover the full cost of return !</a:t>
            </a:r>
          </a:p>
          <a:p>
            <a:pPr marL="0" indent="0">
              <a:buNone/>
            </a:pPr>
            <a:endParaRPr lang="fr-BE" sz="1800" dirty="0">
              <a:solidFill>
                <a:schemeClr val="accent2"/>
              </a:solidFill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fr-BE" sz="1800" dirty="0">
              <a:solidFill>
                <a:schemeClr val="tx2"/>
              </a:solidFill>
              <a:cs typeface="Segoe UI" panose="020B0502040204020203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CF0F0E2-352F-1912-0898-B64377BF2A63}"/>
              </a:ext>
            </a:extLst>
          </p:cNvPr>
          <p:cNvSpPr txBox="1"/>
          <p:nvPr/>
        </p:nvSpPr>
        <p:spPr>
          <a:xfrm>
            <a:off x="3481330" y="4054207"/>
            <a:ext cx="242371" cy="121185"/>
          </a:xfrm>
          <a:prstGeom prst="rect">
            <a:avLst/>
          </a:prstGeom>
          <a:solidFill>
            <a:srgbClr val="D63547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8" name="Espace réservé du contenu 7" descr="Une image contenant personne, Visage humain, sourire, homme&#10;&#10;Description générée automatiquement">
            <a:extLst>
              <a:ext uri="{FF2B5EF4-FFF2-40B4-BE49-F238E27FC236}">
                <a16:creationId xmlns:a16="http://schemas.microsoft.com/office/drawing/2014/main" id="{6A5300D6-E9DF-2E2F-F40B-06D3AE09B16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2237139"/>
            <a:ext cx="5465763" cy="3644197"/>
          </a:xfr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212FBEC2-9E25-FFD7-CC9B-F3153FEEBCDB}"/>
              </a:ext>
            </a:extLst>
          </p:cNvPr>
          <p:cNvSpPr txBox="1"/>
          <p:nvPr/>
        </p:nvSpPr>
        <p:spPr>
          <a:xfrm>
            <a:off x="415885" y="6541674"/>
            <a:ext cx="877218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0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ource :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afeshops.be Belgian Online Shopper Survey 2022 /</a:t>
            </a:r>
            <a:r>
              <a:rPr kumimoji="0" lang="en-US" sz="1000" b="0" i="1" u="none" strike="noStrike" kern="1200" cap="none" spc="0" normalizeH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tnpconsultants.com</a:t>
            </a:r>
            <a:endParaRPr kumimoji="0" lang="fr-BE" sz="1000" b="0" i="1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0DCF5308-639F-3695-5E87-D9A2B18D799A}"/>
              </a:ext>
            </a:extLst>
          </p:cNvPr>
          <p:cNvSpPr txBox="1"/>
          <p:nvPr/>
        </p:nvSpPr>
        <p:spPr>
          <a:xfrm>
            <a:off x="12778740" y="2139959"/>
            <a:ext cx="129266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l-BE" sz="2000" dirty="0" err="1">
                <a:solidFill>
                  <a:schemeClr val="tx2"/>
                </a:solidFill>
                <a:highlight>
                  <a:srgbClr val="FFFF00"/>
                </a:highlight>
              </a:rPr>
              <a:t>Loi</a:t>
            </a:r>
            <a:r>
              <a:rPr lang="nl-BE" sz="2000" dirty="0">
                <a:solidFill>
                  <a:schemeClr val="tx2"/>
                </a:solidFill>
                <a:highlight>
                  <a:srgbClr val="FFFF00"/>
                </a:highlight>
              </a:rPr>
              <a:t> Europe faire </a:t>
            </a:r>
            <a:r>
              <a:rPr lang="nl-BE" sz="2000" dirty="0" err="1">
                <a:solidFill>
                  <a:schemeClr val="tx2"/>
                </a:solidFill>
                <a:highlight>
                  <a:srgbClr val="FFFF00"/>
                </a:highlight>
              </a:rPr>
              <a:t>payer</a:t>
            </a:r>
            <a:r>
              <a:rPr lang="nl-BE" sz="2000" dirty="0">
                <a:solidFill>
                  <a:schemeClr val="tx2"/>
                </a:solidFill>
                <a:highlight>
                  <a:srgbClr val="FFFF00"/>
                </a:highlight>
              </a:rPr>
              <a:t> retours ?</a:t>
            </a:r>
            <a:endParaRPr lang="fr-BE" sz="2000" dirty="0" err="1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10207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6AA7BFC-E6CC-B1A8-9A16-E3C3CEF38D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Free returns</a:t>
            </a:r>
            <a:endParaRPr lang="fr-BE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0D5AF85-2B5D-21A1-661B-3CF46EAC461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l-BE" dirty="0" err="1"/>
              <a:t>Reassuring</a:t>
            </a:r>
            <a:r>
              <a:rPr lang="nl-BE" dirty="0"/>
              <a:t> argument but…</a:t>
            </a:r>
            <a:endParaRPr lang="fr-BE" dirty="0"/>
          </a:p>
        </p:txBody>
      </p:sp>
      <p:pic>
        <p:nvPicPr>
          <p:cNvPr id="9" name="Espace réservé du contenu 8" descr="Une image contenant Visage humain, personne, habits, sourire&#10;&#10;Description générée automatiquement">
            <a:extLst>
              <a:ext uri="{FF2B5EF4-FFF2-40B4-BE49-F238E27FC236}">
                <a16:creationId xmlns:a16="http://schemas.microsoft.com/office/drawing/2014/main" id="{01F29323-E932-BA56-00E3-A4BFA24839C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49" y="2237316"/>
            <a:ext cx="5465763" cy="3643842"/>
          </a:xfrm>
        </p:spPr>
      </p:pic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C2C592F0-BAF3-D757-979E-97ADB1FD1A6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1EEE23F-63EF-4625-A41F-9338F0AD8F25}" type="datetime4">
              <a:rPr lang="en-GB" smtClean="0"/>
              <a:t>13 September 2023</a:t>
            </a:fld>
            <a:endParaRPr lang="en-GB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6ED7CD7-764D-4FF7-0659-09381D3AE1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/>
            <a:fld id="{24C8C45C-947F-4981-8B3F-4F32E973C901}" type="slidenum">
              <a:rPr lang="en-GB" smtClean="0"/>
              <a:pPr algn="l"/>
              <a:t>28</a:t>
            </a:fld>
            <a:endParaRPr lang="en-GB" dirty="0"/>
          </a:p>
        </p:txBody>
      </p:sp>
      <p:pic>
        <p:nvPicPr>
          <p:cNvPr id="15" name="Espace réservé du contenu 14" descr="Une image contenant ciel, Visage humain, personne, habits&#10;&#10;Description générée automatiquement">
            <a:extLst>
              <a:ext uri="{FF2B5EF4-FFF2-40B4-BE49-F238E27FC236}">
                <a16:creationId xmlns:a16="http://schemas.microsoft.com/office/drawing/2014/main" id="{255423CC-2359-541F-7B82-9ED6BA680C4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6488" y="2237317"/>
            <a:ext cx="5465762" cy="3643841"/>
          </a:xfrm>
        </p:spPr>
      </p:pic>
    </p:spTree>
    <p:extLst>
      <p:ext uri="{BB962C8B-B14F-4D97-AF65-F5344CB8AC3E}">
        <p14:creationId xmlns:p14="http://schemas.microsoft.com/office/powerpoint/2010/main" val="1980949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3AEDE4-A58F-7872-F881-0076BEE92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7EB19CB2-E30F-26E4-8BE2-B3F48DE48877}"/>
              </a:ext>
            </a:extLst>
          </p:cNvPr>
          <p:cNvSpPr txBox="1">
            <a:spLocks/>
          </p:cNvSpPr>
          <p:nvPr/>
        </p:nvSpPr>
        <p:spPr>
          <a:xfrm>
            <a:off x="540001" y="540000"/>
            <a:ext cx="5466000" cy="1036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l-BE" b="1" dirty="0">
                <a:solidFill>
                  <a:schemeClr val="bg1"/>
                </a:solidFill>
              </a:rPr>
              <a:t>But </a:t>
            </a:r>
            <a:r>
              <a:rPr lang="nl-BE" b="1" dirty="0" err="1">
                <a:solidFill>
                  <a:schemeClr val="bg1"/>
                </a:solidFill>
              </a:rPr>
              <a:t>finally</a:t>
            </a:r>
            <a:r>
              <a:rPr lang="nl-BE" b="1" dirty="0">
                <a:solidFill>
                  <a:schemeClr val="bg1"/>
                </a:solidFill>
              </a:rPr>
              <a:t>… Free returns : yes or no ?</a:t>
            </a:r>
            <a:endParaRPr lang="fr-B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766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D5FEAF0-1309-9E2B-9F81-184BF2514D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1744" y="1544003"/>
            <a:ext cx="6620256" cy="737957"/>
          </a:xfrm>
        </p:spPr>
        <p:txBody>
          <a:bodyPr/>
          <a:lstStyle/>
          <a:p>
            <a:pPr>
              <a:lnSpc>
                <a:spcPct val="200000"/>
              </a:lnSpc>
            </a:pPr>
            <a:r>
              <a:rPr lang="nl-BE" sz="2800" b="1" dirty="0"/>
              <a:t>International </a:t>
            </a:r>
            <a:r>
              <a:rPr lang="nl-BE" sz="2800" b="1" dirty="0" err="1"/>
              <a:t>insights</a:t>
            </a:r>
            <a:r>
              <a:rPr lang="nl-BE" sz="2800" b="1" dirty="0"/>
              <a:t> &amp; </a:t>
            </a:r>
            <a:r>
              <a:rPr lang="nl-BE" sz="2800" b="1" dirty="0" err="1"/>
              <a:t>challenges</a:t>
            </a:r>
            <a:endParaRPr lang="nl-BE" sz="2800" b="1" dirty="0"/>
          </a:p>
          <a:p>
            <a:pPr>
              <a:lnSpc>
                <a:spcPct val="200000"/>
              </a:lnSpc>
            </a:pPr>
            <a:r>
              <a:rPr lang="nl-BE" sz="2800" dirty="0" err="1"/>
              <a:t>Belgian</a:t>
            </a:r>
            <a:r>
              <a:rPr lang="nl-BE" sz="2800" dirty="0"/>
              <a:t> </a:t>
            </a:r>
            <a:r>
              <a:rPr lang="nl-BE" sz="2800" dirty="0" err="1"/>
              <a:t>insights</a:t>
            </a:r>
            <a:endParaRPr lang="fr-BE" sz="2800" dirty="0"/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fr-BE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16D16A8-C595-455E-4A07-3FFF75A1B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208290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CD706DE8-145F-78CB-9519-D2A167FFA660}"/>
              </a:ext>
            </a:extLst>
          </p:cNvPr>
          <p:cNvSpPr txBox="1"/>
          <p:nvPr/>
        </p:nvSpPr>
        <p:spPr>
          <a:xfrm>
            <a:off x="540000" y="1072800"/>
            <a:ext cx="5466000" cy="50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fr-BE" sz="2800" b="0" i="1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BC40BA1-629A-CDF5-1031-0F05784C7C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799999"/>
            <a:ext cx="5466000" cy="4518001"/>
          </a:xfrm>
        </p:spPr>
        <p:txBody>
          <a:bodyPr vert="horz" lIns="0" tIns="0" rIns="0" bIns="0" rtlCol="0">
            <a:norm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endParaRPr lang="nl-NL" b="1" dirty="0"/>
          </a:p>
          <a:p>
            <a:pPr marL="0" indent="0" algn="ctr">
              <a:buNone/>
            </a:pPr>
            <a:endParaRPr lang="fr-BE" dirty="0"/>
          </a:p>
          <a:p>
            <a:pPr marL="0" indent="0" algn="ctr">
              <a:buNone/>
            </a:pPr>
            <a:endParaRPr lang="fr-BE" dirty="0"/>
          </a:p>
          <a:p>
            <a:pPr marL="0" indent="0" algn="ctr">
              <a:buNone/>
            </a:pPr>
            <a:r>
              <a:rPr lang="fr-BE" sz="2800" dirty="0" err="1"/>
              <a:t>It's</a:t>
            </a:r>
            <a:r>
              <a:rPr lang="fr-BE" sz="2800" dirty="0"/>
              <a:t> not a </a:t>
            </a:r>
            <a:r>
              <a:rPr lang="fr-BE" sz="2800" dirty="0" err="1"/>
              <a:t>child's</a:t>
            </a:r>
            <a:r>
              <a:rPr lang="fr-BE" sz="2800" dirty="0"/>
              <a:t> </a:t>
            </a:r>
            <a:r>
              <a:rPr lang="fr-BE" sz="2800" dirty="0" err="1"/>
              <a:t>play</a:t>
            </a:r>
            <a:endParaRPr lang="fr-BE" sz="2800" dirty="0"/>
          </a:p>
        </p:txBody>
      </p:sp>
      <p:pic>
        <p:nvPicPr>
          <p:cNvPr id="8" name="Espace réservé du contenu 7" descr="Une image contenant ciel, plein air, personne, été&#10;&#10;Description générée automatiquement">
            <a:extLst>
              <a:ext uri="{FF2B5EF4-FFF2-40B4-BE49-F238E27FC236}">
                <a16:creationId xmlns:a16="http://schemas.microsoft.com/office/drawing/2014/main" id="{10F91D38-21DF-D4A4-3766-6424067D6C4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34" r="30419" b="-2"/>
          <a:stretch/>
        </p:blipFill>
        <p:spPr>
          <a:xfrm>
            <a:off x="6186001" y="540000"/>
            <a:ext cx="5466000" cy="5778000"/>
          </a:xfrm>
          <a:noFill/>
        </p:spPr>
      </p:pic>
      <p:sp>
        <p:nvSpPr>
          <p:cNvPr id="16" name="Date Placeholder 5">
            <a:extLst>
              <a:ext uri="{FF2B5EF4-FFF2-40B4-BE49-F238E27FC236}">
                <a16:creationId xmlns:a16="http://schemas.microsoft.com/office/drawing/2014/main" id="{E866D907-A7DE-D6B9-F378-28EDE01F64A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27749" y="6542765"/>
            <a:ext cx="2355251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C83659B7-AB63-42E7-ADA8-A496C46A366D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8886BA68-9289-89C5-FDEC-7D418FC463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03DF7232-0BA4-93B7-2781-EE6ABF820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nl-BE" dirty="0"/>
              <a:t>Yes or no ?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30595629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1133A25-649E-7619-265E-6401CB727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20000"/>
            <a:ext cx="5284800" cy="1036800"/>
          </a:xfrm>
        </p:spPr>
        <p:txBody>
          <a:bodyPr anchor="ctr">
            <a:normAutofit/>
          </a:bodyPr>
          <a:lstStyle/>
          <a:p>
            <a:r>
              <a:rPr lang="fr-BE" dirty="0"/>
              <a:t>Be a </a:t>
            </a:r>
            <a:r>
              <a:rPr lang="fr-BE" dirty="0" err="1"/>
              <a:t>superhero</a:t>
            </a:r>
            <a:endParaRPr lang="fr-BE" dirty="0"/>
          </a:p>
        </p:txBody>
      </p:sp>
      <p:pic>
        <p:nvPicPr>
          <p:cNvPr id="11" name="Espace réservé du contenu 10" descr="Une image contenant ciel, personne, plein air, habits&#10;&#10;Description générée automatiquement">
            <a:extLst>
              <a:ext uri="{FF2B5EF4-FFF2-40B4-BE49-F238E27FC236}">
                <a16:creationId xmlns:a16="http://schemas.microsoft.com/office/drawing/2014/main" id="{06214CD4-55EC-A0CD-EDDB-D50D798760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0" r="14351"/>
          <a:stretch/>
        </p:blipFill>
        <p:spPr>
          <a:xfrm>
            <a:off x="720000" y="1980000"/>
            <a:ext cx="5284800" cy="4158000"/>
          </a:xfrm>
          <a:noFill/>
        </p:spPr>
      </p:pic>
      <p:pic>
        <p:nvPicPr>
          <p:cNvPr id="9" name="Espace réservé du contenu 8" descr="Une image contenant Visage humain, jeune enfant, habits, personne&#10;&#10;Description générée automatiquement">
            <a:extLst>
              <a:ext uri="{FF2B5EF4-FFF2-40B4-BE49-F238E27FC236}">
                <a16:creationId xmlns:a16="http://schemas.microsoft.com/office/drawing/2014/main" id="{CF5037DA-DAB2-201F-8B27-B2414FF0F10D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891" r="-1" b="-1"/>
          <a:stretch/>
        </p:blipFill>
        <p:spPr>
          <a:xfrm>
            <a:off x="6186000" y="720000"/>
            <a:ext cx="5284800" cy="5418000"/>
          </a:xfrm>
          <a:noFill/>
        </p:spPr>
      </p:pic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A95890A4-800A-29C2-60C0-5113FD8090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27749" y="6542765"/>
            <a:ext cx="2355251" cy="180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1EEE23F-63EF-4625-A41F-9338F0AD8F25}" type="datetime4">
              <a:rPr lang="en-GB" smtClean="0"/>
              <a:pPr>
                <a:spcAft>
                  <a:spcPts val="600"/>
                </a:spcAft>
              </a:pPr>
              <a:t>13 September 2023</a:t>
            </a:fld>
            <a:endParaRPr lang="en-GB"/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EE8FAC5C-E873-0B67-54F6-51FECAF1CE1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39749" y="6542765"/>
            <a:ext cx="288000" cy="180000"/>
          </a:xfrm>
        </p:spPr>
        <p:txBody>
          <a:bodyPr/>
          <a:lstStyle/>
          <a:p>
            <a:pPr algn="l">
              <a:spcAft>
                <a:spcPts val="600"/>
              </a:spcAft>
            </a:pPr>
            <a:fld id="{24C8C45C-947F-4981-8B3F-4F32E973C901}" type="slidenum">
              <a:rPr lang="en-GB" dirty="0" smtClean="0"/>
              <a:pPr algn="l">
                <a:spcAft>
                  <a:spcPts val="600"/>
                </a:spcAft>
              </a:pPr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802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5F2C72A-62EE-220C-FEB7-E9988754A1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Be a </a:t>
            </a:r>
            <a:r>
              <a:rPr lang="fr-BE" dirty="0" err="1"/>
              <a:t>superhero</a:t>
            </a:r>
            <a:endParaRPr lang="fr-BE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D68FB8F4-6C9C-F6A4-A9B1-F6BD59E1294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l-BE" dirty="0" err="1"/>
              <a:t>Reliable</a:t>
            </a:r>
            <a:r>
              <a:rPr lang="nl-BE" dirty="0"/>
              <a:t> &amp; </a:t>
            </a:r>
            <a:r>
              <a:rPr lang="nl-BE" dirty="0" err="1"/>
              <a:t>simple</a:t>
            </a:r>
            <a:endParaRPr lang="fr-BE" dirty="0"/>
          </a:p>
        </p:txBody>
      </p:sp>
      <p:pic>
        <p:nvPicPr>
          <p:cNvPr id="11" name="Espace réservé du contenu 10" descr="Une image contenant ciel, personne, plein air, habits&#10;&#10;Description générée automatiquement">
            <a:extLst>
              <a:ext uri="{FF2B5EF4-FFF2-40B4-BE49-F238E27FC236}">
                <a16:creationId xmlns:a16="http://schemas.microsoft.com/office/drawing/2014/main" id="{B3AF4818-2273-07F3-0A2A-39761C9BE0C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2236596"/>
            <a:ext cx="5465763" cy="3645282"/>
          </a:xfrm>
        </p:spPr>
      </p:pic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68B202BF-60AD-0DCF-ADD0-74C67271B0F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 algn="ctr">
              <a:buNone/>
            </a:pPr>
            <a:endParaRPr lang="en-US" sz="2800" dirty="0"/>
          </a:p>
          <a:p>
            <a:pPr marL="0" indent="0" algn="ctr">
              <a:buNone/>
            </a:pPr>
            <a:endParaRPr lang="en-US" sz="2800" dirty="0"/>
          </a:p>
          <a:p>
            <a:pPr marL="0" indent="0" algn="ctr">
              <a:buNone/>
            </a:pPr>
            <a:endParaRPr lang="en-US" sz="2800" dirty="0"/>
          </a:p>
          <a:p>
            <a:pPr marL="0" indent="0" algn="ctr">
              <a:buNone/>
            </a:pPr>
            <a:r>
              <a:rPr lang="en-US" sz="2800" dirty="0"/>
              <a:t>A </a:t>
            </a:r>
            <a:r>
              <a:rPr lang="en-US" sz="2800" b="1" dirty="0"/>
              <a:t>reliable</a:t>
            </a:r>
            <a:r>
              <a:rPr lang="en-US" sz="2800" dirty="0"/>
              <a:t> and </a:t>
            </a:r>
            <a:r>
              <a:rPr lang="en-US" sz="2800" b="1" dirty="0"/>
              <a:t>simple</a:t>
            </a:r>
            <a:r>
              <a:rPr lang="en-US" sz="2800" dirty="0"/>
              <a:t> return procedure is important for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n-US" sz="2800" b="1" dirty="0"/>
              <a:t>80%</a:t>
            </a:r>
            <a:r>
              <a:rPr lang="en-US" sz="2800" dirty="0"/>
              <a:t> of Belgians</a:t>
            </a:r>
          </a:p>
          <a:p>
            <a:pPr marL="179705" indent="-179705"/>
            <a:endParaRPr lang="fr-BE" dirty="0">
              <a:cs typeface="Segoe UI Light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9FD8998-7208-889E-F8B8-1BC0B819E166}"/>
              </a:ext>
            </a:extLst>
          </p:cNvPr>
          <p:cNvSpPr txBox="1"/>
          <p:nvPr/>
        </p:nvSpPr>
        <p:spPr>
          <a:xfrm>
            <a:off x="141379" y="6581001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Source : </a:t>
            </a:r>
            <a:r>
              <a:rPr lang="en-US" sz="1200" i="1" dirty="0">
                <a:solidFill>
                  <a:schemeClr val="tx2"/>
                </a:solidFill>
                <a:latin typeface="+mj-lt"/>
              </a:rPr>
              <a:t>IPC, IPC cross-border e-commerce shopper survey 2020, </a:t>
            </a:r>
            <a:r>
              <a:rPr lang="fr-BE" sz="1200" i="1" dirty="0">
                <a:solidFill>
                  <a:schemeClr val="tx2"/>
                </a:solidFill>
                <a:latin typeface="+mj-lt"/>
              </a:rPr>
              <a:t>Bpost </a:t>
            </a:r>
            <a:r>
              <a:rPr lang="fr-BE" sz="1200" i="1" dirty="0" err="1">
                <a:solidFill>
                  <a:schemeClr val="tx2"/>
                </a:solidFill>
                <a:latin typeface="+mj-lt"/>
              </a:rPr>
              <a:t>Parcel</a:t>
            </a:r>
            <a:r>
              <a:rPr lang="fr-BE" sz="1200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fr-BE" sz="1200" i="1" dirty="0" err="1">
                <a:solidFill>
                  <a:schemeClr val="tx2"/>
                </a:solidFill>
                <a:latin typeface="+mj-lt"/>
              </a:rPr>
              <a:t>receiver</a:t>
            </a:r>
            <a:r>
              <a:rPr lang="fr-BE" sz="1200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fr-BE" sz="1200" i="1" dirty="0" err="1">
                <a:solidFill>
                  <a:schemeClr val="tx2"/>
                </a:solidFill>
                <a:latin typeface="+mj-lt"/>
              </a:rPr>
              <a:t>understanding</a:t>
            </a:r>
            <a:r>
              <a:rPr lang="fr-BE" sz="1200" i="1" dirty="0">
                <a:solidFill>
                  <a:schemeClr val="tx2"/>
                </a:solidFill>
                <a:latin typeface="+mj-lt"/>
              </a:rPr>
              <a:t> (2018)</a:t>
            </a:r>
            <a:r>
              <a:rPr lang="en-US" sz="1200" i="1" dirty="0">
                <a:solidFill>
                  <a:schemeClr val="tx2"/>
                </a:solidFill>
                <a:latin typeface="+mj-lt"/>
              </a:rPr>
              <a:t> 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140999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32B9B7-04CC-F918-6533-81055B4A7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Be a </a:t>
            </a:r>
            <a:r>
              <a:rPr lang="fr-BE" dirty="0" err="1"/>
              <a:t>superhero</a:t>
            </a:r>
            <a:endParaRPr lang="fr-BE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F3F217E-152E-868B-B265-AC59F0C7602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l-BE" dirty="0" err="1"/>
              <a:t>Choice</a:t>
            </a:r>
            <a:endParaRPr lang="fr-BE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387B73BC-2E19-B626-9A8D-52DE6DE6C3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sz="2800" dirty="0"/>
          </a:p>
          <a:p>
            <a:pPr marL="0" indent="0" algn="ctr">
              <a:buNone/>
            </a:pPr>
            <a:endParaRPr lang="en-US" sz="2800" dirty="0"/>
          </a:p>
          <a:p>
            <a:pPr marL="0" indent="0" algn="ctr">
              <a:buNone/>
            </a:pPr>
            <a:endParaRPr lang="en-US" sz="2800" dirty="0"/>
          </a:p>
          <a:p>
            <a:pPr marL="0" indent="0" algn="ctr">
              <a:buNone/>
            </a:pPr>
            <a:r>
              <a:rPr lang="en-US" sz="2400" dirty="0"/>
              <a:t>Consumers want to </a:t>
            </a:r>
            <a:r>
              <a:rPr lang="en-US" sz="2400" b="1" dirty="0"/>
              <a:t>have a range of options </a:t>
            </a:r>
            <a:r>
              <a:rPr lang="en-US" sz="2400" dirty="0"/>
              <a:t>to drop their parcels</a:t>
            </a:r>
            <a:endParaRPr lang="en-US" sz="2800" b="1" dirty="0"/>
          </a:p>
          <a:p>
            <a:pPr marL="0" indent="0">
              <a:buNone/>
            </a:pPr>
            <a:endParaRPr lang="fr-BE" dirty="0"/>
          </a:p>
        </p:txBody>
      </p:sp>
      <p:pic>
        <p:nvPicPr>
          <p:cNvPr id="9" name="Espace réservé du contenu 8" descr="Une image contenant ciel, personne, plein air, habits&#10;&#10;Description générée automatiquement">
            <a:extLst>
              <a:ext uri="{FF2B5EF4-FFF2-40B4-BE49-F238E27FC236}">
                <a16:creationId xmlns:a16="http://schemas.microsoft.com/office/drawing/2014/main" id="{A0347F12-F9FF-ABC3-2293-41AE8C9BBF5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6488" y="2236427"/>
            <a:ext cx="5465762" cy="3645620"/>
          </a:xfr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BCD824D-1C2B-9020-87D6-6709181BCCB5}"/>
              </a:ext>
            </a:extLst>
          </p:cNvPr>
          <p:cNvSpPr txBox="1"/>
          <p:nvPr/>
        </p:nvSpPr>
        <p:spPr>
          <a:xfrm>
            <a:off x="141379" y="6581001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Source : </a:t>
            </a:r>
            <a:r>
              <a:rPr lang="en-US" sz="1200" i="1" dirty="0">
                <a:solidFill>
                  <a:schemeClr val="tx2"/>
                </a:solidFill>
                <a:latin typeface="+mj-lt"/>
              </a:rPr>
              <a:t>IPC, IPC cross-border e-commerce shopper survey 2020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802937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C5FACC1-AC02-189E-25C5-6182CE927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nl-BE" dirty="0"/>
              <a:t>Do business</a:t>
            </a:r>
            <a:endParaRPr lang="fr-BE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9BC40BA1-629A-CDF5-1031-0F05784C7C8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180000" lvl="1" indent="0" algn="ctr">
              <a:buNone/>
            </a:pPr>
            <a:endParaRPr lang="fr-BE" dirty="0">
              <a:cs typeface="Segoe UI" panose="020B0502040204020203" pitchFamily="34" charset="0"/>
            </a:endParaRPr>
          </a:p>
          <a:p>
            <a:pPr marL="180000" lvl="1" indent="0" algn="ctr">
              <a:buNone/>
            </a:pPr>
            <a:endParaRPr lang="fr-BE" sz="2800" dirty="0">
              <a:solidFill>
                <a:srgbClr val="5A5A5F"/>
              </a:solidFill>
              <a:cs typeface="Segoe UI" panose="020B0502040204020203" pitchFamily="34" charset="0"/>
            </a:endParaRPr>
          </a:p>
          <a:p>
            <a:pPr marL="180000" lvl="1" indent="0" algn="ctr">
              <a:buNone/>
            </a:pPr>
            <a:endParaRPr lang="fr-BE" sz="2800" dirty="0">
              <a:solidFill>
                <a:srgbClr val="5A5A5F"/>
              </a:solidFill>
              <a:cs typeface="Segoe UI" panose="020B0502040204020203" pitchFamily="34" charset="0"/>
            </a:endParaRPr>
          </a:p>
          <a:p>
            <a:pPr marL="180000" lvl="1" indent="0" algn="ctr">
              <a:buNone/>
            </a:pPr>
            <a:endParaRPr lang="fr-BE" sz="2800" dirty="0">
              <a:solidFill>
                <a:srgbClr val="5A5A5F"/>
              </a:solidFill>
              <a:cs typeface="Segoe UI" panose="020B0502040204020203" pitchFamily="34" charset="0"/>
            </a:endParaRPr>
          </a:p>
          <a:p>
            <a:pPr marL="180000" lvl="1" indent="0" algn="ctr">
              <a:buNone/>
            </a:pPr>
            <a:r>
              <a:rPr lang="en-US" sz="2800" dirty="0">
                <a:solidFill>
                  <a:srgbClr val="5A5A5F"/>
                </a:solidFill>
                <a:cs typeface="Segoe UI" panose="020B0502040204020203" pitchFamily="34" charset="0"/>
              </a:rPr>
              <a:t>Research shows that </a:t>
            </a:r>
            <a:r>
              <a:rPr lang="en-US" sz="2800" b="1" dirty="0">
                <a:solidFill>
                  <a:srgbClr val="5A5A5F"/>
                </a:solidFill>
                <a:cs typeface="Segoe UI" panose="020B0502040204020203" pitchFamily="34" charset="0"/>
              </a:rPr>
              <a:t>92%</a:t>
            </a:r>
            <a:r>
              <a:rPr lang="en-US" sz="2800" dirty="0">
                <a:solidFill>
                  <a:srgbClr val="5A5A5F"/>
                </a:solidFill>
                <a:cs typeface="Segoe UI" panose="020B0502040204020203" pitchFamily="34" charset="0"/>
              </a:rPr>
              <a:t> of consumers are </a:t>
            </a:r>
            <a:r>
              <a:rPr lang="en-US" sz="2800" b="1" dirty="0">
                <a:solidFill>
                  <a:srgbClr val="5A5A5F"/>
                </a:solidFill>
                <a:cs typeface="Segoe UI" panose="020B0502040204020203" pitchFamily="34" charset="0"/>
              </a:rPr>
              <a:t>incentivized</a:t>
            </a:r>
            <a:r>
              <a:rPr lang="en-US" sz="2800" dirty="0">
                <a:solidFill>
                  <a:srgbClr val="5A5A5F"/>
                </a:solidFill>
                <a:cs typeface="Segoe UI" panose="020B0502040204020203" pitchFamily="34" charset="0"/>
              </a:rPr>
              <a:t> to purchase items from a retailer that offers an </a:t>
            </a:r>
            <a:r>
              <a:rPr lang="en-US" sz="2800" b="1" dirty="0">
                <a:solidFill>
                  <a:srgbClr val="5A5A5F"/>
                </a:solidFill>
                <a:cs typeface="Segoe UI" panose="020B0502040204020203" pitchFamily="34" charset="0"/>
              </a:rPr>
              <a:t>easy returns process </a:t>
            </a:r>
          </a:p>
          <a:p>
            <a:pPr marL="180000" lvl="1" indent="0" algn="ctr">
              <a:buNone/>
            </a:pPr>
            <a:endParaRPr lang="fr-BE" sz="2800" dirty="0">
              <a:cs typeface="Segoe UI" panose="020B0502040204020203" pitchFamily="34" charset="0"/>
            </a:endParaRPr>
          </a:p>
          <a:p>
            <a:pPr marL="180000" lvl="1" indent="0" algn="ctr">
              <a:buNone/>
            </a:pPr>
            <a:endParaRPr lang="fr-BE" sz="2000" dirty="0">
              <a:cs typeface="Segoe UI" panose="020B0502040204020203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CF0F0E2-352F-1912-0898-B64377BF2A63}"/>
              </a:ext>
            </a:extLst>
          </p:cNvPr>
          <p:cNvSpPr txBox="1"/>
          <p:nvPr/>
        </p:nvSpPr>
        <p:spPr>
          <a:xfrm>
            <a:off x="3481330" y="4054207"/>
            <a:ext cx="242371" cy="121185"/>
          </a:xfrm>
          <a:prstGeom prst="rect">
            <a:avLst/>
          </a:prstGeom>
          <a:solidFill>
            <a:srgbClr val="D63547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7" name="Espace réservé du contenu 6" descr="Une image contenant ongle, Bloc de bois, personne, intérieur&#10;&#10;Description générée automatiquement">
            <a:extLst>
              <a:ext uri="{FF2B5EF4-FFF2-40B4-BE49-F238E27FC236}">
                <a16:creationId xmlns:a16="http://schemas.microsoft.com/office/drawing/2014/main" id="{FCAE3091-9222-A640-F359-48BFC8CCD4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0" y="2421140"/>
            <a:ext cx="5465763" cy="3276194"/>
          </a:xfr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B759DDE3-F362-1F8B-3BC7-1BC82C742654}"/>
              </a:ext>
            </a:extLst>
          </p:cNvPr>
          <p:cNvSpPr txBox="1"/>
          <p:nvPr/>
        </p:nvSpPr>
        <p:spPr>
          <a:xfrm>
            <a:off x="141379" y="6581001"/>
            <a:ext cx="107912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ource : </a:t>
            </a:r>
            <a:r>
              <a:rPr lang="fr-BE" sz="1200" i="1" dirty="0">
                <a:solidFill>
                  <a:schemeClr val="tx2"/>
                </a:solidFill>
              </a:rPr>
              <a:t>https://www.parcelandpostaltechnologyinternational.com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6547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3AEDE4-A58F-7872-F881-0076BEE92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7578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3AEDE4-A58F-7872-F881-0076BEE92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5" name="Image 4" descr="Une image contenant motif, Graphique, pixel, conception&#10;&#10;Description générée automatiquement">
            <a:extLst>
              <a:ext uri="{FF2B5EF4-FFF2-40B4-BE49-F238E27FC236}">
                <a16:creationId xmlns:a16="http://schemas.microsoft.com/office/drawing/2014/main" id="{B393A8F9-13E3-5B97-8B0B-2D416B029BB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3440" y="428896"/>
            <a:ext cx="6100353" cy="6100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15209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space réservé pour une image  4" descr="Une image contenant personne, Visage humain, fille, lèvre&#10;&#10;Description générée automatiquement">
            <a:extLst>
              <a:ext uri="{FF2B5EF4-FFF2-40B4-BE49-F238E27FC236}">
                <a16:creationId xmlns:a16="http://schemas.microsoft.com/office/drawing/2014/main" id="{D6338B02-54E1-6C34-EB35-0C8E4A2EEAE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3910" b="23910"/>
          <a:stretch>
            <a:fillRect/>
          </a:stretch>
        </p:blipFill>
        <p:spPr/>
      </p:pic>
      <p:sp>
        <p:nvSpPr>
          <p:cNvPr id="10" name="Organigramme : Connecteur 9">
            <a:extLst>
              <a:ext uri="{FF2B5EF4-FFF2-40B4-BE49-F238E27FC236}">
                <a16:creationId xmlns:a16="http://schemas.microsoft.com/office/drawing/2014/main" id="{62A8E1AB-FF3C-C681-FD85-94212D621957}"/>
              </a:ext>
            </a:extLst>
          </p:cNvPr>
          <p:cNvSpPr/>
          <p:nvPr/>
        </p:nvSpPr>
        <p:spPr>
          <a:xfrm>
            <a:off x="3670113" y="3474004"/>
            <a:ext cx="2214320" cy="2119972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2" name="Organigramme : Connecteur 11">
            <a:extLst>
              <a:ext uri="{FF2B5EF4-FFF2-40B4-BE49-F238E27FC236}">
                <a16:creationId xmlns:a16="http://schemas.microsoft.com/office/drawing/2014/main" id="{61BE773D-B2F1-C2A6-1F39-583BB711AA51}"/>
              </a:ext>
            </a:extLst>
          </p:cNvPr>
          <p:cNvSpPr/>
          <p:nvPr/>
        </p:nvSpPr>
        <p:spPr>
          <a:xfrm>
            <a:off x="6699509" y="3457065"/>
            <a:ext cx="2214320" cy="2119972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3" name="Organigramme : Connecteur 12">
            <a:extLst>
              <a:ext uri="{FF2B5EF4-FFF2-40B4-BE49-F238E27FC236}">
                <a16:creationId xmlns:a16="http://schemas.microsoft.com/office/drawing/2014/main" id="{19927BC4-BD1D-05C9-090B-4A49E9130651}"/>
              </a:ext>
            </a:extLst>
          </p:cNvPr>
          <p:cNvSpPr/>
          <p:nvPr/>
        </p:nvSpPr>
        <p:spPr>
          <a:xfrm>
            <a:off x="9597957" y="3474004"/>
            <a:ext cx="2214320" cy="2119972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6" name="Organigramme : Connecteur 5">
            <a:extLst>
              <a:ext uri="{FF2B5EF4-FFF2-40B4-BE49-F238E27FC236}">
                <a16:creationId xmlns:a16="http://schemas.microsoft.com/office/drawing/2014/main" id="{9E8BBA18-7919-3E90-1CDE-1D3C71A47C60}"/>
              </a:ext>
            </a:extLst>
          </p:cNvPr>
          <p:cNvSpPr/>
          <p:nvPr/>
        </p:nvSpPr>
        <p:spPr>
          <a:xfrm>
            <a:off x="640717" y="3496104"/>
            <a:ext cx="2214320" cy="2119972"/>
          </a:xfrm>
          <a:prstGeom prst="flowChartConnector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A850042-0371-4AB0-E070-767EBA299FC7}"/>
              </a:ext>
            </a:extLst>
          </p:cNvPr>
          <p:cNvSpPr txBox="1"/>
          <p:nvPr/>
        </p:nvSpPr>
        <p:spPr>
          <a:xfrm>
            <a:off x="1296400" y="4322279"/>
            <a:ext cx="9698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Digital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97D621B-8484-C530-F507-385C36BDAF80}"/>
              </a:ext>
            </a:extLst>
          </p:cNvPr>
          <p:cNvSpPr txBox="1"/>
          <p:nvPr/>
        </p:nvSpPr>
        <p:spPr>
          <a:xfrm>
            <a:off x="4385637" y="4313314"/>
            <a:ext cx="9698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Data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C9C8FD72-058F-8398-8B4E-2CBA754A1D27}"/>
              </a:ext>
            </a:extLst>
          </p:cNvPr>
          <p:cNvSpPr txBox="1"/>
          <p:nvPr/>
        </p:nvSpPr>
        <p:spPr>
          <a:xfrm>
            <a:off x="6848220" y="4313313"/>
            <a:ext cx="20744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Convenience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4D337C4E-646D-42B9-4C57-5E0C217653FB}"/>
              </a:ext>
            </a:extLst>
          </p:cNvPr>
          <p:cNvSpPr txBox="1"/>
          <p:nvPr/>
        </p:nvSpPr>
        <p:spPr>
          <a:xfrm>
            <a:off x="10265018" y="4313312"/>
            <a:ext cx="141778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Green</a:t>
            </a:r>
            <a:endParaRPr kumimoji="0" lang="fr-BE" sz="28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44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 animBg="1"/>
      <p:bldP spid="6" grpId="0" animBg="1"/>
      <p:bldP spid="2" grpId="0"/>
      <p:bldP spid="3" grpId="0"/>
      <p:bldP spid="4" grpId="0"/>
      <p:bldP spid="7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32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350B64A6-BB70-49C3-9851-B1A72D8FC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800" b="1" i="0" u="none" strike="noStrike" kern="1200" cap="none" spc="0" normalizeH="0" baseline="0" noProof="0" smtClean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800" b="1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D39648F-4669-4530-AAEF-EE378ED505C7}"/>
              </a:ext>
            </a:extLst>
          </p:cNvPr>
          <p:cNvSpPr/>
          <p:nvPr/>
        </p:nvSpPr>
        <p:spPr>
          <a:xfrm>
            <a:off x="8060266" y="417029"/>
            <a:ext cx="3529754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“Returns…</a:t>
            </a:r>
          </a:p>
          <a:p>
            <a:r>
              <a:rPr lang="en-US" sz="2800" dirty="0">
                <a:solidFill>
                  <a:schemeClr val="bg1"/>
                </a:solidFill>
              </a:rPr>
              <a:t>it is inherent to the business. </a:t>
            </a:r>
          </a:p>
          <a:p>
            <a:r>
              <a:rPr lang="en-US" sz="2800" dirty="0">
                <a:solidFill>
                  <a:schemeClr val="bg1"/>
                </a:solidFill>
              </a:rPr>
              <a:t>In itself it is </a:t>
            </a:r>
            <a:r>
              <a:rPr lang="en-US" sz="3600" b="1" dirty="0">
                <a:solidFill>
                  <a:schemeClr val="bg1"/>
                </a:solidFill>
              </a:rPr>
              <a:t>part of the game</a:t>
            </a:r>
            <a:r>
              <a:rPr lang="en-US" sz="2800" dirty="0">
                <a:solidFill>
                  <a:schemeClr val="bg1"/>
                </a:solidFill>
              </a:rPr>
              <a:t>, isn’t it ? “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09390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C22841-2895-9EF1-DD8C-E7BE76602F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</a:rPr>
              <a:t>Thank you and have a safe flight home</a:t>
            </a:r>
            <a:endParaRPr lang="fr-BE" b="1" dirty="0">
              <a:solidFill>
                <a:schemeClr val="bg1"/>
              </a:solidFill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077E104-1BB8-EB87-F43D-C62307AE9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40830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02" name="Group 2101">
            <a:extLst>
              <a:ext uri="{FF2B5EF4-FFF2-40B4-BE49-F238E27FC236}">
                <a16:creationId xmlns:a16="http://schemas.microsoft.com/office/drawing/2014/main" id="{7E548884-067F-377C-683E-7BD87E7D935F}"/>
              </a:ext>
            </a:extLst>
          </p:cNvPr>
          <p:cNvGrpSpPr/>
          <p:nvPr/>
        </p:nvGrpSpPr>
        <p:grpSpPr>
          <a:xfrm>
            <a:off x="1207604" y="1525657"/>
            <a:ext cx="10873409" cy="4949759"/>
            <a:chOff x="-715870" y="811936"/>
            <a:chExt cx="12061051" cy="5647208"/>
          </a:xfrm>
          <a:solidFill>
            <a:srgbClr val="DFE6E9"/>
          </a:solidFill>
        </p:grpSpPr>
        <p:sp>
          <p:nvSpPr>
            <p:cNvPr id="2104" name="Freeform 186">
              <a:extLst>
                <a:ext uri="{FF2B5EF4-FFF2-40B4-BE49-F238E27FC236}">
                  <a16:creationId xmlns:a16="http://schemas.microsoft.com/office/drawing/2014/main" id="{2DDA17C1-675B-2C56-E6D0-849CBDC28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715870" y="6417874"/>
              <a:ext cx="107936" cy="41270"/>
            </a:xfrm>
            <a:custGeom>
              <a:avLst/>
              <a:gdLst>
                <a:gd name="T0" fmla="*/ 13 w 29"/>
                <a:gd name="T1" fmla="*/ 2 h 11"/>
                <a:gd name="T2" fmla="*/ 3 w 29"/>
                <a:gd name="T3" fmla="*/ 5 h 11"/>
                <a:gd name="T4" fmla="*/ 19 w 29"/>
                <a:gd name="T5" fmla="*/ 8 h 11"/>
                <a:gd name="T6" fmla="*/ 29 w 29"/>
                <a:gd name="T7" fmla="*/ 7 h 11"/>
                <a:gd name="T8" fmla="*/ 13 w 29"/>
                <a:gd name="T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1">
                  <a:moveTo>
                    <a:pt x="13" y="2"/>
                  </a:moveTo>
                  <a:cubicBezTo>
                    <a:pt x="11" y="3"/>
                    <a:pt x="0" y="2"/>
                    <a:pt x="3" y="5"/>
                  </a:cubicBezTo>
                  <a:cubicBezTo>
                    <a:pt x="5" y="7"/>
                    <a:pt x="14" y="6"/>
                    <a:pt x="19" y="8"/>
                  </a:cubicBezTo>
                  <a:cubicBezTo>
                    <a:pt x="23" y="11"/>
                    <a:pt x="29" y="9"/>
                    <a:pt x="29" y="7"/>
                  </a:cubicBezTo>
                  <a:cubicBezTo>
                    <a:pt x="29" y="5"/>
                    <a:pt x="15" y="0"/>
                    <a:pt x="13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05" name="Freeform 187">
              <a:extLst>
                <a:ext uri="{FF2B5EF4-FFF2-40B4-BE49-F238E27FC236}">
                  <a16:creationId xmlns:a16="http://schemas.microsoft.com/office/drawing/2014/main" id="{5B2C3B85-D406-26F8-BC66-195786E0D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923" y="4808740"/>
              <a:ext cx="382538" cy="387301"/>
            </a:xfrm>
            <a:custGeom>
              <a:avLst/>
              <a:gdLst>
                <a:gd name="T0" fmla="*/ 38 w 102"/>
                <a:gd name="T1" fmla="*/ 98 h 103"/>
                <a:gd name="T2" fmla="*/ 42 w 102"/>
                <a:gd name="T3" fmla="*/ 96 h 103"/>
                <a:gd name="T4" fmla="*/ 47 w 102"/>
                <a:gd name="T5" fmla="*/ 101 h 103"/>
                <a:gd name="T6" fmla="*/ 57 w 102"/>
                <a:gd name="T7" fmla="*/ 101 h 103"/>
                <a:gd name="T8" fmla="*/ 62 w 102"/>
                <a:gd name="T9" fmla="*/ 96 h 103"/>
                <a:gd name="T10" fmla="*/ 62 w 102"/>
                <a:gd name="T11" fmla="*/ 43 h 103"/>
                <a:gd name="T12" fmla="*/ 70 w 102"/>
                <a:gd name="T13" fmla="*/ 40 h 103"/>
                <a:gd name="T14" fmla="*/ 70 w 102"/>
                <a:gd name="T15" fmla="*/ 12 h 103"/>
                <a:gd name="T16" fmla="*/ 78 w 102"/>
                <a:gd name="T17" fmla="*/ 11 h 103"/>
                <a:gd name="T18" fmla="*/ 87 w 102"/>
                <a:gd name="T19" fmla="*/ 9 h 103"/>
                <a:gd name="T20" fmla="*/ 91 w 102"/>
                <a:gd name="T21" fmla="*/ 12 h 103"/>
                <a:gd name="T22" fmla="*/ 97 w 102"/>
                <a:gd name="T23" fmla="*/ 8 h 103"/>
                <a:gd name="T24" fmla="*/ 102 w 102"/>
                <a:gd name="T25" fmla="*/ 7 h 103"/>
                <a:gd name="T26" fmla="*/ 102 w 102"/>
                <a:gd name="T27" fmla="*/ 5 h 103"/>
                <a:gd name="T28" fmla="*/ 85 w 102"/>
                <a:gd name="T29" fmla="*/ 7 h 103"/>
                <a:gd name="T30" fmla="*/ 72 w 102"/>
                <a:gd name="T31" fmla="*/ 7 h 103"/>
                <a:gd name="T32" fmla="*/ 55 w 102"/>
                <a:gd name="T33" fmla="*/ 7 h 103"/>
                <a:gd name="T34" fmla="*/ 52 w 102"/>
                <a:gd name="T35" fmla="*/ 5 h 103"/>
                <a:gd name="T36" fmla="*/ 24 w 102"/>
                <a:gd name="T37" fmla="*/ 5 h 103"/>
                <a:gd name="T38" fmla="*/ 17 w 102"/>
                <a:gd name="T39" fmla="*/ 3 h 103"/>
                <a:gd name="T40" fmla="*/ 9 w 102"/>
                <a:gd name="T41" fmla="*/ 2 h 103"/>
                <a:gd name="T42" fmla="*/ 6 w 102"/>
                <a:gd name="T43" fmla="*/ 0 h 103"/>
                <a:gd name="T44" fmla="*/ 3 w 102"/>
                <a:gd name="T45" fmla="*/ 3 h 103"/>
                <a:gd name="T46" fmla="*/ 0 w 102"/>
                <a:gd name="T47" fmla="*/ 3 h 103"/>
                <a:gd name="T48" fmla="*/ 5 w 102"/>
                <a:gd name="T49" fmla="*/ 14 h 103"/>
                <a:gd name="T50" fmla="*/ 13 w 102"/>
                <a:gd name="T51" fmla="*/ 30 h 103"/>
                <a:gd name="T52" fmla="*/ 21 w 102"/>
                <a:gd name="T53" fmla="*/ 47 h 103"/>
                <a:gd name="T54" fmla="*/ 21 w 102"/>
                <a:gd name="T55" fmla="*/ 60 h 103"/>
                <a:gd name="T56" fmla="*/ 24 w 102"/>
                <a:gd name="T57" fmla="*/ 73 h 103"/>
                <a:gd name="T58" fmla="*/ 29 w 102"/>
                <a:gd name="T59" fmla="*/ 93 h 103"/>
                <a:gd name="T60" fmla="*/ 34 w 102"/>
                <a:gd name="T61" fmla="*/ 99 h 103"/>
                <a:gd name="T62" fmla="*/ 38 w 102"/>
                <a:gd name="T63" fmla="*/ 9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2" h="103">
                  <a:moveTo>
                    <a:pt x="38" y="98"/>
                  </a:moveTo>
                  <a:cubicBezTo>
                    <a:pt x="38" y="96"/>
                    <a:pt x="41" y="93"/>
                    <a:pt x="42" y="96"/>
                  </a:cubicBezTo>
                  <a:cubicBezTo>
                    <a:pt x="44" y="98"/>
                    <a:pt x="43" y="101"/>
                    <a:pt x="47" y="101"/>
                  </a:cubicBezTo>
                  <a:cubicBezTo>
                    <a:pt x="50" y="101"/>
                    <a:pt x="56" y="103"/>
                    <a:pt x="57" y="101"/>
                  </a:cubicBezTo>
                  <a:cubicBezTo>
                    <a:pt x="58" y="100"/>
                    <a:pt x="62" y="99"/>
                    <a:pt x="62" y="96"/>
                  </a:cubicBezTo>
                  <a:cubicBezTo>
                    <a:pt x="62" y="93"/>
                    <a:pt x="62" y="45"/>
                    <a:pt x="62" y="43"/>
                  </a:cubicBezTo>
                  <a:cubicBezTo>
                    <a:pt x="62" y="41"/>
                    <a:pt x="70" y="43"/>
                    <a:pt x="70" y="40"/>
                  </a:cubicBezTo>
                  <a:cubicBezTo>
                    <a:pt x="70" y="37"/>
                    <a:pt x="70" y="12"/>
                    <a:pt x="70" y="12"/>
                  </a:cubicBezTo>
                  <a:cubicBezTo>
                    <a:pt x="70" y="12"/>
                    <a:pt x="76" y="12"/>
                    <a:pt x="78" y="11"/>
                  </a:cubicBezTo>
                  <a:cubicBezTo>
                    <a:pt x="80" y="11"/>
                    <a:pt x="85" y="8"/>
                    <a:pt x="87" y="9"/>
                  </a:cubicBezTo>
                  <a:cubicBezTo>
                    <a:pt x="88" y="10"/>
                    <a:pt x="90" y="13"/>
                    <a:pt x="91" y="12"/>
                  </a:cubicBezTo>
                  <a:cubicBezTo>
                    <a:pt x="92" y="11"/>
                    <a:pt x="94" y="8"/>
                    <a:pt x="97" y="8"/>
                  </a:cubicBezTo>
                  <a:cubicBezTo>
                    <a:pt x="98" y="8"/>
                    <a:pt x="100" y="8"/>
                    <a:pt x="102" y="7"/>
                  </a:cubicBezTo>
                  <a:cubicBezTo>
                    <a:pt x="102" y="6"/>
                    <a:pt x="102" y="6"/>
                    <a:pt x="102" y="5"/>
                  </a:cubicBezTo>
                  <a:cubicBezTo>
                    <a:pt x="102" y="3"/>
                    <a:pt x="87" y="6"/>
                    <a:pt x="85" y="7"/>
                  </a:cubicBezTo>
                  <a:cubicBezTo>
                    <a:pt x="82" y="7"/>
                    <a:pt x="75" y="9"/>
                    <a:pt x="72" y="7"/>
                  </a:cubicBezTo>
                  <a:cubicBezTo>
                    <a:pt x="70" y="6"/>
                    <a:pt x="55" y="7"/>
                    <a:pt x="55" y="7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27" y="5"/>
                    <a:pt x="24" y="5"/>
                  </a:cubicBezTo>
                  <a:cubicBezTo>
                    <a:pt x="21" y="5"/>
                    <a:pt x="19" y="4"/>
                    <a:pt x="17" y="3"/>
                  </a:cubicBezTo>
                  <a:cubicBezTo>
                    <a:pt x="14" y="1"/>
                    <a:pt x="12" y="1"/>
                    <a:pt x="9" y="2"/>
                  </a:cubicBezTo>
                  <a:cubicBezTo>
                    <a:pt x="6" y="3"/>
                    <a:pt x="8" y="0"/>
                    <a:pt x="6" y="0"/>
                  </a:cubicBezTo>
                  <a:cubicBezTo>
                    <a:pt x="4" y="0"/>
                    <a:pt x="3" y="3"/>
                    <a:pt x="3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6"/>
                    <a:pt x="2" y="10"/>
                    <a:pt x="5" y="14"/>
                  </a:cubicBezTo>
                  <a:cubicBezTo>
                    <a:pt x="7" y="17"/>
                    <a:pt x="11" y="24"/>
                    <a:pt x="13" y="30"/>
                  </a:cubicBezTo>
                  <a:cubicBezTo>
                    <a:pt x="14" y="36"/>
                    <a:pt x="19" y="42"/>
                    <a:pt x="21" y="47"/>
                  </a:cubicBezTo>
                  <a:cubicBezTo>
                    <a:pt x="22" y="51"/>
                    <a:pt x="20" y="58"/>
                    <a:pt x="21" y="60"/>
                  </a:cubicBezTo>
                  <a:cubicBezTo>
                    <a:pt x="22" y="63"/>
                    <a:pt x="23" y="68"/>
                    <a:pt x="24" y="73"/>
                  </a:cubicBezTo>
                  <a:cubicBezTo>
                    <a:pt x="25" y="78"/>
                    <a:pt x="25" y="88"/>
                    <a:pt x="29" y="93"/>
                  </a:cubicBezTo>
                  <a:cubicBezTo>
                    <a:pt x="31" y="94"/>
                    <a:pt x="33" y="96"/>
                    <a:pt x="34" y="99"/>
                  </a:cubicBezTo>
                  <a:cubicBezTo>
                    <a:pt x="36" y="99"/>
                    <a:pt x="38" y="99"/>
                    <a:pt x="38" y="9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06" name="Freeform 188">
              <a:extLst>
                <a:ext uri="{FF2B5EF4-FFF2-40B4-BE49-F238E27FC236}">
                  <a16:creationId xmlns:a16="http://schemas.microsoft.com/office/drawing/2014/main" id="{FD3BED10-6288-D0B5-8946-55E1410CA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3460" y="4767469"/>
              <a:ext cx="242856" cy="211112"/>
            </a:xfrm>
            <a:custGeom>
              <a:avLst/>
              <a:gdLst>
                <a:gd name="T0" fmla="*/ 43 w 65"/>
                <a:gd name="T1" fmla="*/ 3 h 56"/>
                <a:gd name="T2" fmla="*/ 42 w 65"/>
                <a:gd name="T3" fmla="*/ 0 h 56"/>
                <a:gd name="T4" fmla="*/ 35 w 65"/>
                <a:gd name="T5" fmla="*/ 0 h 56"/>
                <a:gd name="T6" fmla="*/ 30 w 65"/>
                <a:gd name="T7" fmla="*/ 4 h 56"/>
                <a:gd name="T8" fmla="*/ 23 w 65"/>
                <a:gd name="T9" fmla="*/ 10 h 56"/>
                <a:gd name="T10" fmla="*/ 15 w 65"/>
                <a:gd name="T11" fmla="*/ 19 h 56"/>
                <a:gd name="T12" fmla="*/ 4 w 65"/>
                <a:gd name="T13" fmla="*/ 18 h 56"/>
                <a:gd name="T14" fmla="*/ 0 w 65"/>
                <a:gd name="T15" fmla="*/ 18 h 56"/>
                <a:gd name="T16" fmla="*/ 5 w 65"/>
                <a:gd name="T17" fmla="*/ 23 h 56"/>
                <a:gd name="T18" fmla="*/ 9 w 65"/>
                <a:gd name="T19" fmla="*/ 32 h 56"/>
                <a:gd name="T20" fmla="*/ 17 w 65"/>
                <a:gd name="T21" fmla="*/ 38 h 56"/>
                <a:gd name="T22" fmla="*/ 21 w 65"/>
                <a:gd name="T23" fmla="*/ 44 h 56"/>
                <a:gd name="T24" fmla="*/ 26 w 65"/>
                <a:gd name="T25" fmla="*/ 50 h 56"/>
                <a:gd name="T26" fmla="*/ 32 w 65"/>
                <a:gd name="T27" fmla="*/ 53 h 56"/>
                <a:gd name="T28" fmla="*/ 40 w 65"/>
                <a:gd name="T29" fmla="*/ 55 h 56"/>
                <a:gd name="T30" fmla="*/ 49 w 65"/>
                <a:gd name="T31" fmla="*/ 56 h 56"/>
                <a:gd name="T32" fmla="*/ 57 w 65"/>
                <a:gd name="T33" fmla="*/ 48 h 56"/>
                <a:gd name="T34" fmla="*/ 59 w 65"/>
                <a:gd name="T35" fmla="*/ 40 h 56"/>
                <a:gd name="T36" fmla="*/ 63 w 65"/>
                <a:gd name="T37" fmla="*/ 34 h 56"/>
                <a:gd name="T38" fmla="*/ 61 w 65"/>
                <a:gd name="T39" fmla="*/ 28 h 56"/>
                <a:gd name="T40" fmla="*/ 63 w 65"/>
                <a:gd name="T41" fmla="*/ 21 h 56"/>
                <a:gd name="T42" fmla="*/ 63 w 65"/>
                <a:gd name="T43" fmla="*/ 9 h 56"/>
                <a:gd name="T44" fmla="*/ 53 w 65"/>
                <a:gd name="T45" fmla="*/ 5 h 56"/>
                <a:gd name="T46" fmla="*/ 43 w 65"/>
                <a:gd name="T47" fmla="*/ 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56">
                  <a:moveTo>
                    <a:pt x="43" y="3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0" y="2"/>
                    <a:pt x="30" y="3"/>
                    <a:pt x="30" y="4"/>
                  </a:cubicBezTo>
                  <a:cubicBezTo>
                    <a:pt x="30" y="6"/>
                    <a:pt x="26" y="9"/>
                    <a:pt x="23" y="10"/>
                  </a:cubicBezTo>
                  <a:cubicBezTo>
                    <a:pt x="20" y="11"/>
                    <a:pt x="16" y="18"/>
                    <a:pt x="15" y="19"/>
                  </a:cubicBezTo>
                  <a:cubicBezTo>
                    <a:pt x="13" y="20"/>
                    <a:pt x="6" y="18"/>
                    <a:pt x="4" y="18"/>
                  </a:cubicBezTo>
                  <a:cubicBezTo>
                    <a:pt x="4" y="17"/>
                    <a:pt x="2" y="18"/>
                    <a:pt x="0" y="18"/>
                  </a:cubicBezTo>
                  <a:cubicBezTo>
                    <a:pt x="1" y="20"/>
                    <a:pt x="4" y="23"/>
                    <a:pt x="5" y="23"/>
                  </a:cubicBezTo>
                  <a:cubicBezTo>
                    <a:pt x="6" y="23"/>
                    <a:pt x="6" y="31"/>
                    <a:pt x="9" y="32"/>
                  </a:cubicBezTo>
                  <a:cubicBezTo>
                    <a:pt x="12" y="34"/>
                    <a:pt x="17" y="36"/>
                    <a:pt x="17" y="38"/>
                  </a:cubicBezTo>
                  <a:cubicBezTo>
                    <a:pt x="17" y="40"/>
                    <a:pt x="21" y="42"/>
                    <a:pt x="21" y="44"/>
                  </a:cubicBezTo>
                  <a:cubicBezTo>
                    <a:pt x="21" y="46"/>
                    <a:pt x="24" y="50"/>
                    <a:pt x="26" y="50"/>
                  </a:cubicBezTo>
                  <a:cubicBezTo>
                    <a:pt x="31" y="50"/>
                    <a:pt x="32" y="52"/>
                    <a:pt x="32" y="53"/>
                  </a:cubicBezTo>
                  <a:cubicBezTo>
                    <a:pt x="32" y="55"/>
                    <a:pt x="39" y="53"/>
                    <a:pt x="40" y="55"/>
                  </a:cubicBezTo>
                  <a:cubicBezTo>
                    <a:pt x="40" y="56"/>
                    <a:pt x="47" y="55"/>
                    <a:pt x="49" y="56"/>
                  </a:cubicBezTo>
                  <a:cubicBezTo>
                    <a:pt x="51" y="54"/>
                    <a:pt x="55" y="50"/>
                    <a:pt x="57" y="48"/>
                  </a:cubicBezTo>
                  <a:cubicBezTo>
                    <a:pt x="59" y="45"/>
                    <a:pt x="57" y="41"/>
                    <a:pt x="59" y="40"/>
                  </a:cubicBezTo>
                  <a:cubicBezTo>
                    <a:pt x="61" y="39"/>
                    <a:pt x="65" y="35"/>
                    <a:pt x="63" y="34"/>
                  </a:cubicBezTo>
                  <a:cubicBezTo>
                    <a:pt x="62" y="34"/>
                    <a:pt x="63" y="30"/>
                    <a:pt x="61" y="28"/>
                  </a:cubicBezTo>
                  <a:cubicBezTo>
                    <a:pt x="59" y="26"/>
                    <a:pt x="63" y="25"/>
                    <a:pt x="63" y="21"/>
                  </a:cubicBezTo>
                  <a:cubicBezTo>
                    <a:pt x="63" y="17"/>
                    <a:pt x="64" y="9"/>
                    <a:pt x="63" y="9"/>
                  </a:cubicBezTo>
                  <a:cubicBezTo>
                    <a:pt x="61" y="8"/>
                    <a:pt x="56" y="7"/>
                    <a:pt x="53" y="5"/>
                  </a:cubicBezTo>
                  <a:cubicBezTo>
                    <a:pt x="50" y="3"/>
                    <a:pt x="43" y="3"/>
                    <a:pt x="43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07" name="Freeform 189">
              <a:extLst>
                <a:ext uri="{FF2B5EF4-FFF2-40B4-BE49-F238E27FC236}">
                  <a16:creationId xmlns:a16="http://schemas.microsoft.com/office/drawing/2014/main" id="{A77B6FFC-4F6E-B1D4-E07B-DAB63B6664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671" y="4835720"/>
              <a:ext cx="269840" cy="292062"/>
            </a:xfrm>
            <a:custGeom>
              <a:avLst/>
              <a:gdLst>
                <a:gd name="T0" fmla="*/ 66 w 72"/>
                <a:gd name="T1" fmla="*/ 32 h 78"/>
                <a:gd name="T2" fmla="*/ 61 w 72"/>
                <a:gd name="T3" fmla="*/ 26 h 78"/>
                <a:gd name="T4" fmla="*/ 57 w 72"/>
                <a:gd name="T5" fmla="*/ 20 h 78"/>
                <a:gd name="T6" fmla="*/ 49 w 72"/>
                <a:gd name="T7" fmla="*/ 14 h 78"/>
                <a:gd name="T8" fmla="*/ 45 w 72"/>
                <a:gd name="T9" fmla="*/ 5 h 78"/>
                <a:gd name="T10" fmla="*/ 40 w 72"/>
                <a:gd name="T11" fmla="*/ 0 h 78"/>
                <a:gd name="T12" fmla="*/ 35 w 72"/>
                <a:gd name="T13" fmla="*/ 1 h 78"/>
                <a:gd name="T14" fmla="*/ 29 w 72"/>
                <a:gd name="T15" fmla="*/ 5 h 78"/>
                <a:gd name="T16" fmla="*/ 25 w 72"/>
                <a:gd name="T17" fmla="*/ 2 h 78"/>
                <a:gd name="T18" fmla="*/ 16 w 72"/>
                <a:gd name="T19" fmla="*/ 4 h 78"/>
                <a:gd name="T20" fmla="*/ 8 w 72"/>
                <a:gd name="T21" fmla="*/ 5 h 78"/>
                <a:gd name="T22" fmla="*/ 8 w 72"/>
                <a:gd name="T23" fmla="*/ 33 h 78"/>
                <a:gd name="T24" fmla="*/ 0 w 72"/>
                <a:gd name="T25" fmla="*/ 36 h 78"/>
                <a:gd name="T26" fmla="*/ 0 w 72"/>
                <a:gd name="T27" fmla="*/ 60 h 78"/>
                <a:gd name="T28" fmla="*/ 4 w 72"/>
                <a:gd name="T29" fmla="*/ 62 h 78"/>
                <a:gd name="T30" fmla="*/ 7 w 72"/>
                <a:gd name="T31" fmla="*/ 71 h 78"/>
                <a:gd name="T32" fmla="*/ 5 w 72"/>
                <a:gd name="T33" fmla="*/ 73 h 78"/>
                <a:gd name="T34" fmla="*/ 6 w 72"/>
                <a:gd name="T35" fmla="*/ 77 h 78"/>
                <a:gd name="T36" fmla="*/ 14 w 72"/>
                <a:gd name="T37" fmla="*/ 76 h 78"/>
                <a:gd name="T38" fmla="*/ 22 w 72"/>
                <a:gd name="T39" fmla="*/ 68 h 78"/>
                <a:gd name="T40" fmla="*/ 27 w 72"/>
                <a:gd name="T41" fmla="*/ 64 h 78"/>
                <a:gd name="T42" fmla="*/ 37 w 72"/>
                <a:gd name="T43" fmla="*/ 67 h 78"/>
                <a:gd name="T44" fmla="*/ 44 w 72"/>
                <a:gd name="T45" fmla="*/ 63 h 78"/>
                <a:gd name="T46" fmla="*/ 47 w 72"/>
                <a:gd name="T47" fmla="*/ 57 h 78"/>
                <a:gd name="T48" fmla="*/ 54 w 72"/>
                <a:gd name="T49" fmla="*/ 52 h 78"/>
                <a:gd name="T50" fmla="*/ 58 w 72"/>
                <a:gd name="T51" fmla="*/ 47 h 78"/>
                <a:gd name="T52" fmla="*/ 64 w 72"/>
                <a:gd name="T53" fmla="*/ 42 h 78"/>
                <a:gd name="T54" fmla="*/ 69 w 72"/>
                <a:gd name="T55" fmla="*/ 39 h 78"/>
                <a:gd name="T56" fmla="*/ 72 w 72"/>
                <a:gd name="T57" fmla="*/ 35 h 78"/>
                <a:gd name="T58" fmla="*/ 72 w 72"/>
                <a:gd name="T59" fmla="*/ 35 h 78"/>
                <a:gd name="T60" fmla="*/ 66 w 72"/>
                <a:gd name="T61" fmla="*/ 3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78">
                  <a:moveTo>
                    <a:pt x="66" y="32"/>
                  </a:moveTo>
                  <a:cubicBezTo>
                    <a:pt x="64" y="32"/>
                    <a:pt x="61" y="28"/>
                    <a:pt x="61" y="26"/>
                  </a:cubicBezTo>
                  <a:cubicBezTo>
                    <a:pt x="61" y="24"/>
                    <a:pt x="57" y="22"/>
                    <a:pt x="57" y="20"/>
                  </a:cubicBezTo>
                  <a:cubicBezTo>
                    <a:pt x="57" y="18"/>
                    <a:pt x="52" y="16"/>
                    <a:pt x="49" y="14"/>
                  </a:cubicBezTo>
                  <a:cubicBezTo>
                    <a:pt x="46" y="13"/>
                    <a:pt x="46" y="5"/>
                    <a:pt x="45" y="5"/>
                  </a:cubicBezTo>
                  <a:cubicBezTo>
                    <a:pt x="44" y="5"/>
                    <a:pt x="41" y="2"/>
                    <a:pt x="40" y="0"/>
                  </a:cubicBezTo>
                  <a:cubicBezTo>
                    <a:pt x="38" y="1"/>
                    <a:pt x="36" y="1"/>
                    <a:pt x="35" y="1"/>
                  </a:cubicBezTo>
                  <a:cubicBezTo>
                    <a:pt x="32" y="1"/>
                    <a:pt x="30" y="4"/>
                    <a:pt x="29" y="5"/>
                  </a:cubicBezTo>
                  <a:cubicBezTo>
                    <a:pt x="28" y="6"/>
                    <a:pt x="26" y="3"/>
                    <a:pt x="25" y="2"/>
                  </a:cubicBezTo>
                  <a:cubicBezTo>
                    <a:pt x="23" y="1"/>
                    <a:pt x="18" y="4"/>
                    <a:pt x="16" y="4"/>
                  </a:cubicBezTo>
                  <a:cubicBezTo>
                    <a:pt x="14" y="5"/>
                    <a:pt x="8" y="5"/>
                    <a:pt x="8" y="5"/>
                  </a:cubicBezTo>
                  <a:cubicBezTo>
                    <a:pt x="8" y="5"/>
                    <a:pt x="8" y="30"/>
                    <a:pt x="8" y="33"/>
                  </a:cubicBezTo>
                  <a:cubicBezTo>
                    <a:pt x="8" y="36"/>
                    <a:pt x="0" y="34"/>
                    <a:pt x="0" y="36"/>
                  </a:cubicBezTo>
                  <a:cubicBezTo>
                    <a:pt x="0" y="37"/>
                    <a:pt x="0" y="48"/>
                    <a:pt x="0" y="60"/>
                  </a:cubicBezTo>
                  <a:cubicBezTo>
                    <a:pt x="2" y="60"/>
                    <a:pt x="4" y="61"/>
                    <a:pt x="4" y="62"/>
                  </a:cubicBezTo>
                  <a:cubicBezTo>
                    <a:pt x="5" y="64"/>
                    <a:pt x="7" y="70"/>
                    <a:pt x="7" y="71"/>
                  </a:cubicBezTo>
                  <a:cubicBezTo>
                    <a:pt x="6" y="73"/>
                    <a:pt x="5" y="72"/>
                    <a:pt x="5" y="73"/>
                  </a:cubicBezTo>
                  <a:cubicBezTo>
                    <a:pt x="5" y="74"/>
                    <a:pt x="4" y="77"/>
                    <a:pt x="6" y="77"/>
                  </a:cubicBezTo>
                  <a:cubicBezTo>
                    <a:pt x="9" y="77"/>
                    <a:pt x="13" y="78"/>
                    <a:pt x="14" y="76"/>
                  </a:cubicBezTo>
                  <a:cubicBezTo>
                    <a:pt x="16" y="74"/>
                    <a:pt x="22" y="70"/>
                    <a:pt x="22" y="68"/>
                  </a:cubicBezTo>
                  <a:cubicBezTo>
                    <a:pt x="22" y="66"/>
                    <a:pt x="23" y="61"/>
                    <a:pt x="27" y="64"/>
                  </a:cubicBezTo>
                  <a:cubicBezTo>
                    <a:pt x="31" y="66"/>
                    <a:pt x="32" y="67"/>
                    <a:pt x="37" y="67"/>
                  </a:cubicBezTo>
                  <a:cubicBezTo>
                    <a:pt x="42" y="67"/>
                    <a:pt x="43" y="66"/>
                    <a:pt x="44" y="63"/>
                  </a:cubicBezTo>
                  <a:cubicBezTo>
                    <a:pt x="45" y="60"/>
                    <a:pt x="44" y="57"/>
                    <a:pt x="47" y="57"/>
                  </a:cubicBezTo>
                  <a:cubicBezTo>
                    <a:pt x="51" y="57"/>
                    <a:pt x="54" y="54"/>
                    <a:pt x="54" y="52"/>
                  </a:cubicBezTo>
                  <a:cubicBezTo>
                    <a:pt x="54" y="50"/>
                    <a:pt x="56" y="47"/>
                    <a:pt x="58" y="47"/>
                  </a:cubicBezTo>
                  <a:cubicBezTo>
                    <a:pt x="60" y="47"/>
                    <a:pt x="64" y="44"/>
                    <a:pt x="64" y="42"/>
                  </a:cubicBezTo>
                  <a:cubicBezTo>
                    <a:pt x="65" y="39"/>
                    <a:pt x="68" y="40"/>
                    <a:pt x="69" y="39"/>
                  </a:cubicBezTo>
                  <a:cubicBezTo>
                    <a:pt x="70" y="38"/>
                    <a:pt x="71" y="37"/>
                    <a:pt x="72" y="35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4"/>
                    <a:pt x="71" y="32"/>
                    <a:pt x="66" y="3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08" name="Freeform 190">
              <a:extLst>
                <a:ext uri="{FF2B5EF4-FFF2-40B4-BE49-F238E27FC236}">
                  <a16:creationId xmlns:a16="http://schemas.microsoft.com/office/drawing/2014/main" id="{1D3AF8B7-B0CB-E960-0F6D-5D4DC3526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1713" y="5078576"/>
              <a:ext cx="38095" cy="52381"/>
            </a:xfrm>
            <a:custGeom>
              <a:avLst/>
              <a:gdLst>
                <a:gd name="T0" fmla="*/ 5 w 10"/>
                <a:gd name="T1" fmla="*/ 0 h 14"/>
                <a:gd name="T2" fmla="*/ 0 w 10"/>
                <a:gd name="T3" fmla="*/ 6 h 14"/>
                <a:gd name="T4" fmla="*/ 5 w 10"/>
                <a:gd name="T5" fmla="*/ 13 h 14"/>
                <a:gd name="T6" fmla="*/ 9 w 10"/>
                <a:gd name="T7" fmla="*/ 12 h 14"/>
                <a:gd name="T8" fmla="*/ 10 w 10"/>
                <a:gd name="T9" fmla="*/ 10 h 14"/>
                <a:gd name="T10" fmla="*/ 10 w 10"/>
                <a:gd name="T11" fmla="*/ 3 h 14"/>
                <a:gd name="T12" fmla="*/ 5 w 10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4">
                  <a:moveTo>
                    <a:pt x="5" y="0"/>
                  </a:moveTo>
                  <a:cubicBezTo>
                    <a:pt x="3" y="0"/>
                    <a:pt x="0" y="5"/>
                    <a:pt x="0" y="6"/>
                  </a:cubicBezTo>
                  <a:cubicBezTo>
                    <a:pt x="0" y="7"/>
                    <a:pt x="2" y="13"/>
                    <a:pt x="5" y="13"/>
                  </a:cubicBezTo>
                  <a:cubicBezTo>
                    <a:pt x="7" y="14"/>
                    <a:pt x="9" y="13"/>
                    <a:pt x="9" y="12"/>
                  </a:cubicBezTo>
                  <a:cubicBezTo>
                    <a:pt x="9" y="11"/>
                    <a:pt x="10" y="10"/>
                    <a:pt x="10" y="10"/>
                  </a:cubicBezTo>
                  <a:cubicBezTo>
                    <a:pt x="10" y="8"/>
                    <a:pt x="10" y="5"/>
                    <a:pt x="10" y="3"/>
                  </a:cubicBezTo>
                  <a:cubicBezTo>
                    <a:pt x="8" y="2"/>
                    <a:pt x="6" y="0"/>
                    <a:pt x="5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09" name="Freeform 191">
              <a:extLst>
                <a:ext uri="{FF2B5EF4-FFF2-40B4-BE49-F238E27FC236}">
                  <a16:creationId xmlns:a16="http://schemas.microsoft.com/office/drawing/2014/main" id="{CBF4B452-9C9F-9DE0-3B18-E2E05B2400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3782" y="5173819"/>
              <a:ext cx="66666" cy="74603"/>
            </a:xfrm>
            <a:custGeom>
              <a:avLst/>
              <a:gdLst>
                <a:gd name="T0" fmla="*/ 12 w 18"/>
                <a:gd name="T1" fmla="*/ 2 h 20"/>
                <a:gd name="T2" fmla="*/ 4 w 18"/>
                <a:gd name="T3" fmla="*/ 5 h 20"/>
                <a:gd name="T4" fmla="*/ 0 w 18"/>
                <a:gd name="T5" fmla="*/ 13 h 20"/>
                <a:gd name="T6" fmla="*/ 4 w 18"/>
                <a:gd name="T7" fmla="*/ 19 h 20"/>
                <a:gd name="T8" fmla="*/ 8 w 18"/>
                <a:gd name="T9" fmla="*/ 20 h 20"/>
                <a:gd name="T10" fmla="*/ 10 w 18"/>
                <a:gd name="T11" fmla="*/ 15 h 20"/>
                <a:gd name="T12" fmla="*/ 15 w 18"/>
                <a:gd name="T13" fmla="*/ 14 h 20"/>
                <a:gd name="T14" fmla="*/ 18 w 18"/>
                <a:gd name="T15" fmla="*/ 8 h 20"/>
                <a:gd name="T16" fmla="*/ 12 w 18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20">
                  <a:moveTo>
                    <a:pt x="12" y="2"/>
                  </a:moveTo>
                  <a:cubicBezTo>
                    <a:pt x="11" y="0"/>
                    <a:pt x="5" y="3"/>
                    <a:pt x="4" y="5"/>
                  </a:cubicBezTo>
                  <a:cubicBezTo>
                    <a:pt x="3" y="7"/>
                    <a:pt x="0" y="13"/>
                    <a:pt x="0" y="1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17"/>
                    <a:pt x="10" y="15"/>
                  </a:cubicBezTo>
                  <a:cubicBezTo>
                    <a:pt x="10" y="13"/>
                    <a:pt x="15" y="16"/>
                    <a:pt x="15" y="14"/>
                  </a:cubicBezTo>
                  <a:cubicBezTo>
                    <a:pt x="15" y="12"/>
                    <a:pt x="18" y="10"/>
                    <a:pt x="18" y="8"/>
                  </a:cubicBezTo>
                  <a:cubicBezTo>
                    <a:pt x="18" y="6"/>
                    <a:pt x="13" y="4"/>
                    <a:pt x="12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10" name="Freeform 192">
              <a:extLst>
                <a:ext uri="{FF2B5EF4-FFF2-40B4-BE49-F238E27FC236}">
                  <a16:creationId xmlns:a16="http://schemas.microsoft.com/office/drawing/2014/main" id="{11EF8228-6867-EAC1-7971-7425210549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57910" y="4965883"/>
              <a:ext cx="487300" cy="428569"/>
            </a:xfrm>
            <a:custGeom>
              <a:avLst/>
              <a:gdLst>
                <a:gd name="T0" fmla="*/ 124 w 130"/>
                <a:gd name="T1" fmla="*/ 42 h 114"/>
                <a:gd name="T2" fmla="*/ 123 w 130"/>
                <a:gd name="T3" fmla="*/ 42 h 114"/>
                <a:gd name="T4" fmla="*/ 122 w 130"/>
                <a:gd name="T5" fmla="*/ 44 h 114"/>
                <a:gd name="T6" fmla="*/ 118 w 130"/>
                <a:gd name="T7" fmla="*/ 45 h 114"/>
                <a:gd name="T8" fmla="*/ 113 w 130"/>
                <a:gd name="T9" fmla="*/ 38 h 114"/>
                <a:gd name="T10" fmla="*/ 118 w 130"/>
                <a:gd name="T11" fmla="*/ 32 h 114"/>
                <a:gd name="T12" fmla="*/ 123 w 130"/>
                <a:gd name="T13" fmla="*/ 35 h 114"/>
                <a:gd name="T14" fmla="*/ 123 w 130"/>
                <a:gd name="T15" fmla="*/ 33 h 114"/>
                <a:gd name="T16" fmla="*/ 122 w 130"/>
                <a:gd name="T17" fmla="*/ 18 h 114"/>
                <a:gd name="T18" fmla="*/ 117 w 130"/>
                <a:gd name="T19" fmla="*/ 3 h 114"/>
                <a:gd name="T20" fmla="*/ 108 w 130"/>
                <a:gd name="T21" fmla="*/ 2 h 114"/>
                <a:gd name="T22" fmla="*/ 100 w 130"/>
                <a:gd name="T23" fmla="*/ 0 h 114"/>
                <a:gd name="T24" fmla="*/ 97 w 130"/>
                <a:gd name="T25" fmla="*/ 4 h 114"/>
                <a:gd name="T26" fmla="*/ 92 w 130"/>
                <a:gd name="T27" fmla="*/ 7 h 114"/>
                <a:gd name="T28" fmla="*/ 86 w 130"/>
                <a:gd name="T29" fmla="*/ 12 h 114"/>
                <a:gd name="T30" fmla="*/ 82 w 130"/>
                <a:gd name="T31" fmla="*/ 17 h 114"/>
                <a:gd name="T32" fmla="*/ 75 w 130"/>
                <a:gd name="T33" fmla="*/ 22 h 114"/>
                <a:gd name="T34" fmla="*/ 72 w 130"/>
                <a:gd name="T35" fmla="*/ 28 h 114"/>
                <a:gd name="T36" fmla="*/ 65 w 130"/>
                <a:gd name="T37" fmla="*/ 32 h 114"/>
                <a:gd name="T38" fmla="*/ 55 w 130"/>
                <a:gd name="T39" fmla="*/ 29 h 114"/>
                <a:gd name="T40" fmla="*/ 50 w 130"/>
                <a:gd name="T41" fmla="*/ 33 h 114"/>
                <a:gd name="T42" fmla="*/ 42 w 130"/>
                <a:gd name="T43" fmla="*/ 41 h 114"/>
                <a:gd name="T44" fmla="*/ 34 w 130"/>
                <a:gd name="T45" fmla="*/ 42 h 114"/>
                <a:gd name="T46" fmla="*/ 33 w 130"/>
                <a:gd name="T47" fmla="*/ 38 h 114"/>
                <a:gd name="T48" fmla="*/ 35 w 130"/>
                <a:gd name="T49" fmla="*/ 36 h 114"/>
                <a:gd name="T50" fmla="*/ 32 w 130"/>
                <a:gd name="T51" fmla="*/ 27 h 114"/>
                <a:gd name="T52" fmla="*/ 28 w 130"/>
                <a:gd name="T53" fmla="*/ 25 h 114"/>
                <a:gd name="T54" fmla="*/ 28 w 130"/>
                <a:gd name="T55" fmla="*/ 54 h 114"/>
                <a:gd name="T56" fmla="*/ 23 w 130"/>
                <a:gd name="T57" fmla="*/ 59 h 114"/>
                <a:gd name="T58" fmla="*/ 13 w 130"/>
                <a:gd name="T59" fmla="*/ 59 h 114"/>
                <a:gd name="T60" fmla="*/ 8 w 130"/>
                <a:gd name="T61" fmla="*/ 54 h 114"/>
                <a:gd name="T62" fmla="*/ 4 w 130"/>
                <a:gd name="T63" fmla="*/ 56 h 114"/>
                <a:gd name="T64" fmla="*/ 0 w 130"/>
                <a:gd name="T65" fmla="*/ 57 h 114"/>
                <a:gd name="T66" fmla="*/ 7 w 130"/>
                <a:gd name="T67" fmla="*/ 70 h 114"/>
                <a:gd name="T68" fmla="*/ 14 w 130"/>
                <a:gd name="T69" fmla="*/ 86 h 114"/>
                <a:gd name="T70" fmla="*/ 14 w 130"/>
                <a:gd name="T71" fmla="*/ 93 h 114"/>
                <a:gd name="T72" fmla="*/ 14 w 130"/>
                <a:gd name="T73" fmla="*/ 100 h 114"/>
                <a:gd name="T74" fmla="*/ 17 w 130"/>
                <a:gd name="T75" fmla="*/ 107 h 114"/>
                <a:gd name="T76" fmla="*/ 20 w 130"/>
                <a:gd name="T77" fmla="*/ 109 h 114"/>
                <a:gd name="T78" fmla="*/ 25 w 130"/>
                <a:gd name="T79" fmla="*/ 112 h 114"/>
                <a:gd name="T80" fmla="*/ 30 w 130"/>
                <a:gd name="T81" fmla="*/ 112 h 114"/>
                <a:gd name="T82" fmla="*/ 39 w 130"/>
                <a:gd name="T83" fmla="*/ 109 h 114"/>
                <a:gd name="T84" fmla="*/ 47 w 130"/>
                <a:gd name="T85" fmla="*/ 106 h 114"/>
                <a:gd name="T86" fmla="*/ 59 w 130"/>
                <a:gd name="T87" fmla="*/ 106 h 114"/>
                <a:gd name="T88" fmla="*/ 67 w 130"/>
                <a:gd name="T89" fmla="*/ 105 h 114"/>
                <a:gd name="T90" fmla="*/ 72 w 130"/>
                <a:gd name="T91" fmla="*/ 104 h 114"/>
                <a:gd name="T92" fmla="*/ 79 w 130"/>
                <a:gd name="T93" fmla="*/ 102 h 114"/>
                <a:gd name="T94" fmla="*/ 95 w 130"/>
                <a:gd name="T95" fmla="*/ 91 h 114"/>
                <a:gd name="T96" fmla="*/ 114 w 130"/>
                <a:gd name="T97" fmla="*/ 68 h 114"/>
                <a:gd name="T98" fmla="*/ 126 w 130"/>
                <a:gd name="T99" fmla="*/ 55 h 114"/>
                <a:gd name="T100" fmla="*/ 130 w 130"/>
                <a:gd name="T101" fmla="*/ 42 h 114"/>
                <a:gd name="T102" fmla="*/ 124 w 130"/>
                <a:gd name="T103" fmla="*/ 42 h 114"/>
                <a:gd name="T104" fmla="*/ 99 w 130"/>
                <a:gd name="T105" fmla="*/ 69 h 114"/>
                <a:gd name="T106" fmla="*/ 94 w 130"/>
                <a:gd name="T107" fmla="*/ 70 h 114"/>
                <a:gd name="T108" fmla="*/ 92 w 130"/>
                <a:gd name="T109" fmla="*/ 75 h 114"/>
                <a:gd name="T110" fmla="*/ 88 w 130"/>
                <a:gd name="T111" fmla="*/ 74 h 114"/>
                <a:gd name="T112" fmla="*/ 84 w 130"/>
                <a:gd name="T113" fmla="*/ 68 h 114"/>
                <a:gd name="T114" fmla="*/ 88 w 130"/>
                <a:gd name="T115" fmla="*/ 60 h 114"/>
                <a:gd name="T116" fmla="*/ 96 w 130"/>
                <a:gd name="T117" fmla="*/ 57 h 114"/>
                <a:gd name="T118" fmla="*/ 102 w 130"/>
                <a:gd name="T119" fmla="*/ 63 h 114"/>
                <a:gd name="T120" fmla="*/ 99 w 130"/>
                <a:gd name="T121" fmla="*/ 6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" h="114">
                  <a:moveTo>
                    <a:pt x="124" y="42"/>
                  </a:moveTo>
                  <a:cubicBezTo>
                    <a:pt x="124" y="42"/>
                    <a:pt x="124" y="42"/>
                    <a:pt x="123" y="42"/>
                  </a:cubicBezTo>
                  <a:cubicBezTo>
                    <a:pt x="123" y="42"/>
                    <a:pt x="122" y="43"/>
                    <a:pt x="122" y="44"/>
                  </a:cubicBezTo>
                  <a:cubicBezTo>
                    <a:pt x="122" y="45"/>
                    <a:pt x="120" y="46"/>
                    <a:pt x="118" y="45"/>
                  </a:cubicBezTo>
                  <a:cubicBezTo>
                    <a:pt x="115" y="45"/>
                    <a:pt x="113" y="39"/>
                    <a:pt x="113" y="38"/>
                  </a:cubicBezTo>
                  <a:cubicBezTo>
                    <a:pt x="113" y="37"/>
                    <a:pt x="116" y="32"/>
                    <a:pt x="118" y="32"/>
                  </a:cubicBezTo>
                  <a:cubicBezTo>
                    <a:pt x="119" y="32"/>
                    <a:pt x="121" y="34"/>
                    <a:pt x="123" y="35"/>
                  </a:cubicBezTo>
                  <a:cubicBezTo>
                    <a:pt x="123" y="34"/>
                    <a:pt x="123" y="33"/>
                    <a:pt x="123" y="33"/>
                  </a:cubicBezTo>
                  <a:cubicBezTo>
                    <a:pt x="123" y="32"/>
                    <a:pt x="124" y="20"/>
                    <a:pt x="122" y="18"/>
                  </a:cubicBezTo>
                  <a:cubicBezTo>
                    <a:pt x="120" y="17"/>
                    <a:pt x="118" y="5"/>
                    <a:pt x="117" y="3"/>
                  </a:cubicBezTo>
                  <a:cubicBezTo>
                    <a:pt x="116" y="2"/>
                    <a:pt x="108" y="3"/>
                    <a:pt x="108" y="2"/>
                  </a:cubicBezTo>
                  <a:cubicBezTo>
                    <a:pt x="107" y="0"/>
                    <a:pt x="100" y="1"/>
                    <a:pt x="100" y="0"/>
                  </a:cubicBezTo>
                  <a:cubicBezTo>
                    <a:pt x="99" y="2"/>
                    <a:pt x="98" y="3"/>
                    <a:pt x="97" y="4"/>
                  </a:cubicBezTo>
                  <a:cubicBezTo>
                    <a:pt x="96" y="5"/>
                    <a:pt x="93" y="4"/>
                    <a:pt x="92" y="7"/>
                  </a:cubicBezTo>
                  <a:cubicBezTo>
                    <a:pt x="92" y="9"/>
                    <a:pt x="88" y="12"/>
                    <a:pt x="86" y="12"/>
                  </a:cubicBezTo>
                  <a:cubicBezTo>
                    <a:pt x="84" y="12"/>
                    <a:pt x="82" y="15"/>
                    <a:pt x="82" y="17"/>
                  </a:cubicBezTo>
                  <a:cubicBezTo>
                    <a:pt x="82" y="19"/>
                    <a:pt x="79" y="22"/>
                    <a:pt x="75" y="22"/>
                  </a:cubicBezTo>
                  <a:cubicBezTo>
                    <a:pt x="72" y="22"/>
                    <a:pt x="73" y="25"/>
                    <a:pt x="72" y="28"/>
                  </a:cubicBezTo>
                  <a:cubicBezTo>
                    <a:pt x="71" y="31"/>
                    <a:pt x="70" y="32"/>
                    <a:pt x="65" y="32"/>
                  </a:cubicBezTo>
                  <a:cubicBezTo>
                    <a:pt x="60" y="32"/>
                    <a:pt x="59" y="31"/>
                    <a:pt x="55" y="29"/>
                  </a:cubicBezTo>
                  <a:cubicBezTo>
                    <a:pt x="51" y="26"/>
                    <a:pt x="50" y="31"/>
                    <a:pt x="50" y="33"/>
                  </a:cubicBezTo>
                  <a:cubicBezTo>
                    <a:pt x="50" y="35"/>
                    <a:pt x="44" y="39"/>
                    <a:pt x="42" y="41"/>
                  </a:cubicBezTo>
                  <a:cubicBezTo>
                    <a:pt x="41" y="43"/>
                    <a:pt x="37" y="42"/>
                    <a:pt x="34" y="42"/>
                  </a:cubicBezTo>
                  <a:cubicBezTo>
                    <a:pt x="32" y="42"/>
                    <a:pt x="33" y="39"/>
                    <a:pt x="33" y="38"/>
                  </a:cubicBezTo>
                  <a:cubicBezTo>
                    <a:pt x="33" y="37"/>
                    <a:pt x="34" y="38"/>
                    <a:pt x="35" y="36"/>
                  </a:cubicBezTo>
                  <a:cubicBezTo>
                    <a:pt x="35" y="35"/>
                    <a:pt x="33" y="29"/>
                    <a:pt x="32" y="27"/>
                  </a:cubicBezTo>
                  <a:cubicBezTo>
                    <a:pt x="32" y="26"/>
                    <a:pt x="30" y="25"/>
                    <a:pt x="28" y="25"/>
                  </a:cubicBezTo>
                  <a:cubicBezTo>
                    <a:pt x="28" y="38"/>
                    <a:pt x="28" y="53"/>
                    <a:pt x="28" y="54"/>
                  </a:cubicBezTo>
                  <a:cubicBezTo>
                    <a:pt x="28" y="57"/>
                    <a:pt x="24" y="58"/>
                    <a:pt x="23" y="59"/>
                  </a:cubicBezTo>
                  <a:cubicBezTo>
                    <a:pt x="22" y="61"/>
                    <a:pt x="16" y="59"/>
                    <a:pt x="13" y="59"/>
                  </a:cubicBezTo>
                  <a:cubicBezTo>
                    <a:pt x="9" y="59"/>
                    <a:pt x="10" y="56"/>
                    <a:pt x="8" y="54"/>
                  </a:cubicBezTo>
                  <a:cubicBezTo>
                    <a:pt x="7" y="51"/>
                    <a:pt x="4" y="54"/>
                    <a:pt x="4" y="56"/>
                  </a:cubicBezTo>
                  <a:cubicBezTo>
                    <a:pt x="4" y="57"/>
                    <a:pt x="2" y="57"/>
                    <a:pt x="0" y="57"/>
                  </a:cubicBezTo>
                  <a:cubicBezTo>
                    <a:pt x="3" y="61"/>
                    <a:pt x="5" y="66"/>
                    <a:pt x="7" y="70"/>
                  </a:cubicBezTo>
                  <a:cubicBezTo>
                    <a:pt x="8" y="76"/>
                    <a:pt x="13" y="82"/>
                    <a:pt x="14" y="86"/>
                  </a:cubicBezTo>
                  <a:cubicBezTo>
                    <a:pt x="15" y="89"/>
                    <a:pt x="17" y="93"/>
                    <a:pt x="14" y="93"/>
                  </a:cubicBezTo>
                  <a:cubicBezTo>
                    <a:pt x="12" y="94"/>
                    <a:pt x="12" y="96"/>
                    <a:pt x="14" y="100"/>
                  </a:cubicBezTo>
                  <a:cubicBezTo>
                    <a:pt x="17" y="104"/>
                    <a:pt x="15" y="106"/>
                    <a:pt x="17" y="107"/>
                  </a:cubicBezTo>
                  <a:cubicBezTo>
                    <a:pt x="19" y="107"/>
                    <a:pt x="19" y="109"/>
                    <a:pt x="20" y="109"/>
                  </a:cubicBezTo>
                  <a:cubicBezTo>
                    <a:pt x="22" y="109"/>
                    <a:pt x="23" y="111"/>
                    <a:pt x="25" y="112"/>
                  </a:cubicBezTo>
                  <a:cubicBezTo>
                    <a:pt x="26" y="114"/>
                    <a:pt x="28" y="114"/>
                    <a:pt x="30" y="112"/>
                  </a:cubicBezTo>
                  <a:cubicBezTo>
                    <a:pt x="31" y="110"/>
                    <a:pt x="35" y="109"/>
                    <a:pt x="39" y="109"/>
                  </a:cubicBezTo>
                  <a:cubicBezTo>
                    <a:pt x="43" y="109"/>
                    <a:pt x="43" y="107"/>
                    <a:pt x="47" y="106"/>
                  </a:cubicBezTo>
                  <a:cubicBezTo>
                    <a:pt x="51" y="105"/>
                    <a:pt x="56" y="105"/>
                    <a:pt x="59" y="106"/>
                  </a:cubicBezTo>
                  <a:cubicBezTo>
                    <a:pt x="63" y="107"/>
                    <a:pt x="65" y="106"/>
                    <a:pt x="67" y="105"/>
                  </a:cubicBezTo>
                  <a:cubicBezTo>
                    <a:pt x="68" y="104"/>
                    <a:pt x="72" y="107"/>
                    <a:pt x="72" y="104"/>
                  </a:cubicBezTo>
                  <a:cubicBezTo>
                    <a:pt x="72" y="101"/>
                    <a:pt x="75" y="102"/>
                    <a:pt x="79" y="102"/>
                  </a:cubicBezTo>
                  <a:cubicBezTo>
                    <a:pt x="82" y="102"/>
                    <a:pt x="89" y="97"/>
                    <a:pt x="95" y="91"/>
                  </a:cubicBezTo>
                  <a:cubicBezTo>
                    <a:pt x="101" y="86"/>
                    <a:pt x="111" y="74"/>
                    <a:pt x="114" y="68"/>
                  </a:cubicBezTo>
                  <a:cubicBezTo>
                    <a:pt x="118" y="62"/>
                    <a:pt x="123" y="58"/>
                    <a:pt x="126" y="55"/>
                  </a:cubicBezTo>
                  <a:cubicBezTo>
                    <a:pt x="128" y="53"/>
                    <a:pt x="129" y="47"/>
                    <a:pt x="130" y="42"/>
                  </a:cubicBezTo>
                  <a:cubicBezTo>
                    <a:pt x="127" y="42"/>
                    <a:pt x="124" y="42"/>
                    <a:pt x="124" y="42"/>
                  </a:cubicBezTo>
                  <a:close/>
                  <a:moveTo>
                    <a:pt x="99" y="69"/>
                  </a:moveTo>
                  <a:cubicBezTo>
                    <a:pt x="99" y="71"/>
                    <a:pt x="94" y="68"/>
                    <a:pt x="94" y="70"/>
                  </a:cubicBezTo>
                  <a:cubicBezTo>
                    <a:pt x="93" y="72"/>
                    <a:pt x="92" y="75"/>
                    <a:pt x="92" y="75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8"/>
                    <a:pt x="87" y="62"/>
                    <a:pt x="88" y="60"/>
                  </a:cubicBezTo>
                  <a:cubicBezTo>
                    <a:pt x="89" y="58"/>
                    <a:pt x="95" y="55"/>
                    <a:pt x="96" y="57"/>
                  </a:cubicBezTo>
                  <a:cubicBezTo>
                    <a:pt x="97" y="59"/>
                    <a:pt x="102" y="61"/>
                    <a:pt x="102" y="63"/>
                  </a:cubicBezTo>
                  <a:cubicBezTo>
                    <a:pt x="102" y="65"/>
                    <a:pt x="99" y="67"/>
                    <a:pt x="99" y="6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11" name="Freeform 193">
              <a:extLst>
                <a:ext uri="{FF2B5EF4-FFF2-40B4-BE49-F238E27FC236}">
                  <a16:creationId xmlns:a16="http://schemas.microsoft.com/office/drawing/2014/main" id="{5A0A9064-5C6D-13AC-4D55-2A519259B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928" y="4467470"/>
              <a:ext cx="352379" cy="374602"/>
            </a:xfrm>
            <a:custGeom>
              <a:avLst/>
              <a:gdLst>
                <a:gd name="T0" fmla="*/ 6 w 94"/>
                <a:gd name="T1" fmla="*/ 91 h 100"/>
                <a:gd name="T2" fmla="*/ 9 w 94"/>
                <a:gd name="T3" fmla="*/ 93 h 100"/>
                <a:gd name="T4" fmla="*/ 17 w 94"/>
                <a:gd name="T5" fmla="*/ 94 h 100"/>
                <a:gd name="T6" fmla="*/ 24 w 94"/>
                <a:gd name="T7" fmla="*/ 96 h 100"/>
                <a:gd name="T8" fmla="*/ 52 w 94"/>
                <a:gd name="T9" fmla="*/ 96 h 100"/>
                <a:gd name="T10" fmla="*/ 55 w 94"/>
                <a:gd name="T11" fmla="*/ 98 h 100"/>
                <a:gd name="T12" fmla="*/ 72 w 94"/>
                <a:gd name="T13" fmla="*/ 98 h 100"/>
                <a:gd name="T14" fmla="*/ 85 w 94"/>
                <a:gd name="T15" fmla="*/ 98 h 100"/>
                <a:gd name="T16" fmla="*/ 87 w 94"/>
                <a:gd name="T17" fmla="*/ 97 h 100"/>
                <a:gd name="T18" fmla="*/ 78 w 94"/>
                <a:gd name="T19" fmla="*/ 84 h 100"/>
                <a:gd name="T20" fmla="*/ 79 w 94"/>
                <a:gd name="T21" fmla="*/ 58 h 100"/>
                <a:gd name="T22" fmla="*/ 91 w 94"/>
                <a:gd name="T23" fmla="*/ 58 h 100"/>
                <a:gd name="T24" fmla="*/ 93 w 94"/>
                <a:gd name="T25" fmla="*/ 56 h 100"/>
                <a:gd name="T26" fmla="*/ 94 w 94"/>
                <a:gd name="T27" fmla="*/ 40 h 100"/>
                <a:gd name="T28" fmla="*/ 92 w 94"/>
                <a:gd name="T29" fmla="*/ 40 h 100"/>
                <a:gd name="T30" fmla="*/ 85 w 94"/>
                <a:gd name="T31" fmla="*/ 41 h 100"/>
                <a:gd name="T32" fmla="*/ 81 w 94"/>
                <a:gd name="T33" fmla="*/ 43 h 100"/>
                <a:gd name="T34" fmla="*/ 81 w 94"/>
                <a:gd name="T35" fmla="*/ 36 h 100"/>
                <a:gd name="T36" fmla="*/ 77 w 94"/>
                <a:gd name="T37" fmla="*/ 30 h 100"/>
                <a:gd name="T38" fmla="*/ 78 w 94"/>
                <a:gd name="T39" fmla="*/ 19 h 100"/>
                <a:gd name="T40" fmla="*/ 76 w 94"/>
                <a:gd name="T41" fmla="*/ 12 h 100"/>
                <a:gd name="T42" fmla="*/ 71 w 94"/>
                <a:gd name="T43" fmla="*/ 11 h 100"/>
                <a:gd name="T44" fmla="*/ 67 w 94"/>
                <a:gd name="T45" fmla="*/ 9 h 100"/>
                <a:gd name="T46" fmla="*/ 61 w 94"/>
                <a:gd name="T47" fmla="*/ 9 h 100"/>
                <a:gd name="T48" fmla="*/ 58 w 94"/>
                <a:gd name="T49" fmla="*/ 16 h 100"/>
                <a:gd name="T50" fmla="*/ 48 w 94"/>
                <a:gd name="T51" fmla="*/ 18 h 100"/>
                <a:gd name="T52" fmla="*/ 41 w 94"/>
                <a:gd name="T53" fmla="*/ 13 h 100"/>
                <a:gd name="T54" fmla="*/ 38 w 94"/>
                <a:gd name="T55" fmla="*/ 7 h 100"/>
                <a:gd name="T56" fmla="*/ 37 w 94"/>
                <a:gd name="T57" fmla="*/ 0 h 100"/>
                <a:gd name="T58" fmla="*/ 11 w 94"/>
                <a:gd name="T59" fmla="*/ 0 h 100"/>
                <a:gd name="T60" fmla="*/ 6 w 94"/>
                <a:gd name="T61" fmla="*/ 3 h 100"/>
                <a:gd name="T62" fmla="*/ 13 w 94"/>
                <a:gd name="T63" fmla="*/ 19 h 100"/>
                <a:gd name="T64" fmla="*/ 12 w 94"/>
                <a:gd name="T65" fmla="*/ 28 h 100"/>
                <a:gd name="T66" fmla="*/ 17 w 94"/>
                <a:gd name="T67" fmla="*/ 45 h 100"/>
                <a:gd name="T68" fmla="*/ 11 w 94"/>
                <a:gd name="T69" fmla="*/ 56 h 100"/>
                <a:gd name="T70" fmla="*/ 5 w 94"/>
                <a:gd name="T71" fmla="*/ 72 h 100"/>
                <a:gd name="T72" fmla="*/ 1 w 94"/>
                <a:gd name="T73" fmla="*/ 83 h 100"/>
                <a:gd name="T74" fmla="*/ 0 w 94"/>
                <a:gd name="T75" fmla="*/ 94 h 100"/>
                <a:gd name="T76" fmla="*/ 0 w 94"/>
                <a:gd name="T77" fmla="*/ 94 h 100"/>
                <a:gd name="T78" fmla="*/ 3 w 94"/>
                <a:gd name="T79" fmla="*/ 94 h 100"/>
                <a:gd name="T80" fmla="*/ 6 w 94"/>
                <a:gd name="T81" fmla="*/ 9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4" h="100">
                  <a:moveTo>
                    <a:pt x="6" y="91"/>
                  </a:moveTo>
                  <a:cubicBezTo>
                    <a:pt x="8" y="91"/>
                    <a:pt x="6" y="94"/>
                    <a:pt x="9" y="93"/>
                  </a:cubicBezTo>
                  <a:cubicBezTo>
                    <a:pt x="12" y="92"/>
                    <a:pt x="14" y="92"/>
                    <a:pt x="17" y="94"/>
                  </a:cubicBezTo>
                  <a:cubicBezTo>
                    <a:pt x="19" y="95"/>
                    <a:pt x="21" y="96"/>
                    <a:pt x="24" y="96"/>
                  </a:cubicBezTo>
                  <a:cubicBezTo>
                    <a:pt x="27" y="96"/>
                    <a:pt x="52" y="96"/>
                    <a:pt x="52" y="96"/>
                  </a:cubicBezTo>
                  <a:cubicBezTo>
                    <a:pt x="55" y="98"/>
                    <a:pt x="55" y="98"/>
                    <a:pt x="55" y="98"/>
                  </a:cubicBezTo>
                  <a:cubicBezTo>
                    <a:pt x="55" y="98"/>
                    <a:pt x="70" y="97"/>
                    <a:pt x="72" y="98"/>
                  </a:cubicBezTo>
                  <a:cubicBezTo>
                    <a:pt x="75" y="100"/>
                    <a:pt x="82" y="98"/>
                    <a:pt x="85" y="98"/>
                  </a:cubicBezTo>
                  <a:cubicBezTo>
                    <a:pt x="85" y="97"/>
                    <a:pt x="86" y="97"/>
                    <a:pt x="87" y="97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91" y="58"/>
                    <a:pt x="91" y="58"/>
                    <a:pt x="91" y="58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0"/>
                    <a:pt x="93" y="40"/>
                    <a:pt x="92" y="40"/>
                  </a:cubicBezTo>
                  <a:cubicBezTo>
                    <a:pt x="90" y="41"/>
                    <a:pt x="87" y="41"/>
                    <a:pt x="85" y="41"/>
                  </a:cubicBezTo>
                  <a:cubicBezTo>
                    <a:pt x="82" y="41"/>
                    <a:pt x="82" y="43"/>
                    <a:pt x="81" y="43"/>
                  </a:cubicBezTo>
                  <a:cubicBezTo>
                    <a:pt x="79" y="42"/>
                    <a:pt x="80" y="38"/>
                    <a:pt x="81" y="36"/>
                  </a:cubicBezTo>
                  <a:cubicBezTo>
                    <a:pt x="81" y="35"/>
                    <a:pt x="79" y="31"/>
                    <a:pt x="77" y="30"/>
                  </a:cubicBezTo>
                  <a:cubicBezTo>
                    <a:pt x="75" y="29"/>
                    <a:pt x="79" y="20"/>
                    <a:pt x="78" y="19"/>
                  </a:cubicBezTo>
                  <a:cubicBezTo>
                    <a:pt x="77" y="18"/>
                    <a:pt x="76" y="15"/>
                    <a:pt x="76" y="12"/>
                  </a:cubicBezTo>
                  <a:cubicBezTo>
                    <a:pt x="76" y="10"/>
                    <a:pt x="75" y="11"/>
                    <a:pt x="71" y="11"/>
                  </a:cubicBezTo>
                  <a:cubicBezTo>
                    <a:pt x="67" y="11"/>
                    <a:pt x="67" y="9"/>
                    <a:pt x="67" y="9"/>
                  </a:cubicBezTo>
                  <a:cubicBezTo>
                    <a:pt x="67" y="9"/>
                    <a:pt x="63" y="8"/>
                    <a:pt x="61" y="9"/>
                  </a:cubicBezTo>
                  <a:cubicBezTo>
                    <a:pt x="59" y="10"/>
                    <a:pt x="59" y="17"/>
                    <a:pt x="58" y="16"/>
                  </a:cubicBezTo>
                  <a:cubicBezTo>
                    <a:pt x="56" y="16"/>
                    <a:pt x="52" y="17"/>
                    <a:pt x="48" y="18"/>
                  </a:cubicBezTo>
                  <a:cubicBezTo>
                    <a:pt x="45" y="19"/>
                    <a:pt x="43" y="17"/>
                    <a:pt x="41" y="13"/>
                  </a:cubicBezTo>
                  <a:cubicBezTo>
                    <a:pt x="40" y="9"/>
                    <a:pt x="38" y="10"/>
                    <a:pt x="38" y="7"/>
                  </a:cubicBezTo>
                  <a:cubicBezTo>
                    <a:pt x="39" y="4"/>
                    <a:pt x="37" y="0"/>
                    <a:pt x="37" y="0"/>
                  </a:cubicBezTo>
                  <a:cubicBezTo>
                    <a:pt x="37" y="0"/>
                    <a:pt x="13" y="0"/>
                    <a:pt x="11" y="0"/>
                  </a:cubicBezTo>
                  <a:cubicBezTo>
                    <a:pt x="10" y="0"/>
                    <a:pt x="8" y="1"/>
                    <a:pt x="6" y="3"/>
                  </a:cubicBezTo>
                  <a:cubicBezTo>
                    <a:pt x="8" y="8"/>
                    <a:pt x="12" y="17"/>
                    <a:pt x="13" y="19"/>
                  </a:cubicBezTo>
                  <a:cubicBezTo>
                    <a:pt x="14" y="22"/>
                    <a:pt x="12" y="24"/>
                    <a:pt x="12" y="28"/>
                  </a:cubicBezTo>
                  <a:cubicBezTo>
                    <a:pt x="12" y="32"/>
                    <a:pt x="16" y="40"/>
                    <a:pt x="17" y="45"/>
                  </a:cubicBezTo>
                  <a:cubicBezTo>
                    <a:pt x="17" y="50"/>
                    <a:pt x="14" y="53"/>
                    <a:pt x="11" y="56"/>
                  </a:cubicBezTo>
                  <a:cubicBezTo>
                    <a:pt x="8" y="60"/>
                    <a:pt x="5" y="67"/>
                    <a:pt x="5" y="72"/>
                  </a:cubicBezTo>
                  <a:cubicBezTo>
                    <a:pt x="5" y="76"/>
                    <a:pt x="1" y="81"/>
                    <a:pt x="1" y="83"/>
                  </a:cubicBezTo>
                  <a:cubicBezTo>
                    <a:pt x="1" y="85"/>
                    <a:pt x="1" y="91"/>
                    <a:pt x="0" y="94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" y="94"/>
                    <a:pt x="3" y="94"/>
                    <a:pt x="3" y="94"/>
                  </a:cubicBezTo>
                  <a:cubicBezTo>
                    <a:pt x="3" y="94"/>
                    <a:pt x="4" y="91"/>
                    <a:pt x="6" y="9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24" name="Freeform 194">
              <a:extLst>
                <a:ext uri="{FF2B5EF4-FFF2-40B4-BE49-F238E27FC236}">
                  <a16:creationId xmlns:a16="http://schemas.microsoft.com/office/drawing/2014/main" id="{FD17FC6E-914F-E724-D305-1E4F32114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2989" y="4538902"/>
              <a:ext cx="346030" cy="303174"/>
            </a:xfrm>
            <a:custGeom>
              <a:avLst/>
              <a:gdLst>
                <a:gd name="T0" fmla="*/ 71 w 92"/>
                <a:gd name="T1" fmla="*/ 3 h 81"/>
                <a:gd name="T2" fmla="*/ 65 w 92"/>
                <a:gd name="T3" fmla="*/ 0 h 81"/>
                <a:gd name="T4" fmla="*/ 55 w 92"/>
                <a:gd name="T5" fmla="*/ 1 h 81"/>
                <a:gd name="T6" fmla="*/ 53 w 92"/>
                <a:gd name="T7" fmla="*/ 6 h 81"/>
                <a:gd name="T8" fmla="*/ 52 w 92"/>
                <a:gd name="T9" fmla="*/ 11 h 81"/>
                <a:gd name="T10" fmla="*/ 52 w 92"/>
                <a:gd name="T11" fmla="*/ 20 h 81"/>
                <a:gd name="T12" fmla="*/ 50 w 92"/>
                <a:gd name="T13" fmla="*/ 27 h 81"/>
                <a:gd name="T14" fmla="*/ 55 w 92"/>
                <a:gd name="T15" fmla="*/ 33 h 81"/>
                <a:gd name="T16" fmla="*/ 61 w 92"/>
                <a:gd name="T17" fmla="*/ 32 h 81"/>
                <a:gd name="T18" fmla="*/ 62 w 92"/>
                <a:gd name="T19" fmla="*/ 37 h 81"/>
                <a:gd name="T20" fmla="*/ 60 w 92"/>
                <a:gd name="T21" fmla="*/ 41 h 81"/>
                <a:gd name="T22" fmla="*/ 55 w 92"/>
                <a:gd name="T23" fmla="*/ 41 h 81"/>
                <a:gd name="T24" fmla="*/ 52 w 92"/>
                <a:gd name="T25" fmla="*/ 34 h 81"/>
                <a:gd name="T26" fmla="*/ 45 w 92"/>
                <a:gd name="T27" fmla="*/ 33 h 81"/>
                <a:gd name="T28" fmla="*/ 41 w 92"/>
                <a:gd name="T29" fmla="*/ 28 h 81"/>
                <a:gd name="T30" fmla="*/ 38 w 92"/>
                <a:gd name="T31" fmla="*/ 30 h 81"/>
                <a:gd name="T32" fmla="*/ 35 w 92"/>
                <a:gd name="T33" fmla="*/ 31 h 81"/>
                <a:gd name="T34" fmla="*/ 28 w 92"/>
                <a:gd name="T35" fmla="*/ 28 h 81"/>
                <a:gd name="T36" fmla="*/ 26 w 92"/>
                <a:gd name="T37" fmla="*/ 25 h 81"/>
                <a:gd name="T38" fmla="*/ 21 w 92"/>
                <a:gd name="T39" fmla="*/ 25 h 81"/>
                <a:gd name="T40" fmla="*/ 18 w 92"/>
                <a:gd name="T41" fmla="*/ 23 h 81"/>
                <a:gd name="T42" fmla="*/ 16 w 92"/>
                <a:gd name="T43" fmla="*/ 21 h 81"/>
                <a:gd name="T44" fmla="*/ 15 w 92"/>
                <a:gd name="T45" fmla="*/ 37 h 81"/>
                <a:gd name="T46" fmla="*/ 13 w 92"/>
                <a:gd name="T47" fmla="*/ 39 h 81"/>
                <a:gd name="T48" fmla="*/ 1 w 92"/>
                <a:gd name="T49" fmla="*/ 39 h 81"/>
                <a:gd name="T50" fmla="*/ 0 w 92"/>
                <a:gd name="T51" fmla="*/ 65 h 81"/>
                <a:gd name="T52" fmla="*/ 9 w 92"/>
                <a:gd name="T53" fmla="*/ 78 h 81"/>
                <a:gd name="T54" fmla="*/ 24 w 92"/>
                <a:gd name="T55" fmla="*/ 77 h 81"/>
                <a:gd name="T56" fmla="*/ 24 w 92"/>
                <a:gd name="T57" fmla="*/ 79 h 81"/>
                <a:gd name="T58" fmla="*/ 28 w 92"/>
                <a:gd name="T59" fmla="*/ 79 h 81"/>
                <a:gd name="T60" fmla="*/ 39 w 92"/>
                <a:gd name="T61" fmla="*/ 80 h 81"/>
                <a:gd name="T62" fmla="*/ 47 w 92"/>
                <a:gd name="T63" fmla="*/ 71 h 81"/>
                <a:gd name="T64" fmla="*/ 54 w 92"/>
                <a:gd name="T65" fmla="*/ 65 h 81"/>
                <a:gd name="T66" fmla="*/ 59 w 92"/>
                <a:gd name="T67" fmla="*/ 61 h 81"/>
                <a:gd name="T68" fmla="*/ 66 w 92"/>
                <a:gd name="T69" fmla="*/ 61 h 81"/>
                <a:gd name="T70" fmla="*/ 66 w 92"/>
                <a:gd name="T71" fmla="*/ 61 h 81"/>
                <a:gd name="T72" fmla="*/ 65 w 92"/>
                <a:gd name="T73" fmla="*/ 55 h 81"/>
                <a:gd name="T74" fmla="*/ 87 w 92"/>
                <a:gd name="T75" fmla="*/ 47 h 81"/>
                <a:gd name="T76" fmla="*/ 85 w 92"/>
                <a:gd name="T77" fmla="*/ 44 h 81"/>
                <a:gd name="T78" fmla="*/ 87 w 92"/>
                <a:gd name="T79" fmla="*/ 36 h 81"/>
                <a:gd name="T80" fmla="*/ 90 w 92"/>
                <a:gd name="T81" fmla="*/ 34 h 81"/>
                <a:gd name="T82" fmla="*/ 89 w 92"/>
                <a:gd name="T83" fmla="*/ 21 h 81"/>
                <a:gd name="T84" fmla="*/ 92 w 92"/>
                <a:gd name="T85" fmla="*/ 19 h 81"/>
                <a:gd name="T86" fmla="*/ 89 w 92"/>
                <a:gd name="T87" fmla="*/ 10 h 81"/>
                <a:gd name="T88" fmla="*/ 78 w 92"/>
                <a:gd name="T89" fmla="*/ 6 h 81"/>
                <a:gd name="T90" fmla="*/ 71 w 92"/>
                <a:gd name="T91" fmla="*/ 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2" h="81">
                  <a:moveTo>
                    <a:pt x="71" y="3"/>
                  </a:moveTo>
                  <a:cubicBezTo>
                    <a:pt x="70" y="3"/>
                    <a:pt x="67" y="1"/>
                    <a:pt x="65" y="0"/>
                  </a:cubicBezTo>
                  <a:cubicBezTo>
                    <a:pt x="64" y="1"/>
                    <a:pt x="58" y="1"/>
                    <a:pt x="55" y="1"/>
                  </a:cubicBezTo>
                  <a:cubicBezTo>
                    <a:pt x="53" y="1"/>
                    <a:pt x="55" y="5"/>
                    <a:pt x="53" y="6"/>
                  </a:cubicBezTo>
                  <a:cubicBezTo>
                    <a:pt x="52" y="8"/>
                    <a:pt x="51" y="10"/>
                    <a:pt x="52" y="11"/>
                  </a:cubicBezTo>
                  <a:cubicBezTo>
                    <a:pt x="54" y="11"/>
                    <a:pt x="52" y="17"/>
                    <a:pt x="52" y="20"/>
                  </a:cubicBezTo>
                  <a:cubicBezTo>
                    <a:pt x="52" y="22"/>
                    <a:pt x="49" y="26"/>
                    <a:pt x="50" y="27"/>
                  </a:cubicBezTo>
                  <a:cubicBezTo>
                    <a:pt x="51" y="28"/>
                    <a:pt x="53" y="33"/>
                    <a:pt x="55" y="33"/>
                  </a:cubicBezTo>
                  <a:cubicBezTo>
                    <a:pt x="58" y="34"/>
                    <a:pt x="60" y="32"/>
                    <a:pt x="61" y="32"/>
                  </a:cubicBezTo>
                  <a:cubicBezTo>
                    <a:pt x="62" y="32"/>
                    <a:pt x="62" y="35"/>
                    <a:pt x="62" y="37"/>
                  </a:cubicBezTo>
                  <a:cubicBezTo>
                    <a:pt x="62" y="40"/>
                    <a:pt x="60" y="41"/>
                    <a:pt x="60" y="41"/>
                  </a:cubicBezTo>
                  <a:cubicBezTo>
                    <a:pt x="60" y="41"/>
                    <a:pt x="57" y="42"/>
                    <a:pt x="55" y="41"/>
                  </a:cubicBezTo>
                  <a:cubicBezTo>
                    <a:pt x="53" y="40"/>
                    <a:pt x="52" y="36"/>
                    <a:pt x="52" y="34"/>
                  </a:cubicBezTo>
                  <a:cubicBezTo>
                    <a:pt x="52" y="33"/>
                    <a:pt x="47" y="33"/>
                    <a:pt x="45" y="33"/>
                  </a:cubicBezTo>
                  <a:cubicBezTo>
                    <a:pt x="44" y="33"/>
                    <a:pt x="42" y="30"/>
                    <a:pt x="41" y="28"/>
                  </a:cubicBezTo>
                  <a:cubicBezTo>
                    <a:pt x="40" y="27"/>
                    <a:pt x="38" y="28"/>
                    <a:pt x="38" y="30"/>
                  </a:cubicBezTo>
                  <a:cubicBezTo>
                    <a:pt x="38" y="31"/>
                    <a:pt x="37" y="31"/>
                    <a:pt x="35" y="31"/>
                  </a:cubicBezTo>
                  <a:cubicBezTo>
                    <a:pt x="33" y="31"/>
                    <a:pt x="29" y="28"/>
                    <a:pt x="28" y="28"/>
                  </a:cubicBezTo>
                  <a:cubicBezTo>
                    <a:pt x="27" y="29"/>
                    <a:pt x="25" y="26"/>
                    <a:pt x="26" y="25"/>
                  </a:cubicBezTo>
                  <a:cubicBezTo>
                    <a:pt x="26" y="23"/>
                    <a:pt x="22" y="24"/>
                    <a:pt x="21" y="25"/>
                  </a:cubicBezTo>
                  <a:cubicBezTo>
                    <a:pt x="19" y="26"/>
                    <a:pt x="18" y="23"/>
                    <a:pt x="18" y="23"/>
                  </a:cubicBezTo>
                  <a:cubicBezTo>
                    <a:pt x="18" y="23"/>
                    <a:pt x="18" y="22"/>
                    <a:pt x="16" y="21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14" y="77"/>
                    <a:pt x="24" y="76"/>
                    <a:pt x="24" y="77"/>
                  </a:cubicBezTo>
                  <a:cubicBezTo>
                    <a:pt x="24" y="78"/>
                    <a:pt x="24" y="78"/>
                    <a:pt x="24" y="79"/>
                  </a:cubicBezTo>
                  <a:cubicBezTo>
                    <a:pt x="26" y="79"/>
                    <a:pt x="28" y="78"/>
                    <a:pt x="28" y="79"/>
                  </a:cubicBezTo>
                  <a:cubicBezTo>
                    <a:pt x="30" y="79"/>
                    <a:pt x="37" y="81"/>
                    <a:pt x="39" y="80"/>
                  </a:cubicBezTo>
                  <a:cubicBezTo>
                    <a:pt x="40" y="79"/>
                    <a:pt x="44" y="72"/>
                    <a:pt x="47" y="71"/>
                  </a:cubicBezTo>
                  <a:cubicBezTo>
                    <a:pt x="50" y="70"/>
                    <a:pt x="54" y="67"/>
                    <a:pt x="54" y="65"/>
                  </a:cubicBezTo>
                  <a:cubicBezTo>
                    <a:pt x="54" y="64"/>
                    <a:pt x="54" y="63"/>
                    <a:pt x="59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6" y="61"/>
                    <a:pt x="66" y="61"/>
                    <a:pt x="66" y="61"/>
                  </a:cubicBezTo>
                  <a:cubicBezTo>
                    <a:pt x="65" y="55"/>
                    <a:pt x="65" y="55"/>
                    <a:pt x="65" y="55"/>
                  </a:cubicBezTo>
                  <a:cubicBezTo>
                    <a:pt x="65" y="55"/>
                    <a:pt x="86" y="47"/>
                    <a:pt x="87" y="47"/>
                  </a:cubicBezTo>
                  <a:cubicBezTo>
                    <a:pt x="86" y="45"/>
                    <a:pt x="85" y="44"/>
                    <a:pt x="85" y="44"/>
                  </a:cubicBezTo>
                  <a:cubicBezTo>
                    <a:pt x="86" y="43"/>
                    <a:pt x="87" y="37"/>
                    <a:pt x="87" y="36"/>
                  </a:cubicBezTo>
                  <a:cubicBezTo>
                    <a:pt x="87" y="34"/>
                    <a:pt x="92" y="35"/>
                    <a:pt x="90" y="34"/>
                  </a:cubicBezTo>
                  <a:cubicBezTo>
                    <a:pt x="88" y="32"/>
                    <a:pt x="89" y="23"/>
                    <a:pt x="89" y="21"/>
                  </a:cubicBezTo>
                  <a:cubicBezTo>
                    <a:pt x="90" y="19"/>
                    <a:pt x="92" y="21"/>
                    <a:pt x="92" y="19"/>
                  </a:cubicBezTo>
                  <a:cubicBezTo>
                    <a:pt x="92" y="17"/>
                    <a:pt x="90" y="12"/>
                    <a:pt x="89" y="10"/>
                  </a:cubicBezTo>
                  <a:cubicBezTo>
                    <a:pt x="88" y="9"/>
                    <a:pt x="80" y="6"/>
                    <a:pt x="78" y="6"/>
                  </a:cubicBezTo>
                  <a:cubicBezTo>
                    <a:pt x="76" y="5"/>
                    <a:pt x="73" y="3"/>
                    <a:pt x="71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25" name="Freeform 195">
              <a:extLst>
                <a:ext uri="{FF2B5EF4-FFF2-40B4-BE49-F238E27FC236}">
                  <a16:creationId xmlns:a16="http://schemas.microsoft.com/office/drawing/2014/main" id="{90A5B16C-9BEA-E0CA-D3E5-6CED1776B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337" y="4311919"/>
              <a:ext cx="60317" cy="53968"/>
            </a:xfrm>
            <a:custGeom>
              <a:avLst/>
              <a:gdLst>
                <a:gd name="T0" fmla="*/ 13 w 16"/>
                <a:gd name="T1" fmla="*/ 0 h 14"/>
                <a:gd name="T2" fmla="*/ 8 w 16"/>
                <a:gd name="T3" fmla="*/ 1 h 14"/>
                <a:gd name="T4" fmla="*/ 4 w 16"/>
                <a:gd name="T5" fmla="*/ 2 h 14"/>
                <a:gd name="T6" fmla="*/ 3 w 16"/>
                <a:gd name="T7" fmla="*/ 3 h 14"/>
                <a:gd name="T8" fmla="*/ 2 w 16"/>
                <a:gd name="T9" fmla="*/ 8 h 14"/>
                <a:gd name="T10" fmla="*/ 0 w 16"/>
                <a:gd name="T11" fmla="*/ 10 h 14"/>
                <a:gd name="T12" fmla="*/ 1 w 16"/>
                <a:gd name="T13" fmla="*/ 12 h 14"/>
                <a:gd name="T14" fmla="*/ 4 w 16"/>
                <a:gd name="T15" fmla="*/ 13 h 14"/>
                <a:gd name="T16" fmla="*/ 8 w 16"/>
                <a:gd name="T17" fmla="*/ 10 h 14"/>
                <a:gd name="T18" fmla="*/ 15 w 16"/>
                <a:gd name="T19" fmla="*/ 9 h 14"/>
                <a:gd name="T20" fmla="*/ 14 w 16"/>
                <a:gd name="T21" fmla="*/ 3 h 14"/>
                <a:gd name="T22" fmla="*/ 13 w 16"/>
                <a:gd name="T2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4">
                  <a:moveTo>
                    <a:pt x="13" y="0"/>
                  </a:moveTo>
                  <a:cubicBezTo>
                    <a:pt x="11" y="0"/>
                    <a:pt x="9" y="1"/>
                    <a:pt x="8" y="1"/>
                  </a:cubicBezTo>
                  <a:cubicBezTo>
                    <a:pt x="7" y="2"/>
                    <a:pt x="6" y="2"/>
                    <a:pt x="4" y="2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1" y="3"/>
                    <a:pt x="2" y="8"/>
                    <a:pt x="2" y="8"/>
                  </a:cubicBezTo>
                  <a:cubicBezTo>
                    <a:pt x="2" y="8"/>
                    <a:pt x="0" y="8"/>
                    <a:pt x="0" y="10"/>
                  </a:cubicBezTo>
                  <a:cubicBezTo>
                    <a:pt x="0" y="12"/>
                    <a:pt x="1" y="12"/>
                    <a:pt x="1" y="12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9" y="14"/>
                    <a:pt x="8" y="10"/>
                    <a:pt x="8" y="10"/>
                  </a:cubicBezTo>
                  <a:cubicBezTo>
                    <a:pt x="8" y="10"/>
                    <a:pt x="15" y="11"/>
                    <a:pt x="15" y="9"/>
                  </a:cubicBezTo>
                  <a:cubicBezTo>
                    <a:pt x="16" y="7"/>
                    <a:pt x="14" y="3"/>
                    <a:pt x="14" y="3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27" name="Freeform 196">
              <a:extLst>
                <a:ext uri="{FF2B5EF4-FFF2-40B4-BE49-F238E27FC236}">
                  <a16:creationId xmlns:a16="http://schemas.microsoft.com/office/drawing/2014/main" id="{DD5D3F5A-7A5D-1FE4-01C3-C62A0618E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825" y="3915090"/>
              <a:ext cx="312698" cy="420633"/>
            </a:xfrm>
            <a:custGeom>
              <a:avLst/>
              <a:gdLst>
                <a:gd name="T0" fmla="*/ 19 w 83"/>
                <a:gd name="T1" fmla="*/ 21 h 112"/>
                <a:gd name="T2" fmla="*/ 24 w 83"/>
                <a:gd name="T3" fmla="*/ 26 h 112"/>
                <a:gd name="T4" fmla="*/ 41 w 83"/>
                <a:gd name="T5" fmla="*/ 31 h 112"/>
                <a:gd name="T6" fmla="*/ 52 w 83"/>
                <a:gd name="T7" fmla="*/ 34 h 112"/>
                <a:gd name="T8" fmla="*/ 55 w 83"/>
                <a:gd name="T9" fmla="*/ 36 h 112"/>
                <a:gd name="T10" fmla="*/ 33 w 83"/>
                <a:gd name="T11" fmla="*/ 57 h 112"/>
                <a:gd name="T12" fmla="*/ 24 w 83"/>
                <a:gd name="T13" fmla="*/ 59 h 112"/>
                <a:gd name="T14" fmla="*/ 14 w 83"/>
                <a:gd name="T15" fmla="*/ 64 h 112"/>
                <a:gd name="T16" fmla="*/ 7 w 83"/>
                <a:gd name="T17" fmla="*/ 65 h 112"/>
                <a:gd name="T18" fmla="*/ 3 w 83"/>
                <a:gd name="T19" fmla="*/ 71 h 112"/>
                <a:gd name="T20" fmla="*/ 0 w 83"/>
                <a:gd name="T21" fmla="*/ 77 h 112"/>
                <a:gd name="T22" fmla="*/ 0 w 83"/>
                <a:gd name="T23" fmla="*/ 106 h 112"/>
                <a:gd name="T24" fmla="*/ 4 w 83"/>
                <a:gd name="T25" fmla="*/ 112 h 112"/>
                <a:gd name="T26" fmla="*/ 22 w 83"/>
                <a:gd name="T27" fmla="*/ 93 h 112"/>
                <a:gd name="T28" fmla="*/ 36 w 83"/>
                <a:gd name="T29" fmla="*/ 82 h 112"/>
                <a:gd name="T30" fmla="*/ 56 w 83"/>
                <a:gd name="T31" fmla="*/ 63 h 112"/>
                <a:gd name="T32" fmla="*/ 65 w 83"/>
                <a:gd name="T33" fmla="*/ 48 h 112"/>
                <a:gd name="T34" fmla="*/ 72 w 83"/>
                <a:gd name="T35" fmla="*/ 35 h 112"/>
                <a:gd name="T36" fmla="*/ 80 w 83"/>
                <a:gd name="T37" fmla="*/ 19 h 112"/>
                <a:gd name="T38" fmla="*/ 83 w 83"/>
                <a:gd name="T39" fmla="*/ 5 h 112"/>
                <a:gd name="T40" fmla="*/ 77 w 83"/>
                <a:gd name="T41" fmla="*/ 3 h 112"/>
                <a:gd name="T42" fmla="*/ 59 w 83"/>
                <a:gd name="T43" fmla="*/ 7 h 112"/>
                <a:gd name="T44" fmla="*/ 47 w 83"/>
                <a:gd name="T45" fmla="*/ 10 h 112"/>
                <a:gd name="T46" fmla="*/ 36 w 83"/>
                <a:gd name="T47" fmla="*/ 12 h 112"/>
                <a:gd name="T48" fmla="*/ 23 w 83"/>
                <a:gd name="T49" fmla="*/ 11 h 112"/>
                <a:gd name="T50" fmla="*/ 19 w 83"/>
                <a:gd name="T51" fmla="*/ 7 h 112"/>
                <a:gd name="T52" fmla="*/ 14 w 83"/>
                <a:gd name="T53" fmla="*/ 14 h 112"/>
                <a:gd name="T54" fmla="*/ 19 w 83"/>
                <a:gd name="T55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3" h="112">
                  <a:moveTo>
                    <a:pt x="19" y="21"/>
                  </a:moveTo>
                  <a:cubicBezTo>
                    <a:pt x="20" y="22"/>
                    <a:pt x="23" y="25"/>
                    <a:pt x="24" y="26"/>
                  </a:cubicBezTo>
                  <a:cubicBezTo>
                    <a:pt x="26" y="26"/>
                    <a:pt x="35" y="29"/>
                    <a:pt x="41" y="31"/>
                  </a:cubicBezTo>
                  <a:cubicBezTo>
                    <a:pt x="46" y="34"/>
                    <a:pt x="50" y="34"/>
                    <a:pt x="52" y="34"/>
                  </a:cubicBezTo>
                  <a:cubicBezTo>
                    <a:pt x="53" y="34"/>
                    <a:pt x="56" y="35"/>
                    <a:pt x="55" y="36"/>
                  </a:cubicBezTo>
                  <a:cubicBezTo>
                    <a:pt x="53" y="37"/>
                    <a:pt x="35" y="55"/>
                    <a:pt x="33" y="57"/>
                  </a:cubicBezTo>
                  <a:cubicBezTo>
                    <a:pt x="31" y="60"/>
                    <a:pt x="29" y="59"/>
                    <a:pt x="24" y="59"/>
                  </a:cubicBezTo>
                  <a:cubicBezTo>
                    <a:pt x="19" y="59"/>
                    <a:pt x="15" y="64"/>
                    <a:pt x="14" y="64"/>
                  </a:cubicBezTo>
                  <a:cubicBezTo>
                    <a:pt x="13" y="64"/>
                    <a:pt x="10" y="65"/>
                    <a:pt x="7" y="65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7" y="108"/>
                    <a:pt x="16" y="100"/>
                    <a:pt x="22" y="93"/>
                  </a:cubicBezTo>
                  <a:cubicBezTo>
                    <a:pt x="29" y="86"/>
                    <a:pt x="32" y="84"/>
                    <a:pt x="36" y="82"/>
                  </a:cubicBezTo>
                  <a:cubicBezTo>
                    <a:pt x="40" y="80"/>
                    <a:pt x="49" y="71"/>
                    <a:pt x="56" y="63"/>
                  </a:cubicBezTo>
                  <a:cubicBezTo>
                    <a:pt x="60" y="57"/>
                    <a:pt x="65" y="52"/>
                    <a:pt x="65" y="48"/>
                  </a:cubicBezTo>
                  <a:cubicBezTo>
                    <a:pt x="66" y="44"/>
                    <a:pt x="70" y="39"/>
                    <a:pt x="72" y="35"/>
                  </a:cubicBezTo>
                  <a:cubicBezTo>
                    <a:pt x="75" y="32"/>
                    <a:pt x="80" y="22"/>
                    <a:pt x="80" y="19"/>
                  </a:cubicBezTo>
                  <a:cubicBezTo>
                    <a:pt x="80" y="17"/>
                    <a:pt x="82" y="10"/>
                    <a:pt x="83" y="5"/>
                  </a:cubicBezTo>
                  <a:cubicBezTo>
                    <a:pt x="83" y="0"/>
                    <a:pt x="79" y="0"/>
                    <a:pt x="77" y="3"/>
                  </a:cubicBezTo>
                  <a:cubicBezTo>
                    <a:pt x="76" y="5"/>
                    <a:pt x="66" y="7"/>
                    <a:pt x="59" y="7"/>
                  </a:cubicBezTo>
                  <a:cubicBezTo>
                    <a:pt x="53" y="8"/>
                    <a:pt x="49" y="8"/>
                    <a:pt x="47" y="10"/>
                  </a:cubicBezTo>
                  <a:cubicBezTo>
                    <a:pt x="44" y="13"/>
                    <a:pt x="38" y="10"/>
                    <a:pt x="36" y="12"/>
                  </a:cubicBezTo>
                  <a:cubicBezTo>
                    <a:pt x="34" y="15"/>
                    <a:pt x="25" y="17"/>
                    <a:pt x="23" y="11"/>
                  </a:cubicBezTo>
                  <a:cubicBezTo>
                    <a:pt x="22" y="9"/>
                    <a:pt x="20" y="8"/>
                    <a:pt x="19" y="7"/>
                  </a:cubicBezTo>
                  <a:cubicBezTo>
                    <a:pt x="16" y="9"/>
                    <a:pt x="14" y="13"/>
                    <a:pt x="14" y="14"/>
                  </a:cubicBezTo>
                  <a:cubicBezTo>
                    <a:pt x="15" y="15"/>
                    <a:pt x="18" y="20"/>
                    <a:pt x="19" y="2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29" name="Freeform 197">
              <a:extLst>
                <a:ext uri="{FF2B5EF4-FFF2-40B4-BE49-F238E27FC236}">
                  <a16:creationId xmlns:a16="http://schemas.microsoft.com/office/drawing/2014/main" id="{E4B9C029-D39D-BFB0-721E-702AF833C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134" y="3145259"/>
              <a:ext cx="363492" cy="288887"/>
            </a:xfrm>
            <a:custGeom>
              <a:avLst/>
              <a:gdLst>
                <a:gd name="T0" fmla="*/ 36 w 97"/>
                <a:gd name="T1" fmla="*/ 77 h 77"/>
                <a:gd name="T2" fmla="*/ 35 w 97"/>
                <a:gd name="T3" fmla="*/ 66 h 77"/>
                <a:gd name="T4" fmla="*/ 48 w 97"/>
                <a:gd name="T5" fmla="*/ 58 h 77"/>
                <a:gd name="T6" fmla="*/ 54 w 97"/>
                <a:gd name="T7" fmla="*/ 56 h 77"/>
                <a:gd name="T8" fmla="*/ 61 w 97"/>
                <a:gd name="T9" fmla="*/ 55 h 77"/>
                <a:gd name="T10" fmla="*/ 65 w 97"/>
                <a:gd name="T11" fmla="*/ 50 h 77"/>
                <a:gd name="T12" fmla="*/ 71 w 97"/>
                <a:gd name="T13" fmla="*/ 48 h 77"/>
                <a:gd name="T14" fmla="*/ 75 w 97"/>
                <a:gd name="T15" fmla="*/ 45 h 77"/>
                <a:gd name="T16" fmla="*/ 76 w 97"/>
                <a:gd name="T17" fmla="*/ 40 h 77"/>
                <a:gd name="T18" fmla="*/ 78 w 97"/>
                <a:gd name="T19" fmla="*/ 38 h 77"/>
                <a:gd name="T20" fmla="*/ 83 w 97"/>
                <a:gd name="T21" fmla="*/ 36 h 77"/>
                <a:gd name="T22" fmla="*/ 95 w 97"/>
                <a:gd name="T23" fmla="*/ 35 h 77"/>
                <a:gd name="T24" fmla="*/ 97 w 97"/>
                <a:gd name="T25" fmla="*/ 32 h 77"/>
                <a:gd name="T26" fmla="*/ 93 w 97"/>
                <a:gd name="T27" fmla="*/ 26 h 77"/>
                <a:gd name="T28" fmla="*/ 93 w 97"/>
                <a:gd name="T29" fmla="*/ 19 h 77"/>
                <a:gd name="T30" fmla="*/ 91 w 97"/>
                <a:gd name="T31" fmla="*/ 11 h 77"/>
                <a:gd name="T32" fmla="*/ 89 w 97"/>
                <a:gd name="T33" fmla="*/ 8 h 77"/>
                <a:gd name="T34" fmla="*/ 80 w 97"/>
                <a:gd name="T35" fmla="*/ 6 h 77"/>
                <a:gd name="T36" fmla="*/ 66 w 97"/>
                <a:gd name="T37" fmla="*/ 5 h 77"/>
                <a:gd name="T38" fmla="*/ 59 w 97"/>
                <a:gd name="T39" fmla="*/ 1 h 77"/>
                <a:gd name="T40" fmla="*/ 50 w 97"/>
                <a:gd name="T41" fmla="*/ 17 h 77"/>
                <a:gd name="T42" fmla="*/ 38 w 97"/>
                <a:gd name="T43" fmla="*/ 23 h 77"/>
                <a:gd name="T44" fmla="*/ 32 w 97"/>
                <a:gd name="T45" fmla="*/ 30 h 77"/>
                <a:gd name="T46" fmla="*/ 27 w 97"/>
                <a:gd name="T47" fmla="*/ 38 h 77"/>
                <a:gd name="T48" fmla="*/ 27 w 97"/>
                <a:gd name="T49" fmla="*/ 50 h 77"/>
                <a:gd name="T50" fmla="*/ 18 w 97"/>
                <a:gd name="T51" fmla="*/ 63 h 77"/>
                <a:gd name="T52" fmla="*/ 6 w 97"/>
                <a:gd name="T53" fmla="*/ 71 h 77"/>
                <a:gd name="T54" fmla="*/ 0 w 97"/>
                <a:gd name="T55" fmla="*/ 74 h 77"/>
                <a:gd name="T56" fmla="*/ 30 w 97"/>
                <a:gd name="T57" fmla="*/ 74 h 77"/>
                <a:gd name="T58" fmla="*/ 36 w 97"/>
                <a:gd name="T5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7" h="77">
                  <a:moveTo>
                    <a:pt x="36" y="77"/>
                  </a:moveTo>
                  <a:cubicBezTo>
                    <a:pt x="36" y="72"/>
                    <a:pt x="35" y="67"/>
                    <a:pt x="35" y="66"/>
                  </a:cubicBezTo>
                  <a:cubicBezTo>
                    <a:pt x="36" y="65"/>
                    <a:pt x="46" y="59"/>
                    <a:pt x="48" y="58"/>
                  </a:cubicBezTo>
                  <a:cubicBezTo>
                    <a:pt x="50" y="57"/>
                    <a:pt x="54" y="58"/>
                    <a:pt x="54" y="56"/>
                  </a:cubicBezTo>
                  <a:cubicBezTo>
                    <a:pt x="54" y="54"/>
                    <a:pt x="58" y="55"/>
                    <a:pt x="61" y="55"/>
                  </a:cubicBezTo>
                  <a:cubicBezTo>
                    <a:pt x="63" y="54"/>
                    <a:pt x="65" y="52"/>
                    <a:pt x="65" y="50"/>
                  </a:cubicBezTo>
                  <a:cubicBezTo>
                    <a:pt x="65" y="48"/>
                    <a:pt x="69" y="48"/>
                    <a:pt x="71" y="48"/>
                  </a:cubicBezTo>
                  <a:cubicBezTo>
                    <a:pt x="73" y="48"/>
                    <a:pt x="73" y="45"/>
                    <a:pt x="75" y="45"/>
                  </a:cubicBezTo>
                  <a:cubicBezTo>
                    <a:pt x="76" y="45"/>
                    <a:pt x="75" y="43"/>
                    <a:pt x="76" y="40"/>
                  </a:cubicBezTo>
                  <a:cubicBezTo>
                    <a:pt x="76" y="38"/>
                    <a:pt x="76" y="38"/>
                    <a:pt x="78" y="38"/>
                  </a:cubicBezTo>
                  <a:cubicBezTo>
                    <a:pt x="81" y="38"/>
                    <a:pt x="83" y="37"/>
                    <a:pt x="83" y="36"/>
                  </a:cubicBezTo>
                  <a:cubicBezTo>
                    <a:pt x="83" y="34"/>
                    <a:pt x="93" y="35"/>
                    <a:pt x="95" y="35"/>
                  </a:cubicBezTo>
                  <a:cubicBezTo>
                    <a:pt x="96" y="35"/>
                    <a:pt x="97" y="33"/>
                    <a:pt x="97" y="32"/>
                  </a:cubicBezTo>
                  <a:cubicBezTo>
                    <a:pt x="96" y="31"/>
                    <a:pt x="95" y="27"/>
                    <a:pt x="93" y="26"/>
                  </a:cubicBezTo>
                  <a:cubicBezTo>
                    <a:pt x="92" y="26"/>
                    <a:pt x="93" y="22"/>
                    <a:pt x="93" y="19"/>
                  </a:cubicBezTo>
                  <a:cubicBezTo>
                    <a:pt x="93" y="16"/>
                    <a:pt x="92" y="13"/>
                    <a:pt x="91" y="11"/>
                  </a:cubicBezTo>
                  <a:cubicBezTo>
                    <a:pt x="90" y="10"/>
                    <a:pt x="90" y="9"/>
                    <a:pt x="89" y="8"/>
                  </a:cubicBezTo>
                  <a:cubicBezTo>
                    <a:pt x="86" y="8"/>
                    <a:pt x="83" y="6"/>
                    <a:pt x="80" y="6"/>
                  </a:cubicBezTo>
                  <a:cubicBezTo>
                    <a:pt x="76" y="6"/>
                    <a:pt x="69" y="8"/>
                    <a:pt x="66" y="5"/>
                  </a:cubicBezTo>
                  <a:cubicBezTo>
                    <a:pt x="63" y="1"/>
                    <a:pt x="61" y="0"/>
                    <a:pt x="59" y="1"/>
                  </a:cubicBezTo>
                  <a:cubicBezTo>
                    <a:pt x="56" y="2"/>
                    <a:pt x="52" y="14"/>
                    <a:pt x="50" y="17"/>
                  </a:cubicBezTo>
                  <a:cubicBezTo>
                    <a:pt x="48" y="21"/>
                    <a:pt x="41" y="23"/>
                    <a:pt x="38" y="23"/>
                  </a:cubicBezTo>
                  <a:cubicBezTo>
                    <a:pt x="34" y="23"/>
                    <a:pt x="34" y="28"/>
                    <a:pt x="32" y="30"/>
                  </a:cubicBezTo>
                  <a:cubicBezTo>
                    <a:pt x="29" y="32"/>
                    <a:pt x="30" y="35"/>
                    <a:pt x="27" y="38"/>
                  </a:cubicBezTo>
                  <a:cubicBezTo>
                    <a:pt x="24" y="40"/>
                    <a:pt x="26" y="47"/>
                    <a:pt x="27" y="50"/>
                  </a:cubicBezTo>
                  <a:cubicBezTo>
                    <a:pt x="29" y="53"/>
                    <a:pt x="22" y="61"/>
                    <a:pt x="18" y="63"/>
                  </a:cubicBezTo>
                  <a:cubicBezTo>
                    <a:pt x="14" y="66"/>
                    <a:pt x="12" y="70"/>
                    <a:pt x="6" y="71"/>
                  </a:cubicBezTo>
                  <a:cubicBezTo>
                    <a:pt x="3" y="72"/>
                    <a:pt x="1" y="73"/>
                    <a:pt x="0" y="74"/>
                  </a:cubicBezTo>
                  <a:cubicBezTo>
                    <a:pt x="10" y="74"/>
                    <a:pt x="25" y="74"/>
                    <a:pt x="30" y="74"/>
                  </a:cubicBezTo>
                  <a:cubicBezTo>
                    <a:pt x="36" y="74"/>
                    <a:pt x="35" y="75"/>
                    <a:pt x="36" y="7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1" name="Freeform 198">
              <a:extLst>
                <a:ext uri="{FF2B5EF4-FFF2-40B4-BE49-F238E27FC236}">
                  <a16:creationId xmlns:a16="http://schemas.microsoft.com/office/drawing/2014/main" id="{A6D937F1-2183-6722-5A14-85E64835A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9178" y="3091291"/>
              <a:ext cx="126983" cy="244443"/>
            </a:xfrm>
            <a:custGeom>
              <a:avLst/>
              <a:gdLst>
                <a:gd name="T0" fmla="*/ 9 w 34"/>
                <a:gd name="T1" fmla="*/ 17 h 65"/>
                <a:gd name="T2" fmla="*/ 7 w 34"/>
                <a:gd name="T3" fmla="*/ 25 h 65"/>
                <a:gd name="T4" fmla="*/ 2 w 34"/>
                <a:gd name="T5" fmla="*/ 31 h 65"/>
                <a:gd name="T6" fmla="*/ 5 w 34"/>
                <a:gd name="T7" fmla="*/ 39 h 65"/>
                <a:gd name="T8" fmla="*/ 8 w 34"/>
                <a:gd name="T9" fmla="*/ 44 h 65"/>
                <a:gd name="T10" fmla="*/ 15 w 34"/>
                <a:gd name="T11" fmla="*/ 49 h 65"/>
                <a:gd name="T12" fmla="*/ 18 w 34"/>
                <a:gd name="T13" fmla="*/ 63 h 65"/>
                <a:gd name="T14" fmla="*/ 19 w 34"/>
                <a:gd name="T15" fmla="*/ 65 h 65"/>
                <a:gd name="T16" fmla="*/ 22 w 34"/>
                <a:gd name="T17" fmla="*/ 63 h 65"/>
                <a:gd name="T18" fmla="*/ 24 w 34"/>
                <a:gd name="T19" fmla="*/ 56 h 65"/>
                <a:gd name="T20" fmla="*/ 25 w 34"/>
                <a:gd name="T21" fmla="*/ 53 h 65"/>
                <a:gd name="T22" fmla="*/ 31 w 34"/>
                <a:gd name="T23" fmla="*/ 47 h 65"/>
                <a:gd name="T24" fmla="*/ 34 w 34"/>
                <a:gd name="T25" fmla="*/ 44 h 65"/>
                <a:gd name="T26" fmla="*/ 34 w 34"/>
                <a:gd name="T27" fmla="*/ 40 h 65"/>
                <a:gd name="T28" fmla="*/ 31 w 34"/>
                <a:gd name="T29" fmla="*/ 37 h 65"/>
                <a:gd name="T30" fmla="*/ 28 w 34"/>
                <a:gd name="T31" fmla="*/ 34 h 65"/>
                <a:gd name="T32" fmla="*/ 22 w 34"/>
                <a:gd name="T33" fmla="*/ 31 h 65"/>
                <a:gd name="T34" fmla="*/ 28 w 34"/>
                <a:gd name="T35" fmla="*/ 26 h 65"/>
                <a:gd name="T36" fmla="*/ 28 w 34"/>
                <a:gd name="T37" fmla="*/ 15 h 65"/>
                <a:gd name="T38" fmla="*/ 30 w 34"/>
                <a:gd name="T39" fmla="*/ 8 h 65"/>
                <a:gd name="T40" fmla="*/ 29 w 34"/>
                <a:gd name="T41" fmla="*/ 5 h 65"/>
                <a:gd name="T42" fmla="*/ 25 w 34"/>
                <a:gd name="T43" fmla="*/ 4 h 65"/>
                <a:gd name="T44" fmla="*/ 14 w 34"/>
                <a:gd name="T45" fmla="*/ 3 h 65"/>
                <a:gd name="T46" fmla="*/ 9 w 34"/>
                <a:gd name="T47" fmla="*/ 4 h 65"/>
                <a:gd name="T48" fmla="*/ 9 w 34"/>
                <a:gd name="T49" fmla="*/ 1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4" h="65">
                  <a:moveTo>
                    <a:pt x="9" y="17"/>
                  </a:moveTo>
                  <a:cubicBezTo>
                    <a:pt x="11" y="20"/>
                    <a:pt x="9" y="24"/>
                    <a:pt x="7" y="25"/>
                  </a:cubicBezTo>
                  <a:cubicBezTo>
                    <a:pt x="5" y="26"/>
                    <a:pt x="4" y="31"/>
                    <a:pt x="2" y="31"/>
                  </a:cubicBezTo>
                  <a:cubicBezTo>
                    <a:pt x="0" y="31"/>
                    <a:pt x="2" y="38"/>
                    <a:pt x="5" y="39"/>
                  </a:cubicBezTo>
                  <a:cubicBezTo>
                    <a:pt x="8" y="41"/>
                    <a:pt x="8" y="43"/>
                    <a:pt x="8" y="44"/>
                  </a:cubicBezTo>
                  <a:cubicBezTo>
                    <a:pt x="8" y="46"/>
                    <a:pt x="13" y="47"/>
                    <a:pt x="15" y="49"/>
                  </a:cubicBezTo>
                  <a:cubicBezTo>
                    <a:pt x="16" y="51"/>
                    <a:pt x="18" y="60"/>
                    <a:pt x="18" y="63"/>
                  </a:cubicBezTo>
                  <a:cubicBezTo>
                    <a:pt x="18" y="64"/>
                    <a:pt x="19" y="65"/>
                    <a:pt x="19" y="65"/>
                  </a:cubicBezTo>
                  <a:cubicBezTo>
                    <a:pt x="20" y="65"/>
                    <a:pt x="22" y="64"/>
                    <a:pt x="22" y="63"/>
                  </a:cubicBezTo>
                  <a:cubicBezTo>
                    <a:pt x="24" y="60"/>
                    <a:pt x="24" y="57"/>
                    <a:pt x="24" y="56"/>
                  </a:cubicBezTo>
                  <a:cubicBezTo>
                    <a:pt x="23" y="55"/>
                    <a:pt x="24" y="53"/>
                    <a:pt x="25" y="53"/>
                  </a:cubicBezTo>
                  <a:cubicBezTo>
                    <a:pt x="26" y="52"/>
                    <a:pt x="30" y="47"/>
                    <a:pt x="31" y="47"/>
                  </a:cubicBezTo>
                  <a:cubicBezTo>
                    <a:pt x="32" y="46"/>
                    <a:pt x="34" y="47"/>
                    <a:pt x="34" y="44"/>
                  </a:cubicBezTo>
                  <a:cubicBezTo>
                    <a:pt x="34" y="43"/>
                    <a:pt x="34" y="42"/>
                    <a:pt x="34" y="40"/>
                  </a:cubicBezTo>
                  <a:cubicBezTo>
                    <a:pt x="33" y="39"/>
                    <a:pt x="31" y="37"/>
                    <a:pt x="31" y="37"/>
                  </a:cubicBezTo>
                  <a:cubicBezTo>
                    <a:pt x="31" y="35"/>
                    <a:pt x="29" y="32"/>
                    <a:pt x="28" y="34"/>
                  </a:cubicBezTo>
                  <a:cubicBezTo>
                    <a:pt x="27" y="35"/>
                    <a:pt x="22" y="34"/>
                    <a:pt x="22" y="31"/>
                  </a:cubicBezTo>
                  <a:cubicBezTo>
                    <a:pt x="21" y="28"/>
                    <a:pt x="25" y="28"/>
                    <a:pt x="28" y="26"/>
                  </a:cubicBezTo>
                  <a:cubicBezTo>
                    <a:pt x="31" y="23"/>
                    <a:pt x="32" y="18"/>
                    <a:pt x="28" y="15"/>
                  </a:cubicBezTo>
                  <a:cubicBezTo>
                    <a:pt x="25" y="12"/>
                    <a:pt x="27" y="10"/>
                    <a:pt x="30" y="8"/>
                  </a:cubicBezTo>
                  <a:cubicBezTo>
                    <a:pt x="32" y="5"/>
                    <a:pt x="30" y="4"/>
                    <a:pt x="29" y="5"/>
                  </a:cubicBezTo>
                  <a:cubicBezTo>
                    <a:pt x="27" y="6"/>
                    <a:pt x="25" y="6"/>
                    <a:pt x="25" y="4"/>
                  </a:cubicBezTo>
                  <a:cubicBezTo>
                    <a:pt x="24" y="1"/>
                    <a:pt x="17" y="0"/>
                    <a:pt x="14" y="3"/>
                  </a:cubicBezTo>
                  <a:cubicBezTo>
                    <a:pt x="13" y="4"/>
                    <a:pt x="11" y="4"/>
                    <a:pt x="9" y="4"/>
                  </a:cubicBezTo>
                  <a:cubicBezTo>
                    <a:pt x="9" y="9"/>
                    <a:pt x="8" y="15"/>
                    <a:pt x="9" y="1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3" name="Freeform 199">
              <a:extLst>
                <a:ext uri="{FF2B5EF4-FFF2-40B4-BE49-F238E27FC236}">
                  <a16:creationId xmlns:a16="http://schemas.microsoft.com/office/drawing/2014/main" id="{35134F75-0B98-2272-A114-854C1D413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297" y="3099224"/>
              <a:ext cx="631743" cy="604760"/>
            </a:xfrm>
            <a:custGeom>
              <a:avLst/>
              <a:gdLst>
                <a:gd name="T0" fmla="*/ 58 w 168"/>
                <a:gd name="T1" fmla="*/ 31 h 161"/>
                <a:gd name="T2" fmla="*/ 58 w 168"/>
                <a:gd name="T3" fmla="*/ 38 h 161"/>
                <a:gd name="T4" fmla="*/ 62 w 168"/>
                <a:gd name="T5" fmla="*/ 44 h 161"/>
                <a:gd name="T6" fmla="*/ 60 w 168"/>
                <a:gd name="T7" fmla="*/ 47 h 161"/>
                <a:gd name="T8" fmla="*/ 48 w 168"/>
                <a:gd name="T9" fmla="*/ 48 h 161"/>
                <a:gd name="T10" fmla="*/ 43 w 168"/>
                <a:gd name="T11" fmla="*/ 50 h 161"/>
                <a:gd name="T12" fmla="*/ 41 w 168"/>
                <a:gd name="T13" fmla="*/ 52 h 161"/>
                <a:gd name="T14" fmla="*/ 40 w 168"/>
                <a:gd name="T15" fmla="*/ 57 h 161"/>
                <a:gd name="T16" fmla="*/ 36 w 168"/>
                <a:gd name="T17" fmla="*/ 60 h 161"/>
                <a:gd name="T18" fmla="*/ 30 w 168"/>
                <a:gd name="T19" fmla="*/ 62 h 161"/>
                <a:gd name="T20" fmla="*/ 26 w 168"/>
                <a:gd name="T21" fmla="*/ 67 h 161"/>
                <a:gd name="T22" fmla="*/ 19 w 168"/>
                <a:gd name="T23" fmla="*/ 68 h 161"/>
                <a:gd name="T24" fmla="*/ 13 w 168"/>
                <a:gd name="T25" fmla="*/ 70 h 161"/>
                <a:gd name="T26" fmla="*/ 0 w 168"/>
                <a:gd name="T27" fmla="*/ 78 h 161"/>
                <a:gd name="T28" fmla="*/ 1 w 168"/>
                <a:gd name="T29" fmla="*/ 89 h 161"/>
                <a:gd name="T30" fmla="*/ 2 w 168"/>
                <a:gd name="T31" fmla="*/ 91 h 161"/>
                <a:gd name="T32" fmla="*/ 80 w 168"/>
                <a:gd name="T33" fmla="*/ 143 h 161"/>
                <a:gd name="T34" fmla="*/ 85 w 168"/>
                <a:gd name="T35" fmla="*/ 150 h 161"/>
                <a:gd name="T36" fmla="*/ 94 w 168"/>
                <a:gd name="T37" fmla="*/ 153 h 161"/>
                <a:gd name="T38" fmla="*/ 98 w 168"/>
                <a:gd name="T39" fmla="*/ 161 h 161"/>
                <a:gd name="T40" fmla="*/ 106 w 168"/>
                <a:gd name="T41" fmla="*/ 160 h 161"/>
                <a:gd name="T42" fmla="*/ 119 w 168"/>
                <a:gd name="T43" fmla="*/ 156 h 161"/>
                <a:gd name="T44" fmla="*/ 133 w 168"/>
                <a:gd name="T45" fmla="*/ 144 h 161"/>
                <a:gd name="T46" fmla="*/ 168 w 168"/>
                <a:gd name="T47" fmla="*/ 122 h 161"/>
                <a:gd name="T48" fmla="*/ 168 w 168"/>
                <a:gd name="T49" fmla="*/ 122 h 161"/>
                <a:gd name="T50" fmla="*/ 164 w 168"/>
                <a:gd name="T51" fmla="*/ 115 h 161"/>
                <a:gd name="T52" fmla="*/ 158 w 168"/>
                <a:gd name="T53" fmla="*/ 114 h 161"/>
                <a:gd name="T54" fmla="*/ 152 w 168"/>
                <a:gd name="T55" fmla="*/ 110 h 161"/>
                <a:gd name="T56" fmla="*/ 151 w 168"/>
                <a:gd name="T57" fmla="*/ 104 h 161"/>
                <a:gd name="T58" fmla="*/ 148 w 168"/>
                <a:gd name="T59" fmla="*/ 99 h 161"/>
                <a:gd name="T60" fmla="*/ 151 w 168"/>
                <a:gd name="T61" fmla="*/ 95 h 161"/>
                <a:gd name="T62" fmla="*/ 150 w 168"/>
                <a:gd name="T63" fmla="*/ 91 h 161"/>
                <a:gd name="T64" fmla="*/ 150 w 168"/>
                <a:gd name="T65" fmla="*/ 86 h 161"/>
                <a:gd name="T66" fmla="*/ 151 w 168"/>
                <a:gd name="T67" fmla="*/ 81 h 161"/>
                <a:gd name="T68" fmla="*/ 151 w 168"/>
                <a:gd name="T69" fmla="*/ 73 h 161"/>
                <a:gd name="T70" fmla="*/ 147 w 168"/>
                <a:gd name="T71" fmla="*/ 65 h 161"/>
                <a:gd name="T72" fmla="*/ 149 w 168"/>
                <a:gd name="T73" fmla="*/ 63 h 161"/>
                <a:gd name="T74" fmla="*/ 148 w 168"/>
                <a:gd name="T75" fmla="*/ 61 h 161"/>
                <a:gd name="T76" fmla="*/ 145 w 168"/>
                <a:gd name="T77" fmla="*/ 47 h 161"/>
                <a:gd name="T78" fmla="*/ 138 w 168"/>
                <a:gd name="T79" fmla="*/ 42 h 161"/>
                <a:gd name="T80" fmla="*/ 135 w 168"/>
                <a:gd name="T81" fmla="*/ 37 h 161"/>
                <a:gd name="T82" fmla="*/ 132 w 168"/>
                <a:gd name="T83" fmla="*/ 29 h 161"/>
                <a:gd name="T84" fmla="*/ 137 w 168"/>
                <a:gd name="T85" fmla="*/ 23 h 161"/>
                <a:gd name="T86" fmla="*/ 139 w 168"/>
                <a:gd name="T87" fmla="*/ 15 h 161"/>
                <a:gd name="T88" fmla="*/ 139 w 168"/>
                <a:gd name="T89" fmla="*/ 2 h 161"/>
                <a:gd name="T90" fmla="*/ 132 w 168"/>
                <a:gd name="T91" fmla="*/ 1 h 161"/>
                <a:gd name="T92" fmla="*/ 124 w 168"/>
                <a:gd name="T93" fmla="*/ 2 h 161"/>
                <a:gd name="T94" fmla="*/ 113 w 168"/>
                <a:gd name="T95" fmla="*/ 4 h 161"/>
                <a:gd name="T96" fmla="*/ 82 w 168"/>
                <a:gd name="T97" fmla="*/ 6 h 161"/>
                <a:gd name="T98" fmla="*/ 70 w 168"/>
                <a:gd name="T99" fmla="*/ 12 h 161"/>
                <a:gd name="T100" fmla="*/ 57 w 168"/>
                <a:gd name="T101" fmla="*/ 19 h 161"/>
                <a:gd name="T102" fmla="*/ 54 w 168"/>
                <a:gd name="T103" fmla="*/ 20 h 161"/>
                <a:gd name="T104" fmla="*/ 56 w 168"/>
                <a:gd name="T105" fmla="*/ 23 h 161"/>
                <a:gd name="T106" fmla="*/ 58 w 168"/>
                <a:gd name="T107" fmla="*/ 3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8" h="161">
                  <a:moveTo>
                    <a:pt x="58" y="31"/>
                  </a:moveTo>
                  <a:cubicBezTo>
                    <a:pt x="58" y="34"/>
                    <a:pt x="57" y="38"/>
                    <a:pt x="58" y="38"/>
                  </a:cubicBezTo>
                  <a:cubicBezTo>
                    <a:pt x="60" y="39"/>
                    <a:pt x="61" y="43"/>
                    <a:pt x="62" y="44"/>
                  </a:cubicBezTo>
                  <a:cubicBezTo>
                    <a:pt x="62" y="45"/>
                    <a:pt x="61" y="47"/>
                    <a:pt x="60" y="47"/>
                  </a:cubicBezTo>
                  <a:cubicBezTo>
                    <a:pt x="58" y="47"/>
                    <a:pt x="48" y="46"/>
                    <a:pt x="48" y="48"/>
                  </a:cubicBezTo>
                  <a:cubicBezTo>
                    <a:pt x="48" y="49"/>
                    <a:pt x="46" y="50"/>
                    <a:pt x="43" y="50"/>
                  </a:cubicBezTo>
                  <a:cubicBezTo>
                    <a:pt x="41" y="50"/>
                    <a:pt x="41" y="50"/>
                    <a:pt x="41" y="52"/>
                  </a:cubicBezTo>
                  <a:cubicBezTo>
                    <a:pt x="40" y="55"/>
                    <a:pt x="41" y="57"/>
                    <a:pt x="40" y="57"/>
                  </a:cubicBezTo>
                  <a:cubicBezTo>
                    <a:pt x="38" y="57"/>
                    <a:pt x="38" y="60"/>
                    <a:pt x="36" y="60"/>
                  </a:cubicBezTo>
                  <a:cubicBezTo>
                    <a:pt x="34" y="60"/>
                    <a:pt x="30" y="60"/>
                    <a:pt x="30" y="62"/>
                  </a:cubicBezTo>
                  <a:cubicBezTo>
                    <a:pt x="30" y="64"/>
                    <a:pt x="28" y="66"/>
                    <a:pt x="26" y="67"/>
                  </a:cubicBezTo>
                  <a:cubicBezTo>
                    <a:pt x="23" y="67"/>
                    <a:pt x="19" y="66"/>
                    <a:pt x="19" y="68"/>
                  </a:cubicBezTo>
                  <a:cubicBezTo>
                    <a:pt x="19" y="70"/>
                    <a:pt x="15" y="69"/>
                    <a:pt x="13" y="70"/>
                  </a:cubicBezTo>
                  <a:cubicBezTo>
                    <a:pt x="11" y="71"/>
                    <a:pt x="1" y="77"/>
                    <a:pt x="0" y="78"/>
                  </a:cubicBezTo>
                  <a:cubicBezTo>
                    <a:pt x="0" y="79"/>
                    <a:pt x="1" y="84"/>
                    <a:pt x="1" y="89"/>
                  </a:cubicBezTo>
                  <a:cubicBezTo>
                    <a:pt x="1" y="90"/>
                    <a:pt x="1" y="90"/>
                    <a:pt x="2" y="91"/>
                  </a:cubicBezTo>
                  <a:cubicBezTo>
                    <a:pt x="6" y="93"/>
                    <a:pt x="78" y="140"/>
                    <a:pt x="80" y="143"/>
                  </a:cubicBezTo>
                  <a:cubicBezTo>
                    <a:pt x="83" y="145"/>
                    <a:pt x="85" y="150"/>
                    <a:pt x="85" y="150"/>
                  </a:cubicBezTo>
                  <a:cubicBezTo>
                    <a:pt x="85" y="150"/>
                    <a:pt x="90" y="151"/>
                    <a:pt x="94" y="153"/>
                  </a:cubicBezTo>
                  <a:cubicBezTo>
                    <a:pt x="98" y="155"/>
                    <a:pt x="98" y="161"/>
                    <a:pt x="98" y="161"/>
                  </a:cubicBezTo>
                  <a:cubicBezTo>
                    <a:pt x="98" y="161"/>
                    <a:pt x="103" y="160"/>
                    <a:pt x="106" y="160"/>
                  </a:cubicBezTo>
                  <a:cubicBezTo>
                    <a:pt x="109" y="159"/>
                    <a:pt x="119" y="156"/>
                    <a:pt x="119" y="156"/>
                  </a:cubicBezTo>
                  <a:cubicBezTo>
                    <a:pt x="133" y="144"/>
                    <a:pt x="133" y="144"/>
                    <a:pt x="133" y="144"/>
                  </a:cubicBezTo>
                  <a:cubicBezTo>
                    <a:pt x="168" y="122"/>
                    <a:pt x="168" y="122"/>
                    <a:pt x="168" y="122"/>
                  </a:cubicBezTo>
                  <a:cubicBezTo>
                    <a:pt x="168" y="122"/>
                    <a:pt x="168" y="122"/>
                    <a:pt x="168" y="122"/>
                  </a:cubicBezTo>
                  <a:cubicBezTo>
                    <a:pt x="167" y="118"/>
                    <a:pt x="166" y="115"/>
                    <a:pt x="164" y="115"/>
                  </a:cubicBezTo>
                  <a:cubicBezTo>
                    <a:pt x="162" y="115"/>
                    <a:pt x="160" y="114"/>
                    <a:pt x="158" y="114"/>
                  </a:cubicBezTo>
                  <a:cubicBezTo>
                    <a:pt x="156" y="114"/>
                    <a:pt x="153" y="112"/>
                    <a:pt x="152" y="110"/>
                  </a:cubicBezTo>
                  <a:cubicBezTo>
                    <a:pt x="152" y="108"/>
                    <a:pt x="153" y="107"/>
                    <a:pt x="151" y="104"/>
                  </a:cubicBezTo>
                  <a:cubicBezTo>
                    <a:pt x="150" y="101"/>
                    <a:pt x="148" y="100"/>
                    <a:pt x="148" y="99"/>
                  </a:cubicBezTo>
                  <a:cubicBezTo>
                    <a:pt x="148" y="98"/>
                    <a:pt x="151" y="96"/>
                    <a:pt x="151" y="95"/>
                  </a:cubicBezTo>
                  <a:cubicBezTo>
                    <a:pt x="152" y="95"/>
                    <a:pt x="150" y="93"/>
                    <a:pt x="150" y="91"/>
                  </a:cubicBezTo>
                  <a:cubicBezTo>
                    <a:pt x="150" y="90"/>
                    <a:pt x="149" y="88"/>
                    <a:pt x="150" y="86"/>
                  </a:cubicBezTo>
                  <a:cubicBezTo>
                    <a:pt x="151" y="85"/>
                    <a:pt x="152" y="84"/>
                    <a:pt x="151" y="81"/>
                  </a:cubicBezTo>
                  <a:cubicBezTo>
                    <a:pt x="149" y="78"/>
                    <a:pt x="153" y="76"/>
                    <a:pt x="151" y="73"/>
                  </a:cubicBezTo>
                  <a:cubicBezTo>
                    <a:pt x="149" y="69"/>
                    <a:pt x="147" y="66"/>
                    <a:pt x="147" y="65"/>
                  </a:cubicBezTo>
                  <a:cubicBezTo>
                    <a:pt x="147" y="65"/>
                    <a:pt x="148" y="64"/>
                    <a:pt x="149" y="63"/>
                  </a:cubicBezTo>
                  <a:cubicBezTo>
                    <a:pt x="149" y="63"/>
                    <a:pt x="148" y="62"/>
                    <a:pt x="148" y="61"/>
                  </a:cubicBezTo>
                  <a:cubicBezTo>
                    <a:pt x="148" y="58"/>
                    <a:pt x="146" y="49"/>
                    <a:pt x="145" y="47"/>
                  </a:cubicBezTo>
                  <a:cubicBezTo>
                    <a:pt x="143" y="45"/>
                    <a:pt x="138" y="44"/>
                    <a:pt x="138" y="42"/>
                  </a:cubicBezTo>
                  <a:cubicBezTo>
                    <a:pt x="138" y="41"/>
                    <a:pt x="138" y="39"/>
                    <a:pt x="135" y="37"/>
                  </a:cubicBezTo>
                  <a:cubicBezTo>
                    <a:pt x="132" y="36"/>
                    <a:pt x="130" y="29"/>
                    <a:pt x="132" y="29"/>
                  </a:cubicBezTo>
                  <a:cubicBezTo>
                    <a:pt x="134" y="29"/>
                    <a:pt x="135" y="24"/>
                    <a:pt x="137" y="23"/>
                  </a:cubicBezTo>
                  <a:cubicBezTo>
                    <a:pt x="139" y="22"/>
                    <a:pt x="141" y="18"/>
                    <a:pt x="139" y="15"/>
                  </a:cubicBezTo>
                  <a:cubicBezTo>
                    <a:pt x="138" y="13"/>
                    <a:pt x="139" y="7"/>
                    <a:pt x="139" y="2"/>
                  </a:cubicBezTo>
                  <a:cubicBezTo>
                    <a:pt x="136" y="2"/>
                    <a:pt x="133" y="1"/>
                    <a:pt x="132" y="1"/>
                  </a:cubicBezTo>
                  <a:cubicBezTo>
                    <a:pt x="130" y="0"/>
                    <a:pt x="126" y="1"/>
                    <a:pt x="124" y="2"/>
                  </a:cubicBezTo>
                  <a:cubicBezTo>
                    <a:pt x="121" y="2"/>
                    <a:pt x="115" y="6"/>
                    <a:pt x="113" y="4"/>
                  </a:cubicBezTo>
                  <a:cubicBezTo>
                    <a:pt x="110" y="2"/>
                    <a:pt x="89" y="5"/>
                    <a:pt x="82" y="6"/>
                  </a:cubicBezTo>
                  <a:cubicBezTo>
                    <a:pt x="76" y="6"/>
                    <a:pt x="74" y="12"/>
                    <a:pt x="70" y="12"/>
                  </a:cubicBezTo>
                  <a:cubicBezTo>
                    <a:pt x="66" y="12"/>
                    <a:pt x="60" y="15"/>
                    <a:pt x="57" y="19"/>
                  </a:cubicBezTo>
                  <a:cubicBezTo>
                    <a:pt x="56" y="20"/>
                    <a:pt x="55" y="20"/>
                    <a:pt x="54" y="20"/>
                  </a:cubicBezTo>
                  <a:cubicBezTo>
                    <a:pt x="55" y="21"/>
                    <a:pt x="55" y="22"/>
                    <a:pt x="56" y="23"/>
                  </a:cubicBezTo>
                  <a:cubicBezTo>
                    <a:pt x="57" y="25"/>
                    <a:pt x="58" y="28"/>
                    <a:pt x="58" y="3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4" name="Freeform 200">
              <a:extLst>
                <a:ext uri="{FF2B5EF4-FFF2-40B4-BE49-F238E27FC236}">
                  <a16:creationId xmlns:a16="http://schemas.microsoft.com/office/drawing/2014/main" id="{F468A9D9-3A39-7100-3580-5153F4C3A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674" y="3242080"/>
              <a:ext cx="461903" cy="439682"/>
            </a:xfrm>
            <a:custGeom>
              <a:avLst/>
              <a:gdLst>
                <a:gd name="T0" fmla="*/ 14 w 123"/>
                <a:gd name="T1" fmla="*/ 7 h 117"/>
                <a:gd name="T2" fmla="*/ 8 w 123"/>
                <a:gd name="T3" fmla="*/ 13 h 117"/>
                <a:gd name="T4" fmla="*/ 7 w 123"/>
                <a:gd name="T5" fmla="*/ 16 h 117"/>
                <a:gd name="T6" fmla="*/ 5 w 123"/>
                <a:gd name="T7" fmla="*/ 23 h 117"/>
                <a:gd name="T8" fmla="*/ 0 w 123"/>
                <a:gd name="T9" fmla="*/ 27 h 117"/>
                <a:gd name="T10" fmla="*/ 4 w 123"/>
                <a:gd name="T11" fmla="*/ 35 h 117"/>
                <a:gd name="T12" fmla="*/ 4 w 123"/>
                <a:gd name="T13" fmla="*/ 43 h 117"/>
                <a:gd name="T14" fmla="*/ 3 w 123"/>
                <a:gd name="T15" fmla="*/ 48 h 117"/>
                <a:gd name="T16" fmla="*/ 3 w 123"/>
                <a:gd name="T17" fmla="*/ 53 h 117"/>
                <a:gd name="T18" fmla="*/ 4 w 123"/>
                <a:gd name="T19" fmla="*/ 57 h 117"/>
                <a:gd name="T20" fmla="*/ 1 w 123"/>
                <a:gd name="T21" fmla="*/ 61 h 117"/>
                <a:gd name="T22" fmla="*/ 4 w 123"/>
                <a:gd name="T23" fmla="*/ 66 h 117"/>
                <a:gd name="T24" fmla="*/ 5 w 123"/>
                <a:gd name="T25" fmla="*/ 72 h 117"/>
                <a:gd name="T26" fmla="*/ 11 w 123"/>
                <a:gd name="T27" fmla="*/ 76 h 117"/>
                <a:gd name="T28" fmla="*/ 17 w 123"/>
                <a:gd name="T29" fmla="*/ 77 h 117"/>
                <a:gd name="T30" fmla="*/ 21 w 123"/>
                <a:gd name="T31" fmla="*/ 84 h 117"/>
                <a:gd name="T32" fmla="*/ 33 w 123"/>
                <a:gd name="T33" fmla="*/ 87 h 117"/>
                <a:gd name="T34" fmla="*/ 38 w 123"/>
                <a:gd name="T35" fmla="*/ 92 h 117"/>
                <a:gd name="T36" fmla="*/ 51 w 123"/>
                <a:gd name="T37" fmla="*/ 84 h 117"/>
                <a:gd name="T38" fmla="*/ 113 w 123"/>
                <a:gd name="T39" fmla="*/ 117 h 117"/>
                <a:gd name="T40" fmla="*/ 113 w 123"/>
                <a:gd name="T41" fmla="*/ 113 h 117"/>
                <a:gd name="T42" fmla="*/ 120 w 123"/>
                <a:gd name="T43" fmla="*/ 113 h 117"/>
                <a:gd name="T44" fmla="*/ 120 w 123"/>
                <a:gd name="T45" fmla="*/ 34 h 117"/>
                <a:gd name="T46" fmla="*/ 120 w 123"/>
                <a:gd name="T47" fmla="*/ 22 h 117"/>
                <a:gd name="T48" fmla="*/ 121 w 123"/>
                <a:gd name="T49" fmla="*/ 12 h 117"/>
                <a:gd name="T50" fmla="*/ 122 w 123"/>
                <a:gd name="T51" fmla="*/ 10 h 117"/>
                <a:gd name="T52" fmla="*/ 122 w 123"/>
                <a:gd name="T53" fmla="*/ 10 h 117"/>
                <a:gd name="T54" fmla="*/ 111 w 123"/>
                <a:gd name="T55" fmla="*/ 7 h 117"/>
                <a:gd name="T56" fmla="*/ 99 w 123"/>
                <a:gd name="T57" fmla="*/ 1 h 117"/>
                <a:gd name="T58" fmla="*/ 81 w 123"/>
                <a:gd name="T59" fmla="*/ 10 h 117"/>
                <a:gd name="T60" fmla="*/ 82 w 123"/>
                <a:gd name="T61" fmla="*/ 20 h 117"/>
                <a:gd name="T62" fmla="*/ 69 w 123"/>
                <a:gd name="T63" fmla="*/ 21 h 117"/>
                <a:gd name="T64" fmla="*/ 55 w 123"/>
                <a:gd name="T65" fmla="*/ 15 h 117"/>
                <a:gd name="T66" fmla="*/ 47 w 123"/>
                <a:gd name="T67" fmla="*/ 10 h 117"/>
                <a:gd name="T68" fmla="*/ 41 w 123"/>
                <a:gd name="T69" fmla="*/ 5 h 117"/>
                <a:gd name="T70" fmla="*/ 27 w 123"/>
                <a:gd name="T71" fmla="*/ 2 h 117"/>
                <a:gd name="T72" fmla="*/ 17 w 123"/>
                <a:gd name="T73" fmla="*/ 0 h 117"/>
                <a:gd name="T74" fmla="*/ 17 w 123"/>
                <a:gd name="T75" fmla="*/ 4 h 117"/>
                <a:gd name="T76" fmla="*/ 14 w 123"/>
                <a:gd name="T77" fmla="*/ 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3" h="117">
                  <a:moveTo>
                    <a:pt x="14" y="7"/>
                  </a:moveTo>
                  <a:cubicBezTo>
                    <a:pt x="13" y="7"/>
                    <a:pt x="9" y="12"/>
                    <a:pt x="8" y="13"/>
                  </a:cubicBezTo>
                  <a:cubicBezTo>
                    <a:pt x="7" y="13"/>
                    <a:pt x="6" y="15"/>
                    <a:pt x="7" y="16"/>
                  </a:cubicBezTo>
                  <a:cubicBezTo>
                    <a:pt x="7" y="17"/>
                    <a:pt x="7" y="20"/>
                    <a:pt x="5" y="23"/>
                  </a:cubicBezTo>
                  <a:cubicBezTo>
                    <a:pt x="4" y="25"/>
                    <a:pt x="1" y="26"/>
                    <a:pt x="0" y="27"/>
                  </a:cubicBezTo>
                  <a:cubicBezTo>
                    <a:pt x="0" y="28"/>
                    <a:pt x="2" y="31"/>
                    <a:pt x="4" y="35"/>
                  </a:cubicBezTo>
                  <a:cubicBezTo>
                    <a:pt x="6" y="38"/>
                    <a:pt x="2" y="40"/>
                    <a:pt x="4" y="43"/>
                  </a:cubicBezTo>
                  <a:cubicBezTo>
                    <a:pt x="5" y="46"/>
                    <a:pt x="4" y="47"/>
                    <a:pt x="3" y="48"/>
                  </a:cubicBezTo>
                  <a:cubicBezTo>
                    <a:pt x="2" y="50"/>
                    <a:pt x="3" y="52"/>
                    <a:pt x="3" y="53"/>
                  </a:cubicBezTo>
                  <a:cubicBezTo>
                    <a:pt x="3" y="55"/>
                    <a:pt x="5" y="57"/>
                    <a:pt x="4" y="57"/>
                  </a:cubicBezTo>
                  <a:cubicBezTo>
                    <a:pt x="4" y="58"/>
                    <a:pt x="1" y="60"/>
                    <a:pt x="1" y="61"/>
                  </a:cubicBezTo>
                  <a:cubicBezTo>
                    <a:pt x="1" y="62"/>
                    <a:pt x="3" y="63"/>
                    <a:pt x="4" y="66"/>
                  </a:cubicBezTo>
                  <a:cubicBezTo>
                    <a:pt x="6" y="69"/>
                    <a:pt x="5" y="70"/>
                    <a:pt x="5" y="72"/>
                  </a:cubicBezTo>
                  <a:cubicBezTo>
                    <a:pt x="6" y="74"/>
                    <a:pt x="9" y="76"/>
                    <a:pt x="11" y="76"/>
                  </a:cubicBezTo>
                  <a:cubicBezTo>
                    <a:pt x="13" y="76"/>
                    <a:pt x="15" y="77"/>
                    <a:pt x="17" y="77"/>
                  </a:cubicBezTo>
                  <a:cubicBezTo>
                    <a:pt x="19" y="77"/>
                    <a:pt x="20" y="80"/>
                    <a:pt x="21" y="84"/>
                  </a:cubicBezTo>
                  <a:cubicBezTo>
                    <a:pt x="22" y="84"/>
                    <a:pt x="30" y="84"/>
                    <a:pt x="33" y="87"/>
                  </a:cubicBezTo>
                  <a:cubicBezTo>
                    <a:pt x="36" y="89"/>
                    <a:pt x="38" y="92"/>
                    <a:pt x="38" y="92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113" y="117"/>
                    <a:pt x="113" y="117"/>
                    <a:pt x="113" y="117"/>
                  </a:cubicBezTo>
                  <a:cubicBezTo>
                    <a:pt x="113" y="113"/>
                    <a:pt x="113" y="113"/>
                    <a:pt x="113" y="113"/>
                  </a:cubicBezTo>
                  <a:cubicBezTo>
                    <a:pt x="120" y="113"/>
                    <a:pt x="120" y="113"/>
                    <a:pt x="120" y="113"/>
                  </a:cubicBezTo>
                  <a:cubicBezTo>
                    <a:pt x="120" y="113"/>
                    <a:pt x="120" y="40"/>
                    <a:pt x="120" y="34"/>
                  </a:cubicBezTo>
                  <a:cubicBezTo>
                    <a:pt x="120" y="29"/>
                    <a:pt x="118" y="25"/>
                    <a:pt x="120" y="22"/>
                  </a:cubicBezTo>
                  <a:cubicBezTo>
                    <a:pt x="123" y="19"/>
                    <a:pt x="119" y="18"/>
                    <a:pt x="121" y="12"/>
                  </a:cubicBezTo>
                  <a:cubicBezTo>
                    <a:pt x="121" y="12"/>
                    <a:pt x="122" y="11"/>
                    <a:pt x="122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21" y="8"/>
                    <a:pt x="118" y="8"/>
                    <a:pt x="111" y="7"/>
                  </a:cubicBezTo>
                  <a:cubicBezTo>
                    <a:pt x="104" y="6"/>
                    <a:pt x="107" y="1"/>
                    <a:pt x="99" y="1"/>
                  </a:cubicBezTo>
                  <a:cubicBezTo>
                    <a:pt x="91" y="0"/>
                    <a:pt x="81" y="7"/>
                    <a:pt x="81" y="10"/>
                  </a:cubicBezTo>
                  <a:cubicBezTo>
                    <a:pt x="81" y="13"/>
                    <a:pt x="84" y="17"/>
                    <a:pt x="82" y="20"/>
                  </a:cubicBezTo>
                  <a:cubicBezTo>
                    <a:pt x="79" y="24"/>
                    <a:pt x="73" y="24"/>
                    <a:pt x="69" y="21"/>
                  </a:cubicBezTo>
                  <a:cubicBezTo>
                    <a:pt x="65" y="17"/>
                    <a:pt x="59" y="15"/>
                    <a:pt x="55" y="15"/>
                  </a:cubicBezTo>
                  <a:cubicBezTo>
                    <a:pt x="50" y="15"/>
                    <a:pt x="46" y="12"/>
                    <a:pt x="47" y="10"/>
                  </a:cubicBezTo>
                  <a:cubicBezTo>
                    <a:pt x="47" y="7"/>
                    <a:pt x="45" y="6"/>
                    <a:pt x="41" y="5"/>
                  </a:cubicBezTo>
                  <a:cubicBezTo>
                    <a:pt x="37" y="4"/>
                    <a:pt x="34" y="1"/>
                    <a:pt x="27" y="2"/>
                  </a:cubicBezTo>
                  <a:cubicBezTo>
                    <a:pt x="23" y="3"/>
                    <a:pt x="20" y="1"/>
                    <a:pt x="17" y="0"/>
                  </a:cubicBezTo>
                  <a:cubicBezTo>
                    <a:pt x="17" y="2"/>
                    <a:pt x="17" y="3"/>
                    <a:pt x="17" y="4"/>
                  </a:cubicBezTo>
                  <a:cubicBezTo>
                    <a:pt x="17" y="7"/>
                    <a:pt x="15" y="6"/>
                    <a:pt x="14" y="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5" name="Freeform 201">
              <a:extLst>
                <a:ext uri="{FF2B5EF4-FFF2-40B4-BE49-F238E27FC236}">
                  <a16:creationId xmlns:a16="http://schemas.microsoft.com/office/drawing/2014/main" id="{20EE5F6B-E40D-9099-6D0D-20F732148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0614" y="3850016"/>
              <a:ext cx="87302" cy="30159"/>
            </a:xfrm>
            <a:custGeom>
              <a:avLst/>
              <a:gdLst>
                <a:gd name="T0" fmla="*/ 12 w 23"/>
                <a:gd name="T1" fmla="*/ 5 h 8"/>
                <a:gd name="T2" fmla="*/ 19 w 23"/>
                <a:gd name="T3" fmla="*/ 7 h 8"/>
                <a:gd name="T4" fmla="*/ 23 w 23"/>
                <a:gd name="T5" fmla="*/ 5 h 8"/>
                <a:gd name="T6" fmla="*/ 19 w 23"/>
                <a:gd name="T7" fmla="*/ 5 h 8"/>
                <a:gd name="T8" fmla="*/ 11 w 23"/>
                <a:gd name="T9" fmla="*/ 1 h 8"/>
                <a:gd name="T10" fmla="*/ 1 w 23"/>
                <a:gd name="T11" fmla="*/ 3 h 8"/>
                <a:gd name="T12" fmla="*/ 0 w 23"/>
                <a:gd name="T13" fmla="*/ 8 h 8"/>
                <a:gd name="T14" fmla="*/ 3 w 23"/>
                <a:gd name="T15" fmla="*/ 7 h 8"/>
                <a:gd name="T16" fmla="*/ 12 w 23"/>
                <a:gd name="T1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8">
                  <a:moveTo>
                    <a:pt x="12" y="5"/>
                  </a:moveTo>
                  <a:cubicBezTo>
                    <a:pt x="13" y="3"/>
                    <a:pt x="16" y="6"/>
                    <a:pt x="19" y="7"/>
                  </a:cubicBezTo>
                  <a:cubicBezTo>
                    <a:pt x="21" y="7"/>
                    <a:pt x="23" y="5"/>
                    <a:pt x="23" y="5"/>
                  </a:cubicBezTo>
                  <a:cubicBezTo>
                    <a:pt x="23" y="5"/>
                    <a:pt x="23" y="5"/>
                    <a:pt x="19" y="5"/>
                  </a:cubicBezTo>
                  <a:cubicBezTo>
                    <a:pt x="15" y="4"/>
                    <a:pt x="15" y="0"/>
                    <a:pt x="11" y="1"/>
                  </a:cubicBezTo>
                  <a:cubicBezTo>
                    <a:pt x="8" y="3"/>
                    <a:pt x="6" y="3"/>
                    <a:pt x="1" y="3"/>
                  </a:cubicBezTo>
                  <a:cubicBezTo>
                    <a:pt x="1" y="4"/>
                    <a:pt x="0" y="6"/>
                    <a:pt x="0" y="8"/>
                  </a:cubicBezTo>
                  <a:cubicBezTo>
                    <a:pt x="1" y="8"/>
                    <a:pt x="2" y="7"/>
                    <a:pt x="3" y="7"/>
                  </a:cubicBezTo>
                  <a:cubicBezTo>
                    <a:pt x="5" y="7"/>
                    <a:pt x="10" y="6"/>
                    <a:pt x="12" y="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6" name="Freeform 202">
              <a:extLst>
                <a:ext uri="{FF2B5EF4-FFF2-40B4-BE49-F238E27FC236}">
                  <a16:creationId xmlns:a16="http://schemas.microsoft.com/office/drawing/2014/main" id="{DAC590F8-EFAF-DF71-16B2-61C4D7E42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1568" y="3775409"/>
              <a:ext cx="180951" cy="139682"/>
            </a:xfrm>
            <a:custGeom>
              <a:avLst/>
              <a:gdLst>
                <a:gd name="T0" fmla="*/ 11 w 48"/>
                <a:gd name="T1" fmla="*/ 36 h 37"/>
                <a:gd name="T2" fmla="*/ 16 w 48"/>
                <a:gd name="T3" fmla="*/ 34 h 37"/>
                <a:gd name="T4" fmla="*/ 27 w 48"/>
                <a:gd name="T5" fmla="*/ 33 h 37"/>
                <a:gd name="T6" fmla="*/ 29 w 48"/>
                <a:gd name="T7" fmla="*/ 34 h 37"/>
                <a:gd name="T8" fmla="*/ 29 w 48"/>
                <a:gd name="T9" fmla="*/ 33 h 37"/>
                <a:gd name="T10" fmla="*/ 35 w 48"/>
                <a:gd name="T11" fmla="*/ 35 h 37"/>
                <a:gd name="T12" fmla="*/ 47 w 48"/>
                <a:gd name="T13" fmla="*/ 36 h 37"/>
                <a:gd name="T14" fmla="*/ 48 w 48"/>
                <a:gd name="T15" fmla="*/ 36 h 37"/>
                <a:gd name="T16" fmla="*/ 48 w 48"/>
                <a:gd name="T17" fmla="*/ 30 h 37"/>
                <a:gd name="T18" fmla="*/ 43 w 48"/>
                <a:gd name="T19" fmla="*/ 25 h 37"/>
                <a:gd name="T20" fmla="*/ 42 w 48"/>
                <a:gd name="T21" fmla="*/ 20 h 37"/>
                <a:gd name="T22" fmla="*/ 41 w 48"/>
                <a:gd name="T23" fmla="*/ 18 h 37"/>
                <a:gd name="T24" fmla="*/ 36 w 48"/>
                <a:gd name="T25" fmla="*/ 12 h 37"/>
                <a:gd name="T26" fmla="*/ 31 w 48"/>
                <a:gd name="T27" fmla="*/ 5 h 37"/>
                <a:gd name="T28" fmla="*/ 28 w 48"/>
                <a:gd name="T29" fmla="*/ 5 h 37"/>
                <a:gd name="T30" fmla="*/ 23 w 48"/>
                <a:gd name="T31" fmla="*/ 1 h 37"/>
                <a:gd name="T32" fmla="*/ 17 w 48"/>
                <a:gd name="T33" fmla="*/ 2 h 37"/>
                <a:gd name="T34" fmla="*/ 10 w 48"/>
                <a:gd name="T35" fmla="*/ 2 h 37"/>
                <a:gd name="T36" fmla="*/ 5 w 48"/>
                <a:gd name="T37" fmla="*/ 6 h 37"/>
                <a:gd name="T38" fmla="*/ 5 w 48"/>
                <a:gd name="T39" fmla="*/ 6 h 37"/>
                <a:gd name="T40" fmla="*/ 3 w 48"/>
                <a:gd name="T41" fmla="*/ 12 h 37"/>
                <a:gd name="T42" fmla="*/ 6 w 48"/>
                <a:gd name="T43" fmla="*/ 24 h 37"/>
                <a:gd name="T44" fmla="*/ 6 w 48"/>
                <a:gd name="T45" fmla="*/ 25 h 37"/>
                <a:gd name="T46" fmla="*/ 16 w 48"/>
                <a:gd name="T47" fmla="*/ 23 h 37"/>
                <a:gd name="T48" fmla="*/ 24 w 48"/>
                <a:gd name="T49" fmla="*/ 27 h 37"/>
                <a:gd name="T50" fmla="*/ 28 w 48"/>
                <a:gd name="T51" fmla="*/ 27 h 37"/>
                <a:gd name="T52" fmla="*/ 24 w 48"/>
                <a:gd name="T53" fmla="*/ 29 h 37"/>
                <a:gd name="T54" fmla="*/ 17 w 48"/>
                <a:gd name="T55" fmla="*/ 27 h 37"/>
                <a:gd name="T56" fmla="*/ 8 w 48"/>
                <a:gd name="T57" fmla="*/ 29 h 37"/>
                <a:gd name="T58" fmla="*/ 5 w 48"/>
                <a:gd name="T59" fmla="*/ 30 h 37"/>
                <a:gd name="T60" fmla="*/ 6 w 48"/>
                <a:gd name="T61" fmla="*/ 34 h 37"/>
                <a:gd name="T62" fmla="*/ 7 w 48"/>
                <a:gd name="T63" fmla="*/ 35 h 37"/>
                <a:gd name="T64" fmla="*/ 11 w 48"/>
                <a:gd name="T65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" h="37">
                  <a:moveTo>
                    <a:pt x="11" y="36"/>
                  </a:moveTo>
                  <a:cubicBezTo>
                    <a:pt x="13" y="36"/>
                    <a:pt x="16" y="34"/>
                    <a:pt x="16" y="34"/>
                  </a:cubicBezTo>
                  <a:cubicBezTo>
                    <a:pt x="16" y="34"/>
                    <a:pt x="26" y="33"/>
                    <a:pt x="27" y="33"/>
                  </a:cubicBezTo>
                  <a:cubicBezTo>
                    <a:pt x="28" y="33"/>
                    <a:pt x="29" y="33"/>
                    <a:pt x="29" y="34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35" y="34"/>
                    <a:pt x="35" y="35"/>
                  </a:cubicBezTo>
                  <a:cubicBezTo>
                    <a:pt x="35" y="36"/>
                    <a:pt x="43" y="37"/>
                    <a:pt x="47" y="36"/>
                  </a:cubicBezTo>
                  <a:cubicBezTo>
                    <a:pt x="47" y="36"/>
                    <a:pt x="47" y="36"/>
                    <a:pt x="48" y="36"/>
                  </a:cubicBezTo>
                  <a:cubicBezTo>
                    <a:pt x="48" y="34"/>
                    <a:pt x="48" y="31"/>
                    <a:pt x="48" y="30"/>
                  </a:cubicBezTo>
                  <a:cubicBezTo>
                    <a:pt x="47" y="29"/>
                    <a:pt x="45" y="27"/>
                    <a:pt x="43" y="25"/>
                  </a:cubicBezTo>
                  <a:cubicBezTo>
                    <a:pt x="42" y="24"/>
                    <a:pt x="42" y="20"/>
                    <a:pt x="42" y="20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0" y="13"/>
                    <a:pt x="36" y="12"/>
                  </a:cubicBezTo>
                  <a:cubicBezTo>
                    <a:pt x="33" y="11"/>
                    <a:pt x="31" y="5"/>
                    <a:pt x="31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5" y="2"/>
                    <a:pt x="23" y="1"/>
                  </a:cubicBezTo>
                  <a:cubicBezTo>
                    <a:pt x="21" y="0"/>
                    <a:pt x="17" y="2"/>
                    <a:pt x="17" y="2"/>
                  </a:cubicBezTo>
                  <a:cubicBezTo>
                    <a:pt x="17" y="2"/>
                    <a:pt x="12" y="2"/>
                    <a:pt x="10" y="2"/>
                  </a:cubicBezTo>
                  <a:cubicBezTo>
                    <a:pt x="7" y="1"/>
                    <a:pt x="7" y="5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8"/>
                    <a:pt x="4" y="10"/>
                    <a:pt x="3" y="12"/>
                  </a:cubicBezTo>
                  <a:cubicBezTo>
                    <a:pt x="0" y="16"/>
                    <a:pt x="4" y="22"/>
                    <a:pt x="6" y="24"/>
                  </a:cubicBezTo>
                  <a:cubicBezTo>
                    <a:pt x="6" y="24"/>
                    <a:pt x="6" y="24"/>
                    <a:pt x="6" y="25"/>
                  </a:cubicBezTo>
                  <a:cubicBezTo>
                    <a:pt x="11" y="25"/>
                    <a:pt x="13" y="25"/>
                    <a:pt x="16" y="23"/>
                  </a:cubicBezTo>
                  <a:cubicBezTo>
                    <a:pt x="20" y="22"/>
                    <a:pt x="20" y="26"/>
                    <a:pt x="24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6" y="29"/>
                    <a:pt x="24" y="29"/>
                  </a:cubicBezTo>
                  <a:cubicBezTo>
                    <a:pt x="21" y="28"/>
                    <a:pt x="18" y="25"/>
                    <a:pt x="17" y="27"/>
                  </a:cubicBezTo>
                  <a:cubicBezTo>
                    <a:pt x="15" y="28"/>
                    <a:pt x="10" y="29"/>
                    <a:pt x="8" y="29"/>
                  </a:cubicBezTo>
                  <a:cubicBezTo>
                    <a:pt x="7" y="29"/>
                    <a:pt x="6" y="30"/>
                    <a:pt x="5" y="30"/>
                  </a:cubicBezTo>
                  <a:cubicBezTo>
                    <a:pt x="5" y="31"/>
                    <a:pt x="5" y="33"/>
                    <a:pt x="6" y="34"/>
                  </a:cubicBezTo>
                  <a:cubicBezTo>
                    <a:pt x="6" y="34"/>
                    <a:pt x="7" y="34"/>
                    <a:pt x="7" y="35"/>
                  </a:cubicBezTo>
                  <a:cubicBezTo>
                    <a:pt x="11" y="34"/>
                    <a:pt x="10" y="36"/>
                    <a:pt x="11" y="3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7" name="Freeform 203">
              <a:extLst>
                <a:ext uri="{FF2B5EF4-FFF2-40B4-BE49-F238E27FC236}">
                  <a16:creationId xmlns:a16="http://schemas.microsoft.com/office/drawing/2014/main" id="{D4EFBDDA-9CDE-0C55-B17A-C7E1E3876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548" y="3891285"/>
              <a:ext cx="82540" cy="49207"/>
            </a:xfrm>
            <a:custGeom>
              <a:avLst/>
              <a:gdLst>
                <a:gd name="T0" fmla="*/ 12 w 22"/>
                <a:gd name="T1" fmla="*/ 12 h 13"/>
                <a:gd name="T2" fmla="*/ 18 w 22"/>
                <a:gd name="T3" fmla="*/ 9 h 13"/>
                <a:gd name="T4" fmla="*/ 21 w 22"/>
                <a:gd name="T5" fmla="*/ 7 h 13"/>
                <a:gd name="T6" fmla="*/ 21 w 22"/>
                <a:gd name="T7" fmla="*/ 4 h 13"/>
                <a:gd name="T8" fmla="*/ 22 w 22"/>
                <a:gd name="T9" fmla="*/ 1 h 13"/>
                <a:gd name="T10" fmla="*/ 20 w 22"/>
                <a:gd name="T11" fmla="*/ 0 h 13"/>
                <a:gd name="T12" fmla="*/ 9 w 22"/>
                <a:gd name="T13" fmla="*/ 1 h 13"/>
                <a:gd name="T14" fmla="*/ 4 w 22"/>
                <a:gd name="T15" fmla="*/ 3 h 13"/>
                <a:gd name="T16" fmla="*/ 0 w 22"/>
                <a:gd name="T17" fmla="*/ 2 h 13"/>
                <a:gd name="T18" fmla="*/ 6 w 22"/>
                <a:gd name="T19" fmla="*/ 7 h 13"/>
                <a:gd name="T20" fmla="*/ 10 w 22"/>
                <a:gd name="T21" fmla="*/ 13 h 13"/>
                <a:gd name="T22" fmla="*/ 11 w 22"/>
                <a:gd name="T23" fmla="*/ 13 h 13"/>
                <a:gd name="T24" fmla="*/ 12 w 22"/>
                <a:gd name="T2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13">
                  <a:moveTo>
                    <a:pt x="12" y="12"/>
                  </a:moveTo>
                  <a:cubicBezTo>
                    <a:pt x="13" y="11"/>
                    <a:pt x="17" y="8"/>
                    <a:pt x="18" y="9"/>
                  </a:cubicBezTo>
                  <a:cubicBezTo>
                    <a:pt x="19" y="9"/>
                    <a:pt x="21" y="8"/>
                    <a:pt x="21" y="7"/>
                  </a:cubicBezTo>
                  <a:cubicBezTo>
                    <a:pt x="21" y="7"/>
                    <a:pt x="19" y="4"/>
                    <a:pt x="21" y="4"/>
                  </a:cubicBezTo>
                  <a:cubicBezTo>
                    <a:pt x="22" y="3"/>
                    <a:pt x="22" y="2"/>
                    <a:pt x="22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0"/>
                    <a:pt x="9" y="1"/>
                    <a:pt x="9" y="1"/>
                  </a:cubicBezTo>
                  <a:cubicBezTo>
                    <a:pt x="9" y="1"/>
                    <a:pt x="6" y="3"/>
                    <a:pt x="4" y="3"/>
                  </a:cubicBezTo>
                  <a:cubicBezTo>
                    <a:pt x="3" y="3"/>
                    <a:pt x="4" y="1"/>
                    <a:pt x="0" y="2"/>
                  </a:cubicBezTo>
                  <a:cubicBezTo>
                    <a:pt x="2" y="4"/>
                    <a:pt x="2" y="5"/>
                    <a:pt x="6" y="7"/>
                  </a:cubicBezTo>
                  <a:cubicBezTo>
                    <a:pt x="11" y="8"/>
                    <a:pt x="6" y="10"/>
                    <a:pt x="10" y="13"/>
                  </a:cubicBezTo>
                  <a:cubicBezTo>
                    <a:pt x="10" y="13"/>
                    <a:pt x="10" y="13"/>
                    <a:pt x="11" y="13"/>
                  </a:cubicBezTo>
                  <a:cubicBezTo>
                    <a:pt x="11" y="13"/>
                    <a:pt x="11" y="13"/>
                    <a:pt x="12" y="1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8" name="Freeform 204">
              <a:extLst>
                <a:ext uri="{FF2B5EF4-FFF2-40B4-BE49-F238E27FC236}">
                  <a16:creationId xmlns:a16="http://schemas.microsoft.com/office/drawing/2014/main" id="{6782004E-5542-7554-941F-89F0679DB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66" y="3945251"/>
              <a:ext cx="371427" cy="261905"/>
            </a:xfrm>
            <a:custGeom>
              <a:avLst/>
              <a:gdLst>
                <a:gd name="T0" fmla="*/ 91 w 99"/>
                <a:gd name="T1" fmla="*/ 40 h 70"/>
                <a:gd name="T2" fmla="*/ 88 w 99"/>
                <a:gd name="T3" fmla="*/ 34 h 70"/>
                <a:gd name="T4" fmla="*/ 83 w 99"/>
                <a:gd name="T5" fmla="*/ 30 h 70"/>
                <a:gd name="T6" fmla="*/ 80 w 99"/>
                <a:gd name="T7" fmla="*/ 25 h 70"/>
                <a:gd name="T8" fmla="*/ 73 w 99"/>
                <a:gd name="T9" fmla="*/ 22 h 70"/>
                <a:gd name="T10" fmla="*/ 72 w 99"/>
                <a:gd name="T11" fmla="*/ 19 h 70"/>
                <a:gd name="T12" fmla="*/ 69 w 99"/>
                <a:gd name="T13" fmla="*/ 19 h 70"/>
                <a:gd name="T14" fmla="*/ 70 w 99"/>
                <a:gd name="T15" fmla="*/ 16 h 70"/>
                <a:gd name="T16" fmla="*/ 69 w 99"/>
                <a:gd name="T17" fmla="*/ 9 h 70"/>
                <a:gd name="T18" fmla="*/ 64 w 99"/>
                <a:gd name="T19" fmla="*/ 1 h 70"/>
                <a:gd name="T20" fmla="*/ 62 w 99"/>
                <a:gd name="T21" fmla="*/ 1 h 70"/>
                <a:gd name="T22" fmla="*/ 56 w 99"/>
                <a:gd name="T23" fmla="*/ 4 h 70"/>
                <a:gd name="T24" fmla="*/ 54 w 99"/>
                <a:gd name="T25" fmla="*/ 7 h 70"/>
                <a:gd name="T26" fmla="*/ 46 w 99"/>
                <a:gd name="T27" fmla="*/ 15 h 70"/>
                <a:gd name="T28" fmla="*/ 35 w 99"/>
                <a:gd name="T29" fmla="*/ 18 h 70"/>
                <a:gd name="T30" fmla="*/ 34 w 99"/>
                <a:gd name="T31" fmla="*/ 22 h 70"/>
                <a:gd name="T32" fmla="*/ 27 w 99"/>
                <a:gd name="T33" fmla="*/ 26 h 70"/>
                <a:gd name="T34" fmla="*/ 18 w 99"/>
                <a:gd name="T35" fmla="*/ 28 h 70"/>
                <a:gd name="T36" fmla="*/ 13 w 99"/>
                <a:gd name="T37" fmla="*/ 28 h 70"/>
                <a:gd name="T38" fmla="*/ 9 w 99"/>
                <a:gd name="T39" fmla="*/ 30 h 70"/>
                <a:gd name="T40" fmla="*/ 8 w 99"/>
                <a:gd name="T41" fmla="*/ 30 h 70"/>
                <a:gd name="T42" fmla="*/ 4 w 99"/>
                <a:gd name="T43" fmla="*/ 35 h 70"/>
                <a:gd name="T44" fmla="*/ 0 w 99"/>
                <a:gd name="T45" fmla="*/ 43 h 70"/>
                <a:gd name="T46" fmla="*/ 1 w 99"/>
                <a:gd name="T47" fmla="*/ 49 h 70"/>
                <a:gd name="T48" fmla="*/ 3 w 99"/>
                <a:gd name="T49" fmla="*/ 56 h 70"/>
                <a:gd name="T50" fmla="*/ 4 w 99"/>
                <a:gd name="T51" fmla="*/ 60 h 70"/>
                <a:gd name="T52" fmla="*/ 6 w 99"/>
                <a:gd name="T53" fmla="*/ 63 h 70"/>
                <a:gd name="T54" fmla="*/ 11 w 99"/>
                <a:gd name="T55" fmla="*/ 68 h 70"/>
                <a:gd name="T56" fmla="*/ 13 w 99"/>
                <a:gd name="T57" fmla="*/ 70 h 70"/>
                <a:gd name="T58" fmla="*/ 13 w 99"/>
                <a:gd name="T59" fmla="*/ 69 h 70"/>
                <a:gd name="T60" fmla="*/ 15 w 99"/>
                <a:gd name="T61" fmla="*/ 63 h 70"/>
                <a:gd name="T62" fmla="*/ 19 w 99"/>
                <a:gd name="T63" fmla="*/ 62 h 70"/>
                <a:gd name="T64" fmla="*/ 23 w 99"/>
                <a:gd name="T65" fmla="*/ 61 h 70"/>
                <a:gd name="T66" fmla="*/ 30 w 99"/>
                <a:gd name="T67" fmla="*/ 62 h 70"/>
                <a:gd name="T68" fmla="*/ 30 w 99"/>
                <a:gd name="T69" fmla="*/ 56 h 70"/>
                <a:gd name="T70" fmla="*/ 38 w 99"/>
                <a:gd name="T71" fmla="*/ 50 h 70"/>
                <a:gd name="T72" fmla="*/ 45 w 99"/>
                <a:gd name="T73" fmla="*/ 54 h 70"/>
                <a:gd name="T74" fmla="*/ 60 w 99"/>
                <a:gd name="T75" fmla="*/ 57 h 70"/>
                <a:gd name="T76" fmla="*/ 62 w 99"/>
                <a:gd name="T77" fmla="*/ 52 h 70"/>
                <a:gd name="T78" fmla="*/ 69 w 99"/>
                <a:gd name="T79" fmla="*/ 52 h 70"/>
                <a:gd name="T80" fmla="*/ 77 w 99"/>
                <a:gd name="T81" fmla="*/ 50 h 70"/>
                <a:gd name="T82" fmla="*/ 84 w 99"/>
                <a:gd name="T83" fmla="*/ 49 h 70"/>
                <a:gd name="T84" fmla="*/ 93 w 99"/>
                <a:gd name="T85" fmla="*/ 50 h 70"/>
                <a:gd name="T86" fmla="*/ 99 w 99"/>
                <a:gd name="T87" fmla="*/ 49 h 70"/>
                <a:gd name="T88" fmla="*/ 97 w 99"/>
                <a:gd name="T89" fmla="*/ 44 h 70"/>
                <a:gd name="T90" fmla="*/ 91 w 99"/>
                <a:gd name="T91" fmla="*/ 4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9" h="70">
                  <a:moveTo>
                    <a:pt x="91" y="40"/>
                  </a:moveTo>
                  <a:cubicBezTo>
                    <a:pt x="91" y="38"/>
                    <a:pt x="91" y="37"/>
                    <a:pt x="88" y="34"/>
                  </a:cubicBezTo>
                  <a:cubicBezTo>
                    <a:pt x="85" y="32"/>
                    <a:pt x="83" y="31"/>
                    <a:pt x="83" y="30"/>
                  </a:cubicBezTo>
                  <a:cubicBezTo>
                    <a:pt x="83" y="28"/>
                    <a:pt x="82" y="28"/>
                    <a:pt x="80" y="25"/>
                  </a:cubicBezTo>
                  <a:cubicBezTo>
                    <a:pt x="77" y="22"/>
                    <a:pt x="73" y="22"/>
                    <a:pt x="73" y="22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9" y="19"/>
                    <a:pt x="67" y="17"/>
                    <a:pt x="70" y="16"/>
                  </a:cubicBezTo>
                  <a:cubicBezTo>
                    <a:pt x="73" y="14"/>
                    <a:pt x="70" y="10"/>
                    <a:pt x="69" y="9"/>
                  </a:cubicBezTo>
                  <a:cubicBezTo>
                    <a:pt x="69" y="8"/>
                    <a:pt x="65" y="2"/>
                    <a:pt x="64" y="1"/>
                  </a:cubicBezTo>
                  <a:cubicBezTo>
                    <a:pt x="63" y="1"/>
                    <a:pt x="63" y="1"/>
                    <a:pt x="62" y="1"/>
                  </a:cubicBezTo>
                  <a:cubicBezTo>
                    <a:pt x="61" y="0"/>
                    <a:pt x="57" y="2"/>
                    <a:pt x="56" y="4"/>
                  </a:cubicBezTo>
                  <a:cubicBezTo>
                    <a:pt x="54" y="5"/>
                    <a:pt x="55" y="6"/>
                    <a:pt x="54" y="7"/>
                  </a:cubicBezTo>
                  <a:cubicBezTo>
                    <a:pt x="53" y="9"/>
                    <a:pt x="49" y="12"/>
                    <a:pt x="46" y="15"/>
                  </a:cubicBezTo>
                  <a:cubicBezTo>
                    <a:pt x="43" y="19"/>
                    <a:pt x="37" y="17"/>
                    <a:pt x="35" y="18"/>
                  </a:cubicBezTo>
                  <a:cubicBezTo>
                    <a:pt x="33" y="19"/>
                    <a:pt x="36" y="21"/>
                    <a:pt x="34" y="22"/>
                  </a:cubicBezTo>
                  <a:cubicBezTo>
                    <a:pt x="33" y="23"/>
                    <a:pt x="28" y="25"/>
                    <a:pt x="27" y="26"/>
                  </a:cubicBezTo>
                  <a:cubicBezTo>
                    <a:pt x="26" y="27"/>
                    <a:pt x="20" y="26"/>
                    <a:pt x="18" y="28"/>
                  </a:cubicBezTo>
                  <a:cubicBezTo>
                    <a:pt x="17" y="31"/>
                    <a:pt x="15" y="26"/>
                    <a:pt x="13" y="28"/>
                  </a:cubicBezTo>
                  <a:cubicBezTo>
                    <a:pt x="11" y="31"/>
                    <a:pt x="9" y="31"/>
                    <a:pt x="9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6" y="31"/>
                    <a:pt x="4" y="33"/>
                    <a:pt x="4" y="35"/>
                  </a:cubicBezTo>
                  <a:cubicBezTo>
                    <a:pt x="3" y="38"/>
                    <a:pt x="0" y="41"/>
                    <a:pt x="0" y="43"/>
                  </a:cubicBezTo>
                  <a:cubicBezTo>
                    <a:pt x="0" y="44"/>
                    <a:pt x="1" y="46"/>
                    <a:pt x="1" y="49"/>
                  </a:cubicBezTo>
                  <a:cubicBezTo>
                    <a:pt x="1" y="52"/>
                    <a:pt x="2" y="53"/>
                    <a:pt x="3" y="56"/>
                  </a:cubicBezTo>
                  <a:cubicBezTo>
                    <a:pt x="5" y="58"/>
                    <a:pt x="4" y="60"/>
                    <a:pt x="4" y="60"/>
                  </a:cubicBezTo>
                  <a:cubicBezTo>
                    <a:pt x="4" y="60"/>
                    <a:pt x="5" y="61"/>
                    <a:pt x="6" y="63"/>
                  </a:cubicBezTo>
                  <a:cubicBezTo>
                    <a:pt x="8" y="65"/>
                    <a:pt x="11" y="67"/>
                    <a:pt x="11" y="68"/>
                  </a:cubicBezTo>
                  <a:cubicBezTo>
                    <a:pt x="12" y="69"/>
                    <a:pt x="12" y="69"/>
                    <a:pt x="13" y="70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5" y="66"/>
                    <a:pt x="15" y="63"/>
                    <a:pt x="15" y="63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5" y="50"/>
                    <a:pt x="38" y="50"/>
                  </a:cubicBezTo>
                  <a:cubicBezTo>
                    <a:pt x="42" y="50"/>
                    <a:pt x="45" y="54"/>
                    <a:pt x="45" y="54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1" y="53"/>
                    <a:pt x="62" y="52"/>
                  </a:cubicBezTo>
                  <a:cubicBezTo>
                    <a:pt x="64" y="51"/>
                    <a:pt x="67" y="53"/>
                    <a:pt x="69" y="52"/>
                  </a:cubicBezTo>
                  <a:cubicBezTo>
                    <a:pt x="71" y="51"/>
                    <a:pt x="74" y="50"/>
                    <a:pt x="77" y="50"/>
                  </a:cubicBezTo>
                  <a:cubicBezTo>
                    <a:pt x="81" y="50"/>
                    <a:pt x="82" y="51"/>
                    <a:pt x="84" y="49"/>
                  </a:cubicBezTo>
                  <a:cubicBezTo>
                    <a:pt x="85" y="46"/>
                    <a:pt x="93" y="50"/>
                    <a:pt x="93" y="50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1" y="41"/>
                    <a:pt x="91" y="4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39" name="Freeform 205">
              <a:extLst>
                <a:ext uri="{FF2B5EF4-FFF2-40B4-BE49-F238E27FC236}">
                  <a16:creationId xmlns:a16="http://schemas.microsoft.com/office/drawing/2014/main" id="{D76B9C7E-8A89-4962-8C99-F08BB1DEC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9500" y="3857953"/>
              <a:ext cx="360316" cy="301586"/>
            </a:xfrm>
            <a:custGeom>
              <a:avLst/>
              <a:gdLst>
                <a:gd name="T0" fmla="*/ 59 w 96"/>
                <a:gd name="T1" fmla="*/ 58 h 80"/>
                <a:gd name="T2" fmla="*/ 64 w 96"/>
                <a:gd name="T3" fmla="*/ 57 h 80"/>
                <a:gd name="T4" fmla="*/ 69 w 96"/>
                <a:gd name="T5" fmla="*/ 61 h 80"/>
                <a:gd name="T6" fmla="*/ 73 w 96"/>
                <a:gd name="T7" fmla="*/ 58 h 80"/>
                <a:gd name="T8" fmla="*/ 78 w 96"/>
                <a:gd name="T9" fmla="*/ 46 h 80"/>
                <a:gd name="T10" fmla="*/ 82 w 96"/>
                <a:gd name="T11" fmla="*/ 41 h 80"/>
                <a:gd name="T12" fmla="*/ 83 w 96"/>
                <a:gd name="T13" fmla="*/ 36 h 80"/>
                <a:gd name="T14" fmla="*/ 85 w 96"/>
                <a:gd name="T15" fmla="*/ 31 h 80"/>
                <a:gd name="T16" fmla="*/ 90 w 96"/>
                <a:gd name="T17" fmla="*/ 22 h 80"/>
                <a:gd name="T18" fmla="*/ 95 w 96"/>
                <a:gd name="T19" fmla="*/ 20 h 80"/>
                <a:gd name="T20" fmla="*/ 94 w 96"/>
                <a:gd name="T21" fmla="*/ 15 h 80"/>
                <a:gd name="T22" fmla="*/ 91 w 96"/>
                <a:gd name="T23" fmla="*/ 12 h 80"/>
                <a:gd name="T24" fmla="*/ 91 w 96"/>
                <a:gd name="T25" fmla="*/ 7 h 80"/>
                <a:gd name="T26" fmla="*/ 88 w 96"/>
                <a:gd name="T27" fmla="*/ 4 h 80"/>
                <a:gd name="T28" fmla="*/ 85 w 96"/>
                <a:gd name="T29" fmla="*/ 2 h 80"/>
                <a:gd name="T30" fmla="*/ 80 w 96"/>
                <a:gd name="T31" fmla="*/ 7 h 80"/>
                <a:gd name="T32" fmla="*/ 73 w 96"/>
                <a:gd name="T33" fmla="*/ 6 h 80"/>
                <a:gd name="T34" fmla="*/ 63 w 96"/>
                <a:gd name="T35" fmla="*/ 6 h 80"/>
                <a:gd name="T36" fmla="*/ 57 w 96"/>
                <a:gd name="T37" fmla="*/ 9 h 80"/>
                <a:gd name="T38" fmla="*/ 49 w 96"/>
                <a:gd name="T39" fmla="*/ 9 h 80"/>
                <a:gd name="T40" fmla="*/ 43 w 96"/>
                <a:gd name="T41" fmla="*/ 6 h 80"/>
                <a:gd name="T42" fmla="*/ 36 w 96"/>
                <a:gd name="T43" fmla="*/ 8 h 80"/>
                <a:gd name="T44" fmla="*/ 32 w 96"/>
                <a:gd name="T45" fmla="*/ 4 h 80"/>
                <a:gd name="T46" fmla="*/ 25 w 96"/>
                <a:gd name="T47" fmla="*/ 2 h 80"/>
                <a:gd name="T48" fmla="*/ 20 w 96"/>
                <a:gd name="T49" fmla="*/ 3 h 80"/>
                <a:gd name="T50" fmla="*/ 13 w 96"/>
                <a:gd name="T51" fmla="*/ 3 h 80"/>
                <a:gd name="T52" fmla="*/ 11 w 96"/>
                <a:gd name="T53" fmla="*/ 10 h 80"/>
                <a:gd name="T54" fmla="*/ 8 w 96"/>
                <a:gd name="T55" fmla="*/ 16 h 80"/>
                <a:gd name="T56" fmla="*/ 7 w 96"/>
                <a:gd name="T57" fmla="*/ 17 h 80"/>
                <a:gd name="T58" fmla="*/ 8 w 96"/>
                <a:gd name="T59" fmla="*/ 23 h 80"/>
                <a:gd name="T60" fmla="*/ 7 w 96"/>
                <a:gd name="T61" fmla="*/ 34 h 80"/>
                <a:gd name="T62" fmla="*/ 4 w 96"/>
                <a:gd name="T63" fmla="*/ 39 h 80"/>
                <a:gd name="T64" fmla="*/ 0 w 96"/>
                <a:gd name="T65" fmla="*/ 45 h 80"/>
                <a:gd name="T66" fmla="*/ 1 w 96"/>
                <a:gd name="T67" fmla="*/ 54 h 80"/>
                <a:gd name="T68" fmla="*/ 3 w 96"/>
                <a:gd name="T69" fmla="*/ 60 h 80"/>
                <a:gd name="T70" fmla="*/ 3 w 96"/>
                <a:gd name="T71" fmla="*/ 60 h 80"/>
                <a:gd name="T72" fmla="*/ 15 w 96"/>
                <a:gd name="T73" fmla="*/ 63 h 80"/>
                <a:gd name="T74" fmla="*/ 23 w 96"/>
                <a:gd name="T75" fmla="*/ 72 h 80"/>
                <a:gd name="T76" fmla="*/ 27 w 96"/>
                <a:gd name="T77" fmla="*/ 79 h 80"/>
                <a:gd name="T78" fmla="*/ 35 w 96"/>
                <a:gd name="T79" fmla="*/ 77 h 80"/>
                <a:gd name="T80" fmla="*/ 46 w 96"/>
                <a:gd name="T81" fmla="*/ 76 h 80"/>
                <a:gd name="T82" fmla="*/ 47 w 96"/>
                <a:gd name="T83" fmla="*/ 76 h 80"/>
                <a:gd name="T84" fmla="*/ 50 w 96"/>
                <a:gd name="T85" fmla="*/ 67 h 80"/>
                <a:gd name="T86" fmla="*/ 59 w 96"/>
                <a:gd name="T87" fmla="*/ 5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6" h="80">
                  <a:moveTo>
                    <a:pt x="59" y="58"/>
                  </a:moveTo>
                  <a:cubicBezTo>
                    <a:pt x="60" y="58"/>
                    <a:pt x="62" y="59"/>
                    <a:pt x="64" y="57"/>
                  </a:cubicBezTo>
                  <a:cubicBezTo>
                    <a:pt x="65" y="56"/>
                    <a:pt x="69" y="59"/>
                    <a:pt x="69" y="61"/>
                  </a:cubicBezTo>
                  <a:cubicBezTo>
                    <a:pt x="70" y="64"/>
                    <a:pt x="71" y="61"/>
                    <a:pt x="73" y="58"/>
                  </a:cubicBezTo>
                  <a:cubicBezTo>
                    <a:pt x="74" y="55"/>
                    <a:pt x="78" y="47"/>
                    <a:pt x="78" y="46"/>
                  </a:cubicBezTo>
                  <a:cubicBezTo>
                    <a:pt x="78" y="44"/>
                    <a:pt x="82" y="42"/>
                    <a:pt x="82" y="41"/>
                  </a:cubicBezTo>
                  <a:cubicBezTo>
                    <a:pt x="82" y="40"/>
                    <a:pt x="82" y="37"/>
                    <a:pt x="83" y="36"/>
                  </a:cubicBezTo>
                  <a:cubicBezTo>
                    <a:pt x="84" y="36"/>
                    <a:pt x="85" y="32"/>
                    <a:pt x="85" y="31"/>
                  </a:cubicBezTo>
                  <a:cubicBezTo>
                    <a:pt x="85" y="30"/>
                    <a:pt x="89" y="23"/>
                    <a:pt x="90" y="22"/>
                  </a:cubicBezTo>
                  <a:cubicBezTo>
                    <a:pt x="91" y="22"/>
                    <a:pt x="94" y="22"/>
                    <a:pt x="95" y="20"/>
                  </a:cubicBezTo>
                  <a:cubicBezTo>
                    <a:pt x="95" y="18"/>
                    <a:pt x="96" y="15"/>
                    <a:pt x="94" y="15"/>
                  </a:cubicBezTo>
                  <a:cubicBezTo>
                    <a:pt x="93" y="14"/>
                    <a:pt x="91" y="13"/>
                    <a:pt x="91" y="12"/>
                  </a:cubicBezTo>
                  <a:cubicBezTo>
                    <a:pt x="91" y="11"/>
                    <a:pt x="91" y="9"/>
                    <a:pt x="91" y="7"/>
                  </a:cubicBezTo>
                  <a:cubicBezTo>
                    <a:pt x="89" y="7"/>
                    <a:pt x="89" y="5"/>
                    <a:pt x="88" y="4"/>
                  </a:cubicBezTo>
                  <a:cubicBezTo>
                    <a:pt x="87" y="3"/>
                    <a:pt x="87" y="2"/>
                    <a:pt x="85" y="2"/>
                  </a:cubicBezTo>
                  <a:cubicBezTo>
                    <a:pt x="84" y="3"/>
                    <a:pt x="82" y="7"/>
                    <a:pt x="80" y="7"/>
                  </a:cubicBezTo>
                  <a:cubicBezTo>
                    <a:pt x="78" y="8"/>
                    <a:pt x="74" y="7"/>
                    <a:pt x="73" y="6"/>
                  </a:cubicBezTo>
                  <a:cubicBezTo>
                    <a:pt x="72" y="5"/>
                    <a:pt x="65" y="6"/>
                    <a:pt x="63" y="6"/>
                  </a:cubicBezTo>
                  <a:cubicBezTo>
                    <a:pt x="61" y="5"/>
                    <a:pt x="59" y="8"/>
                    <a:pt x="57" y="9"/>
                  </a:cubicBezTo>
                  <a:cubicBezTo>
                    <a:pt x="55" y="10"/>
                    <a:pt x="50" y="10"/>
                    <a:pt x="49" y="9"/>
                  </a:cubicBezTo>
                  <a:cubicBezTo>
                    <a:pt x="48" y="9"/>
                    <a:pt x="44" y="6"/>
                    <a:pt x="43" y="6"/>
                  </a:cubicBezTo>
                  <a:cubicBezTo>
                    <a:pt x="41" y="6"/>
                    <a:pt x="39" y="7"/>
                    <a:pt x="36" y="8"/>
                  </a:cubicBezTo>
                  <a:cubicBezTo>
                    <a:pt x="34" y="9"/>
                    <a:pt x="33" y="5"/>
                    <a:pt x="32" y="4"/>
                  </a:cubicBezTo>
                  <a:cubicBezTo>
                    <a:pt x="30" y="2"/>
                    <a:pt x="27" y="3"/>
                    <a:pt x="25" y="2"/>
                  </a:cubicBezTo>
                  <a:cubicBezTo>
                    <a:pt x="23" y="0"/>
                    <a:pt x="22" y="4"/>
                    <a:pt x="20" y="3"/>
                  </a:cubicBezTo>
                  <a:cubicBezTo>
                    <a:pt x="19" y="3"/>
                    <a:pt x="15" y="2"/>
                    <a:pt x="13" y="3"/>
                  </a:cubicBezTo>
                  <a:cubicBezTo>
                    <a:pt x="12" y="5"/>
                    <a:pt x="12" y="9"/>
                    <a:pt x="11" y="10"/>
                  </a:cubicBezTo>
                  <a:cubicBezTo>
                    <a:pt x="10" y="11"/>
                    <a:pt x="8" y="14"/>
                    <a:pt x="8" y="16"/>
                  </a:cubicBezTo>
                  <a:cubicBezTo>
                    <a:pt x="8" y="16"/>
                    <a:pt x="7" y="17"/>
                    <a:pt x="7" y="17"/>
                  </a:cubicBezTo>
                  <a:cubicBezTo>
                    <a:pt x="7" y="19"/>
                    <a:pt x="8" y="22"/>
                    <a:pt x="8" y="23"/>
                  </a:cubicBezTo>
                  <a:cubicBezTo>
                    <a:pt x="8" y="24"/>
                    <a:pt x="9" y="32"/>
                    <a:pt x="7" y="34"/>
                  </a:cubicBezTo>
                  <a:cubicBezTo>
                    <a:pt x="5" y="36"/>
                    <a:pt x="4" y="39"/>
                    <a:pt x="4" y="39"/>
                  </a:cubicBezTo>
                  <a:cubicBezTo>
                    <a:pt x="4" y="39"/>
                    <a:pt x="1" y="41"/>
                    <a:pt x="0" y="45"/>
                  </a:cubicBezTo>
                  <a:cubicBezTo>
                    <a:pt x="0" y="48"/>
                    <a:pt x="1" y="51"/>
                    <a:pt x="1" y="54"/>
                  </a:cubicBezTo>
                  <a:cubicBezTo>
                    <a:pt x="1" y="56"/>
                    <a:pt x="2" y="58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5" y="62"/>
                    <a:pt x="11" y="63"/>
                    <a:pt x="15" y="63"/>
                  </a:cubicBezTo>
                  <a:cubicBezTo>
                    <a:pt x="19" y="64"/>
                    <a:pt x="23" y="70"/>
                    <a:pt x="23" y="72"/>
                  </a:cubicBezTo>
                  <a:cubicBezTo>
                    <a:pt x="23" y="74"/>
                    <a:pt x="25" y="78"/>
                    <a:pt x="27" y="79"/>
                  </a:cubicBezTo>
                  <a:cubicBezTo>
                    <a:pt x="29" y="80"/>
                    <a:pt x="33" y="77"/>
                    <a:pt x="35" y="77"/>
                  </a:cubicBezTo>
                  <a:cubicBezTo>
                    <a:pt x="37" y="77"/>
                    <a:pt x="44" y="77"/>
                    <a:pt x="46" y="76"/>
                  </a:cubicBezTo>
                  <a:cubicBezTo>
                    <a:pt x="46" y="75"/>
                    <a:pt x="47" y="75"/>
                    <a:pt x="47" y="76"/>
                  </a:cubicBezTo>
                  <a:cubicBezTo>
                    <a:pt x="49" y="71"/>
                    <a:pt x="50" y="67"/>
                    <a:pt x="50" y="67"/>
                  </a:cubicBezTo>
                  <a:cubicBezTo>
                    <a:pt x="50" y="67"/>
                    <a:pt x="58" y="58"/>
                    <a:pt x="59" y="5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0" name="Freeform 206">
              <a:extLst>
                <a:ext uri="{FF2B5EF4-FFF2-40B4-BE49-F238E27FC236}">
                  <a16:creationId xmlns:a16="http://schemas.microsoft.com/office/drawing/2014/main" id="{74E25242-A2B7-850C-13EC-640C3EA5A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0770" y="3903980"/>
              <a:ext cx="93651" cy="190475"/>
            </a:xfrm>
            <a:custGeom>
              <a:avLst/>
              <a:gdLst>
                <a:gd name="T0" fmla="*/ 16 w 25"/>
                <a:gd name="T1" fmla="*/ 33 h 51"/>
                <a:gd name="T2" fmla="*/ 20 w 25"/>
                <a:gd name="T3" fmla="*/ 27 h 51"/>
                <a:gd name="T4" fmla="*/ 23 w 25"/>
                <a:gd name="T5" fmla="*/ 22 h 51"/>
                <a:gd name="T6" fmla="*/ 24 w 25"/>
                <a:gd name="T7" fmla="*/ 11 h 51"/>
                <a:gd name="T8" fmla="*/ 23 w 25"/>
                <a:gd name="T9" fmla="*/ 5 h 51"/>
                <a:gd name="T10" fmla="*/ 20 w 25"/>
                <a:gd name="T11" fmla="*/ 5 h 51"/>
                <a:gd name="T12" fmla="*/ 18 w 25"/>
                <a:gd name="T13" fmla="*/ 1 h 51"/>
                <a:gd name="T14" fmla="*/ 15 w 25"/>
                <a:gd name="T15" fmla="*/ 5 h 51"/>
                <a:gd name="T16" fmla="*/ 13 w 25"/>
                <a:gd name="T17" fmla="*/ 8 h 51"/>
                <a:gd name="T18" fmla="*/ 6 w 25"/>
                <a:gd name="T19" fmla="*/ 10 h 51"/>
                <a:gd name="T20" fmla="*/ 2 w 25"/>
                <a:gd name="T21" fmla="*/ 13 h 51"/>
                <a:gd name="T22" fmla="*/ 0 w 25"/>
                <a:gd name="T23" fmla="*/ 13 h 51"/>
                <a:gd name="T24" fmla="*/ 5 w 25"/>
                <a:gd name="T25" fmla="*/ 20 h 51"/>
                <a:gd name="T26" fmla="*/ 6 w 25"/>
                <a:gd name="T27" fmla="*/ 26 h 51"/>
                <a:gd name="T28" fmla="*/ 7 w 25"/>
                <a:gd name="T29" fmla="*/ 36 h 51"/>
                <a:gd name="T30" fmla="*/ 8 w 25"/>
                <a:gd name="T31" fmla="*/ 51 h 51"/>
                <a:gd name="T32" fmla="*/ 14 w 25"/>
                <a:gd name="T33" fmla="*/ 50 h 51"/>
                <a:gd name="T34" fmla="*/ 19 w 25"/>
                <a:gd name="T35" fmla="*/ 48 h 51"/>
                <a:gd name="T36" fmla="*/ 17 w 25"/>
                <a:gd name="T37" fmla="*/ 42 h 51"/>
                <a:gd name="T38" fmla="*/ 16 w 25"/>
                <a:gd name="T39" fmla="*/ 3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51">
                  <a:moveTo>
                    <a:pt x="16" y="33"/>
                  </a:moveTo>
                  <a:cubicBezTo>
                    <a:pt x="17" y="29"/>
                    <a:pt x="20" y="27"/>
                    <a:pt x="20" y="27"/>
                  </a:cubicBezTo>
                  <a:cubicBezTo>
                    <a:pt x="20" y="27"/>
                    <a:pt x="21" y="24"/>
                    <a:pt x="23" y="22"/>
                  </a:cubicBezTo>
                  <a:cubicBezTo>
                    <a:pt x="25" y="20"/>
                    <a:pt x="24" y="12"/>
                    <a:pt x="24" y="11"/>
                  </a:cubicBezTo>
                  <a:cubicBezTo>
                    <a:pt x="24" y="10"/>
                    <a:pt x="23" y="7"/>
                    <a:pt x="23" y="5"/>
                  </a:cubicBezTo>
                  <a:cubicBezTo>
                    <a:pt x="22" y="6"/>
                    <a:pt x="21" y="6"/>
                    <a:pt x="20" y="5"/>
                  </a:cubicBezTo>
                  <a:cubicBezTo>
                    <a:pt x="18" y="4"/>
                    <a:pt x="20" y="2"/>
                    <a:pt x="18" y="1"/>
                  </a:cubicBezTo>
                  <a:cubicBezTo>
                    <a:pt x="15" y="0"/>
                    <a:pt x="14" y="3"/>
                    <a:pt x="15" y="5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9"/>
                    <a:pt x="7" y="10"/>
                    <a:pt x="6" y="10"/>
                  </a:cubicBezTo>
                  <a:cubicBezTo>
                    <a:pt x="5" y="10"/>
                    <a:pt x="3" y="12"/>
                    <a:pt x="2" y="13"/>
                  </a:cubicBezTo>
                  <a:cubicBezTo>
                    <a:pt x="1" y="13"/>
                    <a:pt x="1" y="13"/>
                    <a:pt x="0" y="13"/>
                  </a:cubicBezTo>
                  <a:cubicBezTo>
                    <a:pt x="1" y="19"/>
                    <a:pt x="2" y="18"/>
                    <a:pt x="5" y="20"/>
                  </a:cubicBezTo>
                  <a:cubicBezTo>
                    <a:pt x="8" y="22"/>
                    <a:pt x="5" y="25"/>
                    <a:pt x="6" y="26"/>
                  </a:cubicBezTo>
                  <a:cubicBezTo>
                    <a:pt x="8" y="28"/>
                    <a:pt x="7" y="31"/>
                    <a:pt x="7" y="36"/>
                  </a:cubicBezTo>
                  <a:cubicBezTo>
                    <a:pt x="8" y="38"/>
                    <a:pt x="8" y="45"/>
                    <a:pt x="8" y="51"/>
                  </a:cubicBezTo>
                  <a:cubicBezTo>
                    <a:pt x="10" y="50"/>
                    <a:pt x="12" y="50"/>
                    <a:pt x="14" y="50"/>
                  </a:cubicBezTo>
                  <a:cubicBezTo>
                    <a:pt x="16" y="50"/>
                    <a:pt x="18" y="47"/>
                    <a:pt x="19" y="48"/>
                  </a:cubicBezTo>
                  <a:cubicBezTo>
                    <a:pt x="18" y="46"/>
                    <a:pt x="17" y="44"/>
                    <a:pt x="17" y="42"/>
                  </a:cubicBezTo>
                  <a:cubicBezTo>
                    <a:pt x="17" y="39"/>
                    <a:pt x="16" y="36"/>
                    <a:pt x="16" y="3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1" name="Freeform 207">
              <a:extLst>
                <a:ext uri="{FF2B5EF4-FFF2-40B4-BE49-F238E27FC236}">
                  <a16:creationId xmlns:a16="http://schemas.microsoft.com/office/drawing/2014/main" id="{B33C9226-ACBF-252B-6CB4-78A85471C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86" y="3948423"/>
              <a:ext cx="55556" cy="153968"/>
            </a:xfrm>
            <a:custGeom>
              <a:avLst/>
              <a:gdLst>
                <a:gd name="T0" fmla="*/ 13 w 15"/>
                <a:gd name="T1" fmla="*/ 14 h 41"/>
                <a:gd name="T2" fmla="*/ 12 w 15"/>
                <a:gd name="T3" fmla="*/ 8 h 41"/>
                <a:gd name="T4" fmla="*/ 7 w 15"/>
                <a:gd name="T5" fmla="*/ 1 h 41"/>
                <a:gd name="T6" fmla="*/ 1 w 15"/>
                <a:gd name="T7" fmla="*/ 0 h 41"/>
                <a:gd name="T8" fmla="*/ 0 w 15"/>
                <a:gd name="T9" fmla="*/ 0 h 41"/>
                <a:gd name="T10" fmla="*/ 2 w 15"/>
                <a:gd name="T11" fmla="*/ 5 h 41"/>
                <a:gd name="T12" fmla="*/ 4 w 15"/>
                <a:gd name="T13" fmla="*/ 10 h 41"/>
                <a:gd name="T14" fmla="*/ 4 w 15"/>
                <a:gd name="T15" fmla="*/ 21 h 41"/>
                <a:gd name="T16" fmla="*/ 6 w 15"/>
                <a:gd name="T17" fmla="*/ 32 h 41"/>
                <a:gd name="T18" fmla="*/ 9 w 15"/>
                <a:gd name="T19" fmla="*/ 41 h 41"/>
                <a:gd name="T20" fmla="*/ 11 w 15"/>
                <a:gd name="T21" fmla="*/ 40 h 41"/>
                <a:gd name="T22" fmla="*/ 15 w 15"/>
                <a:gd name="T23" fmla="*/ 39 h 41"/>
                <a:gd name="T24" fmla="*/ 14 w 15"/>
                <a:gd name="T25" fmla="*/ 24 h 41"/>
                <a:gd name="T26" fmla="*/ 13 w 15"/>
                <a:gd name="T27" fmla="*/ 14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41">
                  <a:moveTo>
                    <a:pt x="13" y="14"/>
                  </a:moveTo>
                  <a:cubicBezTo>
                    <a:pt x="12" y="13"/>
                    <a:pt x="15" y="10"/>
                    <a:pt x="12" y="8"/>
                  </a:cubicBezTo>
                  <a:cubicBezTo>
                    <a:pt x="9" y="6"/>
                    <a:pt x="8" y="7"/>
                    <a:pt x="7" y="1"/>
                  </a:cubicBezTo>
                  <a:cubicBezTo>
                    <a:pt x="6" y="1"/>
                    <a:pt x="3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1" y="2"/>
                    <a:pt x="1" y="5"/>
                    <a:pt x="2" y="5"/>
                  </a:cubicBezTo>
                  <a:cubicBezTo>
                    <a:pt x="3" y="6"/>
                    <a:pt x="4" y="7"/>
                    <a:pt x="4" y="10"/>
                  </a:cubicBezTo>
                  <a:cubicBezTo>
                    <a:pt x="4" y="12"/>
                    <a:pt x="3" y="18"/>
                    <a:pt x="4" y="21"/>
                  </a:cubicBezTo>
                  <a:cubicBezTo>
                    <a:pt x="5" y="24"/>
                    <a:pt x="6" y="28"/>
                    <a:pt x="6" y="32"/>
                  </a:cubicBezTo>
                  <a:cubicBezTo>
                    <a:pt x="6" y="35"/>
                    <a:pt x="8" y="38"/>
                    <a:pt x="9" y="41"/>
                  </a:cubicBezTo>
                  <a:cubicBezTo>
                    <a:pt x="10" y="41"/>
                    <a:pt x="10" y="41"/>
                    <a:pt x="11" y="40"/>
                  </a:cubicBezTo>
                  <a:cubicBezTo>
                    <a:pt x="12" y="39"/>
                    <a:pt x="13" y="39"/>
                    <a:pt x="15" y="39"/>
                  </a:cubicBezTo>
                  <a:cubicBezTo>
                    <a:pt x="15" y="33"/>
                    <a:pt x="15" y="26"/>
                    <a:pt x="14" y="24"/>
                  </a:cubicBezTo>
                  <a:cubicBezTo>
                    <a:pt x="14" y="19"/>
                    <a:pt x="15" y="16"/>
                    <a:pt x="13" y="1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2" name="Freeform 208">
              <a:extLst>
                <a:ext uri="{FF2B5EF4-FFF2-40B4-BE49-F238E27FC236}">
                  <a16:creationId xmlns:a16="http://schemas.microsoft.com/office/drawing/2014/main" id="{06E8D97B-1559-0AF8-8F3F-970DF58D2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5689" y="3884934"/>
              <a:ext cx="225396" cy="349206"/>
            </a:xfrm>
            <a:custGeom>
              <a:avLst/>
              <a:gdLst>
                <a:gd name="T0" fmla="*/ 25 w 60"/>
                <a:gd name="T1" fmla="*/ 88 h 93"/>
                <a:gd name="T2" fmla="*/ 46 w 60"/>
                <a:gd name="T3" fmla="*/ 89 h 93"/>
                <a:gd name="T4" fmla="*/ 58 w 60"/>
                <a:gd name="T5" fmla="*/ 93 h 93"/>
                <a:gd name="T6" fmla="*/ 60 w 60"/>
                <a:gd name="T7" fmla="*/ 86 h 93"/>
                <a:gd name="T8" fmla="*/ 58 w 60"/>
                <a:gd name="T9" fmla="*/ 84 h 93"/>
                <a:gd name="T10" fmla="*/ 53 w 60"/>
                <a:gd name="T11" fmla="*/ 79 h 93"/>
                <a:gd name="T12" fmla="*/ 51 w 60"/>
                <a:gd name="T13" fmla="*/ 76 h 93"/>
                <a:gd name="T14" fmla="*/ 50 w 60"/>
                <a:gd name="T15" fmla="*/ 72 h 93"/>
                <a:gd name="T16" fmla="*/ 48 w 60"/>
                <a:gd name="T17" fmla="*/ 65 h 93"/>
                <a:gd name="T18" fmla="*/ 47 w 60"/>
                <a:gd name="T19" fmla="*/ 59 h 93"/>
                <a:gd name="T20" fmla="*/ 51 w 60"/>
                <a:gd name="T21" fmla="*/ 51 h 93"/>
                <a:gd name="T22" fmla="*/ 55 w 60"/>
                <a:gd name="T23" fmla="*/ 46 h 93"/>
                <a:gd name="T24" fmla="*/ 52 w 60"/>
                <a:gd name="T25" fmla="*/ 40 h 93"/>
                <a:gd name="T26" fmla="*/ 46 w 60"/>
                <a:gd name="T27" fmla="*/ 33 h 93"/>
                <a:gd name="T28" fmla="*/ 44 w 60"/>
                <a:gd name="T29" fmla="*/ 27 h 93"/>
                <a:gd name="T30" fmla="*/ 51 w 60"/>
                <a:gd name="T31" fmla="*/ 26 h 93"/>
                <a:gd name="T32" fmla="*/ 54 w 60"/>
                <a:gd name="T33" fmla="*/ 25 h 93"/>
                <a:gd name="T34" fmla="*/ 51 w 60"/>
                <a:gd name="T35" fmla="*/ 15 h 93"/>
                <a:gd name="T36" fmla="*/ 50 w 60"/>
                <a:gd name="T37" fmla="*/ 8 h 93"/>
                <a:gd name="T38" fmla="*/ 45 w 60"/>
                <a:gd name="T39" fmla="*/ 0 h 93"/>
                <a:gd name="T40" fmla="*/ 44 w 60"/>
                <a:gd name="T41" fmla="*/ 0 h 93"/>
                <a:gd name="T42" fmla="*/ 44 w 60"/>
                <a:gd name="T43" fmla="*/ 5 h 93"/>
                <a:gd name="T44" fmla="*/ 47 w 60"/>
                <a:gd name="T45" fmla="*/ 8 h 93"/>
                <a:gd name="T46" fmla="*/ 48 w 60"/>
                <a:gd name="T47" fmla="*/ 13 h 93"/>
                <a:gd name="T48" fmla="*/ 43 w 60"/>
                <a:gd name="T49" fmla="*/ 15 h 93"/>
                <a:gd name="T50" fmla="*/ 38 w 60"/>
                <a:gd name="T51" fmla="*/ 24 h 93"/>
                <a:gd name="T52" fmla="*/ 36 w 60"/>
                <a:gd name="T53" fmla="*/ 29 h 93"/>
                <a:gd name="T54" fmla="*/ 35 w 60"/>
                <a:gd name="T55" fmla="*/ 34 h 93"/>
                <a:gd name="T56" fmla="*/ 31 w 60"/>
                <a:gd name="T57" fmla="*/ 39 h 93"/>
                <a:gd name="T58" fmla="*/ 26 w 60"/>
                <a:gd name="T59" fmla="*/ 51 h 93"/>
                <a:gd name="T60" fmla="*/ 22 w 60"/>
                <a:gd name="T61" fmla="*/ 54 h 93"/>
                <a:gd name="T62" fmla="*/ 17 w 60"/>
                <a:gd name="T63" fmla="*/ 50 h 93"/>
                <a:gd name="T64" fmla="*/ 12 w 60"/>
                <a:gd name="T65" fmla="*/ 51 h 93"/>
                <a:gd name="T66" fmla="*/ 3 w 60"/>
                <a:gd name="T67" fmla="*/ 60 h 93"/>
                <a:gd name="T68" fmla="*/ 0 w 60"/>
                <a:gd name="T69" fmla="*/ 69 h 93"/>
                <a:gd name="T70" fmla="*/ 4 w 60"/>
                <a:gd name="T71" fmla="*/ 73 h 93"/>
                <a:gd name="T72" fmla="*/ 10 w 60"/>
                <a:gd name="T73" fmla="*/ 74 h 93"/>
                <a:gd name="T74" fmla="*/ 12 w 60"/>
                <a:gd name="T75" fmla="*/ 82 h 93"/>
                <a:gd name="T76" fmla="*/ 10 w 60"/>
                <a:gd name="T77" fmla="*/ 89 h 93"/>
                <a:gd name="T78" fmla="*/ 22 w 60"/>
                <a:gd name="T79" fmla="*/ 89 h 93"/>
                <a:gd name="T80" fmla="*/ 25 w 60"/>
                <a:gd name="T81" fmla="*/ 8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" h="93">
                  <a:moveTo>
                    <a:pt x="25" y="88"/>
                  </a:moveTo>
                  <a:cubicBezTo>
                    <a:pt x="25" y="88"/>
                    <a:pt x="44" y="89"/>
                    <a:pt x="46" y="89"/>
                  </a:cubicBezTo>
                  <a:cubicBezTo>
                    <a:pt x="49" y="88"/>
                    <a:pt x="58" y="93"/>
                    <a:pt x="58" y="93"/>
                  </a:cubicBezTo>
                  <a:cubicBezTo>
                    <a:pt x="58" y="93"/>
                    <a:pt x="58" y="88"/>
                    <a:pt x="60" y="86"/>
                  </a:cubicBezTo>
                  <a:cubicBezTo>
                    <a:pt x="59" y="85"/>
                    <a:pt x="59" y="85"/>
                    <a:pt x="58" y="84"/>
                  </a:cubicBezTo>
                  <a:cubicBezTo>
                    <a:pt x="58" y="83"/>
                    <a:pt x="55" y="81"/>
                    <a:pt x="53" y="79"/>
                  </a:cubicBezTo>
                  <a:cubicBezTo>
                    <a:pt x="52" y="77"/>
                    <a:pt x="51" y="76"/>
                    <a:pt x="51" y="76"/>
                  </a:cubicBezTo>
                  <a:cubicBezTo>
                    <a:pt x="51" y="76"/>
                    <a:pt x="52" y="74"/>
                    <a:pt x="50" y="72"/>
                  </a:cubicBezTo>
                  <a:cubicBezTo>
                    <a:pt x="49" y="69"/>
                    <a:pt x="48" y="68"/>
                    <a:pt x="48" y="65"/>
                  </a:cubicBezTo>
                  <a:cubicBezTo>
                    <a:pt x="48" y="62"/>
                    <a:pt x="47" y="60"/>
                    <a:pt x="47" y="59"/>
                  </a:cubicBezTo>
                  <a:cubicBezTo>
                    <a:pt x="47" y="57"/>
                    <a:pt x="50" y="54"/>
                    <a:pt x="51" y="51"/>
                  </a:cubicBezTo>
                  <a:cubicBezTo>
                    <a:pt x="51" y="49"/>
                    <a:pt x="53" y="47"/>
                    <a:pt x="55" y="46"/>
                  </a:cubicBezTo>
                  <a:cubicBezTo>
                    <a:pt x="54" y="44"/>
                    <a:pt x="53" y="42"/>
                    <a:pt x="52" y="40"/>
                  </a:cubicBezTo>
                  <a:cubicBezTo>
                    <a:pt x="51" y="37"/>
                    <a:pt x="49" y="36"/>
                    <a:pt x="46" y="33"/>
                  </a:cubicBezTo>
                  <a:cubicBezTo>
                    <a:pt x="43" y="30"/>
                    <a:pt x="44" y="28"/>
                    <a:pt x="44" y="27"/>
                  </a:cubicBezTo>
                  <a:cubicBezTo>
                    <a:pt x="44" y="26"/>
                    <a:pt x="48" y="26"/>
                    <a:pt x="51" y="26"/>
                  </a:cubicBezTo>
                  <a:cubicBezTo>
                    <a:pt x="54" y="26"/>
                    <a:pt x="55" y="26"/>
                    <a:pt x="54" y="25"/>
                  </a:cubicBezTo>
                  <a:cubicBezTo>
                    <a:pt x="53" y="24"/>
                    <a:pt x="51" y="19"/>
                    <a:pt x="51" y="15"/>
                  </a:cubicBezTo>
                  <a:cubicBezTo>
                    <a:pt x="51" y="11"/>
                    <a:pt x="50" y="10"/>
                    <a:pt x="50" y="8"/>
                  </a:cubicBezTo>
                  <a:cubicBezTo>
                    <a:pt x="50" y="6"/>
                    <a:pt x="47" y="0"/>
                    <a:pt x="45" y="0"/>
                  </a:cubicBezTo>
                  <a:cubicBezTo>
                    <a:pt x="45" y="0"/>
                    <a:pt x="45" y="0"/>
                    <a:pt x="44" y="0"/>
                  </a:cubicBezTo>
                  <a:cubicBezTo>
                    <a:pt x="44" y="2"/>
                    <a:pt x="44" y="4"/>
                    <a:pt x="44" y="5"/>
                  </a:cubicBezTo>
                  <a:cubicBezTo>
                    <a:pt x="44" y="6"/>
                    <a:pt x="46" y="7"/>
                    <a:pt x="47" y="8"/>
                  </a:cubicBezTo>
                  <a:cubicBezTo>
                    <a:pt x="49" y="8"/>
                    <a:pt x="48" y="11"/>
                    <a:pt x="48" y="13"/>
                  </a:cubicBezTo>
                  <a:cubicBezTo>
                    <a:pt x="47" y="15"/>
                    <a:pt x="44" y="15"/>
                    <a:pt x="43" y="15"/>
                  </a:cubicBezTo>
                  <a:cubicBezTo>
                    <a:pt x="42" y="16"/>
                    <a:pt x="38" y="23"/>
                    <a:pt x="38" y="24"/>
                  </a:cubicBezTo>
                  <a:cubicBezTo>
                    <a:pt x="38" y="25"/>
                    <a:pt x="37" y="29"/>
                    <a:pt x="36" y="29"/>
                  </a:cubicBezTo>
                  <a:cubicBezTo>
                    <a:pt x="35" y="30"/>
                    <a:pt x="35" y="33"/>
                    <a:pt x="35" y="34"/>
                  </a:cubicBezTo>
                  <a:cubicBezTo>
                    <a:pt x="35" y="35"/>
                    <a:pt x="31" y="37"/>
                    <a:pt x="31" y="39"/>
                  </a:cubicBezTo>
                  <a:cubicBezTo>
                    <a:pt x="31" y="40"/>
                    <a:pt x="27" y="48"/>
                    <a:pt x="26" y="51"/>
                  </a:cubicBezTo>
                  <a:cubicBezTo>
                    <a:pt x="24" y="54"/>
                    <a:pt x="23" y="57"/>
                    <a:pt x="22" y="54"/>
                  </a:cubicBezTo>
                  <a:cubicBezTo>
                    <a:pt x="22" y="52"/>
                    <a:pt x="18" y="49"/>
                    <a:pt x="17" y="50"/>
                  </a:cubicBezTo>
                  <a:cubicBezTo>
                    <a:pt x="15" y="52"/>
                    <a:pt x="13" y="51"/>
                    <a:pt x="12" y="51"/>
                  </a:cubicBezTo>
                  <a:cubicBezTo>
                    <a:pt x="11" y="51"/>
                    <a:pt x="3" y="60"/>
                    <a:pt x="3" y="60"/>
                  </a:cubicBezTo>
                  <a:cubicBezTo>
                    <a:pt x="3" y="60"/>
                    <a:pt x="2" y="64"/>
                    <a:pt x="0" y="69"/>
                  </a:cubicBezTo>
                  <a:cubicBezTo>
                    <a:pt x="1" y="69"/>
                    <a:pt x="2" y="71"/>
                    <a:pt x="4" y="73"/>
                  </a:cubicBezTo>
                  <a:cubicBezTo>
                    <a:pt x="5" y="75"/>
                    <a:pt x="8" y="74"/>
                    <a:pt x="10" y="74"/>
                  </a:cubicBezTo>
                  <a:cubicBezTo>
                    <a:pt x="11" y="75"/>
                    <a:pt x="12" y="81"/>
                    <a:pt x="12" y="82"/>
                  </a:cubicBezTo>
                  <a:cubicBezTo>
                    <a:pt x="12" y="84"/>
                    <a:pt x="10" y="87"/>
                    <a:pt x="10" y="89"/>
                  </a:cubicBezTo>
                  <a:cubicBezTo>
                    <a:pt x="22" y="89"/>
                    <a:pt x="22" y="89"/>
                    <a:pt x="22" y="89"/>
                  </a:cubicBezTo>
                  <a:lnTo>
                    <a:pt x="25" y="88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3" name="Freeform 209">
              <a:extLst>
                <a:ext uri="{FF2B5EF4-FFF2-40B4-BE49-F238E27FC236}">
                  <a16:creationId xmlns:a16="http://schemas.microsoft.com/office/drawing/2014/main" id="{FAB5888A-526E-8CB2-4098-E7325F171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5056" y="3959534"/>
              <a:ext cx="187301" cy="192063"/>
            </a:xfrm>
            <a:custGeom>
              <a:avLst/>
              <a:gdLst>
                <a:gd name="T0" fmla="*/ 47 w 50"/>
                <a:gd name="T1" fmla="*/ 42 h 51"/>
                <a:gd name="T2" fmla="*/ 44 w 50"/>
                <a:gd name="T3" fmla="*/ 34 h 51"/>
                <a:gd name="T4" fmla="*/ 47 w 50"/>
                <a:gd name="T5" fmla="*/ 26 h 51"/>
                <a:gd name="T6" fmla="*/ 50 w 50"/>
                <a:gd name="T7" fmla="*/ 20 h 51"/>
                <a:gd name="T8" fmla="*/ 47 w 50"/>
                <a:gd name="T9" fmla="*/ 8 h 51"/>
                <a:gd name="T10" fmla="*/ 46 w 50"/>
                <a:gd name="T11" fmla="*/ 7 h 51"/>
                <a:gd name="T12" fmla="*/ 36 w 50"/>
                <a:gd name="T13" fmla="*/ 8 h 51"/>
                <a:gd name="T14" fmla="*/ 29 w 50"/>
                <a:gd name="T15" fmla="*/ 5 h 51"/>
                <a:gd name="T16" fmla="*/ 23 w 50"/>
                <a:gd name="T17" fmla="*/ 3 h 51"/>
                <a:gd name="T18" fmla="*/ 20 w 50"/>
                <a:gd name="T19" fmla="*/ 2 h 51"/>
                <a:gd name="T20" fmla="*/ 16 w 50"/>
                <a:gd name="T21" fmla="*/ 2 h 51"/>
                <a:gd name="T22" fmla="*/ 11 w 50"/>
                <a:gd name="T23" fmla="*/ 5 h 51"/>
                <a:gd name="T24" fmla="*/ 7 w 50"/>
                <a:gd name="T25" fmla="*/ 3 h 51"/>
                <a:gd name="T26" fmla="*/ 5 w 50"/>
                <a:gd name="T27" fmla="*/ 4 h 51"/>
                <a:gd name="T28" fmla="*/ 5 w 50"/>
                <a:gd name="T29" fmla="*/ 10 h 51"/>
                <a:gd name="T30" fmla="*/ 6 w 50"/>
                <a:gd name="T31" fmla="*/ 14 h 51"/>
                <a:gd name="T32" fmla="*/ 7 w 50"/>
                <a:gd name="T33" fmla="*/ 19 h 51"/>
                <a:gd name="T34" fmla="*/ 4 w 50"/>
                <a:gd name="T35" fmla="*/ 20 h 51"/>
                <a:gd name="T36" fmla="*/ 4 w 50"/>
                <a:gd name="T37" fmla="*/ 24 h 51"/>
                <a:gd name="T38" fmla="*/ 2 w 50"/>
                <a:gd name="T39" fmla="*/ 29 h 51"/>
                <a:gd name="T40" fmla="*/ 1 w 50"/>
                <a:gd name="T41" fmla="*/ 35 h 51"/>
                <a:gd name="T42" fmla="*/ 4 w 50"/>
                <a:gd name="T43" fmla="*/ 37 h 51"/>
                <a:gd name="T44" fmla="*/ 10 w 50"/>
                <a:gd name="T45" fmla="*/ 43 h 51"/>
                <a:gd name="T46" fmla="*/ 8 w 50"/>
                <a:gd name="T47" fmla="*/ 51 h 51"/>
                <a:gd name="T48" fmla="*/ 32 w 50"/>
                <a:gd name="T49" fmla="*/ 46 h 51"/>
                <a:gd name="T50" fmla="*/ 47 w 50"/>
                <a:gd name="T51" fmla="*/ 46 h 51"/>
                <a:gd name="T52" fmla="*/ 47 w 50"/>
                <a:gd name="T53" fmla="*/ 4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" h="51">
                  <a:moveTo>
                    <a:pt x="47" y="42"/>
                  </a:moveTo>
                  <a:cubicBezTo>
                    <a:pt x="46" y="41"/>
                    <a:pt x="44" y="35"/>
                    <a:pt x="44" y="34"/>
                  </a:cubicBezTo>
                  <a:cubicBezTo>
                    <a:pt x="44" y="32"/>
                    <a:pt x="47" y="28"/>
                    <a:pt x="47" y="26"/>
                  </a:cubicBezTo>
                  <a:cubicBezTo>
                    <a:pt x="47" y="24"/>
                    <a:pt x="50" y="22"/>
                    <a:pt x="50" y="20"/>
                  </a:cubicBezTo>
                  <a:cubicBezTo>
                    <a:pt x="50" y="19"/>
                    <a:pt x="49" y="12"/>
                    <a:pt x="47" y="8"/>
                  </a:cubicBezTo>
                  <a:cubicBezTo>
                    <a:pt x="47" y="8"/>
                    <a:pt x="46" y="8"/>
                    <a:pt x="46" y="7"/>
                  </a:cubicBezTo>
                  <a:cubicBezTo>
                    <a:pt x="44" y="6"/>
                    <a:pt x="38" y="6"/>
                    <a:pt x="36" y="8"/>
                  </a:cubicBezTo>
                  <a:cubicBezTo>
                    <a:pt x="34" y="11"/>
                    <a:pt x="30" y="6"/>
                    <a:pt x="29" y="5"/>
                  </a:cubicBezTo>
                  <a:cubicBezTo>
                    <a:pt x="28" y="4"/>
                    <a:pt x="25" y="1"/>
                    <a:pt x="23" y="3"/>
                  </a:cubicBezTo>
                  <a:cubicBezTo>
                    <a:pt x="20" y="5"/>
                    <a:pt x="20" y="4"/>
                    <a:pt x="20" y="2"/>
                  </a:cubicBezTo>
                  <a:cubicBezTo>
                    <a:pt x="20" y="0"/>
                    <a:pt x="16" y="0"/>
                    <a:pt x="16" y="2"/>
                  </a:cubicBezTo>
                  <a:cubicBezTo>
                    <a:pt x="15" y="4"/>
                    <a:pt x="12" y="6"/>
                    <a:pt x="11" y="5"/>
                  </a:cubicBezTo>
                  <a:cubicBezTo>
                    <a:pt x="10" y="3"/>
                    <a:pt x="8" y="1"/>
                    <a:pt x="7" y="3"/>
                  </a:cubicBezTo>
                  <a:cubicBezTo>
                    <a:pt x="7" y="5"/>
                    <a:pt x="6" y="5"/>
                    <a:pt x="5" y="4"/>
                  </a:cubicBezTo>
                  <a:cubicBezTo>
                    <a:pt x="4" y="7"/>
                    <a:pt x="3" y="10"/>
                    <a:pt x="5" y="10"/>
                  </a:cubicBezTo>
                  <a:cubicBezTo>
                    <a:pt x="6" y="11"/>
                    <a:pt x="6" y="13"/>
                    <a:pt x="6" y="14"/>
                  </a:cubicBezTo>
                  <a:cubicBezTo>
                    <a:pt x="6" y="15"/>
                    <a:pt x="9" y="18"/>
                    <a:pt x="7" y="19"/>
                  </a:cubicBezTo>
                  <a:cubicBezTo>
                    <a:pt x="6" y="20"/>
                    <a:pt x="5" y="18"/>
                    <a:pt x="4" y="20"/>
                  </a:cubicBezTo>
                  <a:cubicBezTo>
                    <a:pt x="3" y="21"/>
                    <a:pt x="6" y="23"/>
                    <a:pt x="4" y="24"/>
                  </a:cubicBezTo>
                  <a:cubicBezTo>
                    <a:pt x="3" y="26"/>
                    <a:pt x="2" y="26"/>
                    <a:pt x="2" y="29"/>
                  </a:cubicBezTo>
                  <a:cubicBezTo>
                    <a:pt x="2" y="32"/>
                    <a:pt x="2" y="34"/>
                    <a:pt x="1" y="35"/>
                  </a:cubicBezTo>
                  <a:cubicBezTo>
                    <a:pt x="0" y="36"/>
                    <a:pt x="1" y="36"/>
                    <a:pt x="4" y="37"/>
                  </a:cubicBezTo>
                  <a:cubicBezTo>
                    <a:pt x="6" y="39"/>
                    <a:pt x="11" y="41"/>
                    <a:pt x="10" y="43"/>
                  </a:cubicBezTo>
                  <a:cubicBezTo>
                    <a:pt x="10" y="46"/>
                    <a:pt x="9" y="46"/>
                    <a:pt x="8" y="51"/>
                  </a:cubicBezTo>
                  <a:cubicBezTo>
                    <a:pt x="13" y="51"/>
                    <a:pt x="21" y="47"/>
                    <a:pt x="32" y="46"/>
                  </a:cubicBezTo>
                  <a:cubicBezTo>
                    <a:pt x="38" y="44"/>
                    <a:pt x="43" y="45"/>
                    <a:pt x="47" y="46"/>
                  </a:cubicBezTo>
                  <a:cubicBezTo>
                    <a:pt x="48" y="45"/>
                    <a:pt x="48" y="43"/>
                    <a:pt x="47" y="4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4" name="Freeform 210">
              <a:extLst>
                <a:ext uri="{FF2B5EF4-FFF2-40B4-BE49-F238E27FC236}">
                  <a16:creationId xmlns:a16="http://schemas.microsoft.com/office/drawing/2014/main" id="{F49E0C82-3F51-E1A4-0629-CD8950BE8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0131" y="3948429"/>
              <a:ext cx="126983" cy="195238"/>
            </a:xfrm>
            <a:custGeom>
              <a:avLst/>
              <a:gdLst>
                <a:gd name="T0" fmla="*/ 29 w 34"/>
                <a:gd name="T1" fmla="*/ 21 h 52"/>
                <a:gd name="T2" fmla="*/ 29 w 34"/>
                <a:gd name="T3" fmla="*/ 10 h 52"/>
                <a:gd name="T4" fmla="*/ 27 w 34"/>
                <a:gd name="T5" fmla="*/ 5 h 52"/>
                <a:gd name="T6" fmla="*/ 25 w 34"/>
                <a:gd name="T7" fmla="*/ 0 h 52"/>
                <a:gd name="T8" fmla="*/ 23 w 34"/>
                <a:gd name="T9" fmla="*/ 2 h 52"/>
                <a:gd name="T10" fmla="*/ 3 w 34"/>
                <a:gd name="T11" fmla="*/ 1 h 52"/>
                <a:gd name="T12" fmla="*/ 4 w 34"/>
                <a:gd name="T13" fmla="*/ 9 h 52"/>
                <a:gd name="T14" fmla="*/ 3 w 34"/>
                <a:gd name="T15" fmla="*/ 11 h 52"/>
                <a:gd name="T16" fmla="*/ 6 w 34"/>
                <a:gd name="T17" fmla="*/ 23 h 52"/>
                <a:gd name="T18" fmla="*/ 3 w 34"/>
                <a:gd name="T19" fmla="*/ 29 h 52"/>
                <a:gd name="T20" fmla="*/ 0 w 34"/>
                <a:gd name="T21" fmla="*/ 37 h 52"/>
                <a:gd name="T22" fmla="*/ 3 w 34"/>
                <a:gd name="T23" fmla="*/ 45 h 52"/>
                <a:gd name="T24" fmla="*/ 3 w 34"/>
                <a:gd name="T25" fmla="*/ 49 h 52"/>
                <a:gd name="T26" fmla="*/ 9 w 34"/>
                <a:gd name="T27" fmla="*/ 52 h 52"/>
                <a:gd name="T28" fmla="*/ 25 w 34"/>
                <a:gd name="T29" fmla="*/ 45 h 52"/>
                <a:gd name="T30" fmla="*/ 34 w 34"/>
                <a:gd name="T31" fmla="*/ 41 h 52"/>
                <a:gd name="T32" fmla="*/ 31 w 34"/>
                <a:gd name="T33" fmla="*/ 32 h 52"/>
                <a:gd name="T34" fmla="*/ 29 w 34"/>
                <a:gd name="T35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" h="52">
                  <a:moveTo>
                    <a:pt x="29" y="21"/>
                  </a:moveTo>
                  <a:cubicBezTo>
                    <a:pt x="28" y="18"/>
                    <a:pt x="29" y="12"/>
                    <a:pt x="29" y="10"/>
                  </a:cubicBezTo>
                  <a:cubicBezTo>
                    <a:pt x="29" y="7"/>
                    <a:pt x="28" y="6"/>
                    <a:pt x="27" y="5"/>
                  </a:cubicBezTo>
                  <a:cubicBezTo>
                    <a:pt x="26" y="5"/>
                    <a:pt x="26" y="2"/>
                    <a:pt x="25" y="0"/>
                  </a:cubicBezTo>
                  <a:cubicBezTo>
                    <a:pt x="24" y="0"/>
                    <a:pt x="24" y="3"/>
                    <a:pt x="23" y="2"/>
                  </a:cubicBezTo>
                  <a:cubicBezTo>
                    <a:pt x="22" y="1"/>
                    <a:pt x="4" y="0"/>
                    <a:pt x="3" y="1"/>
                  </a:cubicBezTo>
                  <a:cubicBezTo>
                    <a:pt x="2" y="3"/>
                    <a:pt x="5" y="8"/>
                    <a:pt x="4" y="9"/>
                  </a:cubicBezTo>
                  <a:cubicBezTo>
                    <a:pt x="4" y="10"/>
                    <a:pt x="4" y="11"/>
                    <a:pt x="3" y="11"/>
                  </a:cubicBezTo>
                  <a:cubicBezTo>
                    <a:pt x="5" y="15"/>
                    <a:pt x="6" y="22"/>
                    <a:pt x="6" y="23"/>
                  </a:cubicBezTo>
                  <a:cubicBezTo>
                    <a:pt x="6" y="25"/>
                    <a:pt x="3" y="27"/>
                    <a:pt x="3" y="29"/>
                  </a:cubicBezTo>
                  <a:cubicBezTo>
                    <a:pt x="3" y="31"/>
                    <a:pt x="0" y="35"/>
                    <a:pt x="0" y="37"/>
                  </a:cubicBezTo>
                  <a:cubicBezTo>
                    <a:pt x="0" y="38"/>
                    <a:pt x="2" y="44"/>
                    <a:pt x="3" y="45"/>
                  </a:cubicBezTo>
                  <a:cubicBezTo>
                    <a:pt x="4" y="46"/>
                    <a:pt x="4" y="48"/>
                    <a:pt x="3" y="49"/>
                  </a:cubicBezTo>
                  <a:cubicBezTo>
                    <a:pt x="6" y="50"/>
                    <a:pt x="8" y="51"/>
                    <a:pt x="9" y="52"/>
                  </a:cubicBezTo>
                  <a:cubicBezTo>
                    <a:pt x="11" y="52"/>
                    <a:pt x="21" y="47"/>
                    <a:pt x="25" y="45"/>
                  </a:cubicBezTo>
                  <a:cubicBezTo>
                    <a:pt x="28" y="44"/>
                    <a:pt x="32" y="43"/>
                    <a:pt x="34" y="41"/>
                  </a:cubicBezTo>
                  <a:cubicBezTo>
                    <a:pt x="33" y="38"/>
                    <a:pt x="31" y="35"/>
                    <a:pt x="31" y="32"/>
                  </a:cubicBezTo>
                  <a:cubicBezTo>
                    <a:pt x="31" y="28"/>
                    <a:pt x="30" y="24"/>
                    <a:pt x="29" y="2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5" name="Freeform 211">
              <a:extLst>
                <a:ext uri="{FF2B5EF4-FFF2-40B4-BE49-F238E27FC236}">
                  <a16:creationId xmlns:a16="http://schemas.microsoft.com/office/drawing/2014/main" id="{54B9EA23-F3DA-E5E9-6D66-8A8028BE22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814" y="3899220"/>
              <a:ext cx="228570" cy="173016"/>
            </a:xfrm>
            <a:custGeom>
              <a:avLst/>
              <a:gdLst>
                <a:gd name="T0" fmla="*/ 20 w 61"/>
                <a:gd name="T1" fmla="*/ 24 h 46"/>
                <a:gd name="T2" fmla="*/ 24 w 61"/>
                <a:gd name="T3" fmla="*/ 23 h 46"/>
                <a:gd name="T4" fmla="*/ 30 w 61"/>
                <a:gd name="T5" fmla="*/ 22 h 46"/>
                <a:gd name="T6" fmla="*/ 36 w 61"/>
                <a:gd name="T7" fmla="*/ 30 h 46"/>
                <a:gd name="T8" fmla="*/ 37 w 61"/>
                <a:gd name="T9" fmla="*/ 35 h 46"/>
                <a:gd name="T10" fmla="*/ 38 w 61"/>
                <a:gd name="T11" fmla="*/ 36 h 46"/>
                <a:gd name="T12" fmla="*/ 43 w 61"/>
                <a:gd name="T13" fmla="*/ 34 h 46"/>
                <a:gd name="T14" fmla="*/ 46 w 61"/>
                <a:gd name="T15" fmla="*/ 41 h 46"/>
                <a:gd name="T16" fmla="*/ 50 w 61"/>
                <a:gd name="T17" fmla="*/ 44 h 46"/>
                <a:gd name="T18" fmla="*/ 53 w 61"/>
                <a:gd name="T19" fmla="*/ 42 h 46"/>
                <a:gd name="T20" fmla="*/ 54 w 61"/>
                <a:gd name="T21" fmla="*/ 43 h 46"/>
                <a:gd name="T22" fmla="*/ 56 w 61"/>
                <a:gd name="T23" fmla="*/ 40 h 46"/>
                <a:gd name="T24" fmla="*/ 56 w 61"/>
                <a:gd name="T25" fmla="*/ 36 h 46"/>
                <a:gd name="T26" fmla="*/ 59 w 61"/>
                <a:gd name="T27" fmla="*/ 35 h 46"/>
                <a:gd name="T28" fmla="*/ 58 w 61"/>
                <a:gd name="T29" fmla="*/ 30 h 46"/>
                <a:gd name="T30" fmla="*/ 57 w 61"/>
                <a:gd name="T31" fmla="*/ 26 h 46"/>
                <a:gd name="T32" fmla="*/ 57 w 61"/>
                <a:gd name="T33" fmla="*/ 20 h 46"/>
                <a:gd name="T34" fmla="*/ 56 w 61"/>
                <a:gd name="T35" fmla="*/ 19 h 46"/>
                <a:gd name="T36" fmla="*/ 54 w 61"/>
                <a:gd name="T37" fmla="*/ 14 h 46"/>
                <a:gd name="T38" fmla="*/ 54 w 61"/>
                <a:gd name="T39" fmla="*/ 11 h 46"/>
                <a:gd name="T40" fmla="*/ 51 w 61"/>
                <a:gd name="T41" fmla="*/ 8 h 46"/>
                <a:gd name="T42" fmla="*/ 48 w 61"/>
                <a:gd name="T43" fmla="*/ 2 h 46"/>
                <a:gd name="T44" fmla="*/ 42 w 61"/>
                <a:gd name="T45" fmla="*/ 6 h 46"/>
                <a:gd name="T46" fmla="*/ 37 w 61"/>
                <a:gd name="T47" fmla="*/ 5 h 46"/>
                <a:gd name="T48" fmla="*/ 32 w 61"/>
                <a:gd name="T49" fmla="*/ 6 h 46"/>
                <a:gd name="T50" fmla="*/ 30 w 61"/>
                <a:gd name="T51" fmla="*/ 4 h 46"/>
                <a:gd name="T52" fmla="*/ 30 w 61"/>
                <a:gd name="T53" fmla="*/ 3 h 46"/>
                <a:gd name="T54" fmla="*/ 29 w 61"/>
                <a:gd name="T55" fmla="*/ 3 h 46"/>
                <a:gd name="T56" fmla="*/ 17 w 61"/>
                <a:gd name="T57" fmla="*/ 2 h 46"/>
                <a:gd name="T58" fmla="*/ 11 w 61"/>
                <a:gd name="T59" fmla="*/ 0 h 46"/>
                <a:gd name="T60" fmla="*/ 10 w 61"/>
                <a:gd name="T61" fmla="*/ 4 h 46"/>
                <a:gd name="T62" fmla="*/ 10 w 61"/>
                <a:gd name="T63" fmla="*/ 7 h 46"/>
                <a:gd name="T64" fmla="*/ 7 w 61"/>
                <a:gd name="T65" fmla="*/ 9 h 46"/>
                <a:gd name="T66" fmla="*/ 1 w 61"/>
                <a:gd name="T67" fmla="*/ 12 h 46"/>
                <a:gd name="T68" fmla="*/ 0 w 61"/>
                <a:gd name="T69" fmla="*/ 13 h 46"/>
                <a:gd name="T70" fmla="*/ 6 w 61"/>
                <a:gd name="T71" fmla="*/ 20 h 46"/>
                <a:gd name="T72" fmla="*/ 15 w 61"/>
                <a:gd name="T73" fmla="*/ 30 h 46"/>
                <a:gd name="T74" fmla="*/ 20 w 61"/>
                <a:gd name="T75" fmla="*/ 2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1" h="46">
                  <a:moveTo>
                    <a:pt x="20" y="24"/>
                  </a:moveTo>
                  <a:cubicBezTo>
                    <a:pt x="20" y="22"/>
                    <a:pt x="22" y="23"/>
                    <a:pt x="24" y="23"/>
                  </a:cubicBezTo>
                  <a:cubicBezTo>
                    <a:pt x="26" y="24"/>
                    <a:pt x="28" y="22"/>
                    <a:pt x="30" y="22"/>
                  </a:cubicBezTo>
                  <a:cubicBezTo>
                    <a:pt x="32" y="22"/>
                    <a:pt x="36" y="28"/>
                    <a:pt x="36" y="30"/>
                  </a:cubicBezTo>
                  <a:cubicBezTo>
                    <a:pt x="36" y="32"/>
                    <a:pt x="36" y="34"/>
                    <a:pt x="37" y="35"/>
                  </a:cubicBezTo>
                  <a:cubicBezTo>
                    <a:pt x="37" y="35"/>
                    <a:pt x="38" y="35"/>
                    <a:pt x="38" y="36"/>
                  </a:cubicBezTo>
                  <a:cubicBezTo>
                    <a:pt x="41" y="35"/>
                    <a:pt x="43" y="34"/>
                    <a:pt x="43" y="34"/>
                  </a:cubicBezTo>
                  <a:cubicBezTo>
                    <a:pt x="44" y="34"/>
                    <a:pt x="46" y="39"/>
                    <a:pt x="46" y="41"/>
                  </a:cubicBezTo>
                  <a:cubicBezTo>
                    <a:pt x="45" y="44"/>
                    <a:pt x="48" y="46"/>
                    <a:pt x="50" y="44"/>
                  </a:cubicBezTo>
                  <a:cubicBezTo>
                    <a:pt x="51" y="42"/>
                    <a:pt x="52" y="40"/>
                    <a:pt x="53" y="42"/>
                  </a:cubicBezTo>
                  <a:cubicBezTo>
                    <a:pt x="53" y="42"/>
                    <a:pt x="53" y="43"/>
                    <a:pt x="54" y="43"/>
                  </a:cubicBezTo>
                  <a:cubicBezTo>
                    <a:pt x="55" y="42"/>
                    <a:pt x="56" y="41"/>
                    <a:pt x="56" y="40"/>
                  </a:cubicBezTo>
                  <a:cubicBezTo>
                    <a:pt x="58" y="39"/>
                    <a:pt x="55" y="37"/>
                    <a:pt x="56" y="36"/>
                  </a:cubicBezTo>
                  <a:cubicBezTo>
                    <a:pt x="57" y="34"/>
                    <a:pt x="58" y="36"/>
                    <a:pt x="59" y="35"/>
                  </a:cubicBezTo>
                  <a:cubicBezTo>
                    <a:pt x="61" y="34"/>
                    <a:pt x="58" y="31"/>
                    <a:pt x="58" y="30"/>
                  </a:cubicBezTo>
                  <a:cubicBezTo>
                    <a:pt x="58" y="29"/>
                    <a:pt x="58" y="27"/>
                    <a:pt x="57" y="26"/>
                  </a:cubicBezTo>
                  <a:cubicBezTo>
                    <a:pt x="55" y="26"/>
                    <a:pt x="56" y="23"/>
                    <a:pt x="57" y="20"/>
                  </a:cubicBezTo>
                  <a:cubicBezTo>
                    <a:pt x="56" y="20"/>
                    <a:pt x="56" y="19"/>
                    <a:pt x="56" y="19"/>
                  </a:cubicBezTo>
                  <a:cubicBezTo>
                    <a:pt x="55" y="17"/>
                    <a:pt x="55" y="14"/>
                    <a:pt x="54" y="14"/>
                  </a:cubicBezTo>
                  <a:cubicBezTo>
                    <a:pt x="52" y="14"/>
                    <a:pt x="52" y="12"/>
                    <a:pt x="54" y="11"/>
                  </a:cubicBezTo>
                  <a:cubicBezTo>
                    <a:pt x="55" y="11"/>
                    <a:pt x="51" y="9"/>
                    <a:pt x="51" y="8"/>
                  </a:cubicBezTo>
                  <a:cubicBezTo>
                    <a:pt x="51" y="6"/>
                    <a:pt x="49" y="2"/>
                    <a:pt x="48" y="2"/>
                  </a:cubicBezTo>
                  <a:cubicBezTo>
                    <a:pt x="47" y="1"/>
                    <a:pt x="43" y="6"/>
                    <a:pt x="42" y="6"/>
                  </a:cubicBezTo>
                  <a:cubicBezTo>
                    <a:pt x="41" y="6"/>
                    <a:pt x="37" y="3"/>
                    <a:pt x="37" y="5"/>
                  </a:cubicBezTo>
                  <a:cubicBezTo>
                    <a:pt x="36" y="8"/>
                    <a:pt x="33" y="4"/>
                    <a:pt x="32" y="6"/>
                  </a:cubicBezTo>
                  <a:cubicBezTo>
                    <a:pt x="31" y="8"/>
                    <a:pt x="30" y="4"/>
                    <a:pt x="30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5" y="4"/>
                    <a:pt x="17" y="3"/>
                    <a:pt x="17" y="2"/>
                  </a:cubicBezTo>
                  <a:cubicBezTo>
                    <a:pt x="17" y="1"/>
                    <a:pt x="11" y="0"/>
                    <a:pt x="11" y="0"/>
                  </a:cubicBezTo>
                  <a:cubicBezTo>
                    <a:pt x="11" y="0"/>
                    <a:pt x="12" y="3"/>
                    <a:pt x="10" y="4"/>
                  </a:cubicBezTo>
                  <a:cubicBezTo>
                    <a:pt x="8" y="4"/>
                    <a:pt x="10" y="7"/>
                    <a:pt x="10" y="7"/>
                  </a:cubicBezTo>
                  <a:cubicBezTo>
                    <a:pt x="10" y="8"/>
                    <a:pt x="8" y="9"/>
                    <a:pt x="7" y="9"/>
                  </a:cubicBezTo>
                  <a:cubicBezTo>
                    <a:pt x="6" y="8"/>
                    <a:pt x="2" y="11"/>
                    <a:pt x="1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3" y="16"/>
                    <a:pt x="2" y="18"/>
                    <a:pt x="6" y="20"/>
                  </a:cubicBezTo>
                  <a:cubicBezTo>
                    <a:pt x="8" y="23"/>
                    <a:pt x="12" y="26"/>
                    <a:pt x="15" y="30"/>
                  </a:cubicBezTo>
                  <a:cubicBezTo>
                    <a:pt x="17" y="28"/>
                    <a:pt x="20" y="26"/>
                    <a:pt x="20" y="2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6" name="Freeform 212">
              <a:extLst>
                <a:ext uri="{FF2B5EF4-FFF2-40B4-BE49-F238E27FC236}">
                  <a16:creationId xmlns:a16="http://schemas.microsoft.com/office/drawing/2014/main" id="{5051921B-09A9-174E-EC26-624D905F6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7751" y="4027793"/>
              <a:ext cx="128571" cy="123809"/>
            </a:xfrm>
            <a:custGeom>
              <a:avLst/>
              <a:gdLst>
                <a:gd name="T0" fmla="*/ 27 w 34"/>
                <a:gd name="T1" fmla="*/ 19 h 33"/>
                <a:gd name="T2" fmla="*/ 24 w 34"/>
                <a:gd name="T3" fmla="*/ 17 h 33"/>
                <a:gd name="T4" fmla="*/ 25 w 34"/>
                <a:gd name="T5" fmla="*/ 11 h 33"/>
                <a:gd name="T6" fmla="*/ 25 w 34"/>
                <a:gd name="T7" fmla="*/ 9 h 33"/>
                <a:gd name="T8" fmla="*/ 24 w 34"/>
                <a:gd name="T9" fmla="*/ 8 h 33"/>
                <a:gd name="T10" fmla="*/ 21 w 34"/>
                <a:gd name="T11" fmla="*/ 10 h 33"/>
                <a:gd name="T12" fmla="*/ 17 w 34"/>
                <a:gd name="T13" fmla="*/ 7 h 33"/>
                <a:gd name="T14" fmla="*/ 14 w 34"/>
                <a:gd name="T15" fmla="*/ 0 h 33"/>
                <a:gd name="T16" fmla="*/ 9 w 34"/>
                <a:gd name="T17" fmla="*/ 2 h 33"/>
                <a:gd name="T18" fmla="*/ 8 w 34"/>
                <a:gd name="T19" fmla="*/ 6 h 33"/>
                <a:gd name="T20" fmla="*/ 1 w 34"/>
                <a:gd name="T21" fmla="*/ 11 h 33"/>
                <a:gd name="T22" fmla="*/ 0 w 34"/>
                <a:gd name="T23" fmla="*/ 14 h 33"/>
                <a:gd name="T24" fmla="*/ 10 w 34"/>
                <a:gd name="T25" fmla="*/ 21 h 33"/>
                <a:gd name="T26" fmla="*/ 29 w 34"/>
                <a:gd name="T27" fmla="*/ 32 h 33"/>
                <a:gd name="T28" fmla="*/ 31 w 34"/>
                <a:gd name="T29" fmla="*/ 33 h 33"/>
                <a:gd name="T30" fmla="*/ 33 w 34"/>
                <a:gd name="T31" fmla="*/ 25 h 33"/>
                <a:gd name="T32" fmla="*/ 27 w 34"/>
                <a:gd name="T33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33">
                  <a:moveTo>
                    <a:pt x="27" y="19"/>
                  </a:moveTo>
                  <a:cubicBezTo>
                    <a:pt x="24" y="18"/>
                    <a:pt x="23" y="18"/>
                    <a:pt x="24" y="17"/>
                  </a:cubicBezTo>
                  <a:cubicBezTo>
                    <a:pt x="25" y="16"/>
                    <a:pt x="25" y="14"/>
                    <a:pt x="25" y="11"/>
                  </a:cubicBezTo>
                  <a:cubicBezTo>
                    <a:pt x="25" y="10"/>
                    <a:pt x="25" y="9"/>
                    <a:pt x="25" y="9"/>
                  </a:cubicBezTo>
                  <a:cubicBezTo>
                    <a:pt x="24" y="9"/>
                    <a:pt x="24" y="8"/>
                    <a:pt x="24" y="8"/>
                  </a:cubicBezTo>
                  <a:cubicBezTo>
                    <a:pt x="23" y="6"/>
                    <a:pt x="22" y="8"/>
                    <a:pt x="21" y="10"/>
                  </a:cubicBezTo>
                  <a:cubicBezTo>
                    <a:pt x="19" y="12"/>
                    <a:pt x="16" y="10"/>
                    <a:pt x="17" y="7"/>
                  </a:cubicBezTo>
                  <a:cubicBezTo>
                    <a:pt x="17" y="5"/>
                    <a:pt x="15" y="0"/>
                    <a:pt x="14" y="0"/>
                  </a:cubicBezTo>
                  <a:cubicBezTo>
                    <a:pt x="14" y="0"/>
                    <a:pt x="12" y="1"/>
                    <a:pt x="9" y="2"/>
                  </a:cubicBezTo>
                  <a:cubicBezTo>
                    <a:pt x="9" y="3"/>
                    <a:pt x="8" y="4"/>
                    <a:pt x="8" y="6"/>
                  </a:cubicBezTo>
                  <a:cubicBezTo>
                    <a:pt x="7" y="7"/>
                    <a:pt x="3" y="10"/>
                    <a:pt x="1" y="11"/>
                  </a:cubicBezTo>
                  <a:cubicBezTo>
                    <a:pt x="1" y="11"/>
                    <a:pt x="0" y="12"/>
                    <a:pt x="0" y="14"/>
                  </a:cubicBezTo>
                  <a:cubicBezTo>
                    <a:pt x="3" y="16"/>
                    <a:pt x="7" y="18"/>
                    <a:pt x="10" y="21"/>
                  </a:cubicBezTo>
                  <a:cubicBezTo>
                    <a:pt x="16" y="25"/>
                    <a:pt x="25" y="31"/>
                    <a:pt x="29" y="32"/>
                  </a:cubicBezTo>
                  <a:cubicBezTo>
                    <a:pt x="29" y="33"/>
                    <a:pt x="30" y="33"/>
                    <a:pt x="31" y="33"/>
                  </a:cubicBezTo>
                  <a:cubicBezTo>
                    <a:pt x="32" y="28"/>
                    <a:pt x="33" y="28"/>
                    <a:pt x="33" y="25"/>
                  </a:cubicBezTo>
                  <a:cubicBezTo>
                    <a:pt x="34" y="23"/>
                    <a:pt x="29" y="21"/>
                    <a:pt x="27" y="1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7" name="Freeform 213">
              <a:extLst>
                <a:ext uri="{FF2B5EF4-FFF2-40B4-BE49-F238E27FC236}">
                  <a16:creationId xmlns:a16="http://schemas.microsoft.com/office/drawing/2014/main" id="{CA7F0329-AAB5-F086-BDB2-223CA970C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375" y="3981763"/>
              <a:ext cx="87302" cy="98412"/>
            </a:xfrm>
            <a:custGeom>
              <a:avLst/>
              <a:gdLst>
                <a:gd name="T0" fmla="*/ 22 w 23"/>
                <a:gd name="T1" fmla="*/ 18 h 26"/>
                <a:gd name="T2" fmla="*/ 22 w 23"/>
                <a:gd name="T3" fmla="*/ 13 h 26"/>
                <a:gd name="T4" fmla="*/ 21 w 23"/>
                <a:gd name="T5" fmla="*/ 8 h 26"/>
                <a:gd name="T6" fmla="*/ 15 w 23"/>
                <a:gd name="T7" fmla="*/ 0 h 26"/>
                <a:gd name="T8" fmla="*/ 9 w 23"/>
                <a:gd name="T9" fmla="*/ 1 h 26"/>
                <a:gd name="T10" fmla="*/ 5 w 23"/>
                <a:gd name="T11" fmla="*/ 2 h 26"/>
                <a:gd name="T12" fmla="*/ 0 w 23"/>
                <a:gd name="T13" fmla="*/ 8 h 26"/>
                <a:gd name="T14" fmla="*/ 1 w 23"/>
                <a:gd name="T15" fmla="*/ 11 h 26"/>
                <a:gd name="T16" fmla="*/ 7 w 23"/>
                <a:gd name="T17" fmla="*/ 21 h 26"/>
                <a:gd name="T18" fmla="*/ 14 w 23"/>
                <a:gd name="T19" fmla="*/ 26 h 26"/>
                <a:gd name="T20" fmla="*/ 15 w 23"/>
                <a:gd name="T21" fmla="*/ 23 h 26"/>
                <a:gd name="T22" fmla="*/ 22 w 23"/>
                <a:gd name="T23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" h="26">
                  <a:moveTo>
                    <a:pt x="22" y="18"/>
                  </a:moveTo>
                  <a:cubicBezTo>
                    <a:pt x="22" y="16"/>
                    <a:pt x="23" y="14"/>
                    <a:pt x="22" y="13"/>
                  </a:cubicBezTo>
                  <a:cubicBezTo>
                    <a:pt x="21" y="12"/>
                    <a:pt x="21" y="10"/>
                    <a:pt x="21" y="8"/>
                  </a:cubicBezTo>
                  <a:cubicBezTo>
                    <a:pt x="21" y="6"/>
                    <a:pt x="17" y="0"/>
                    <a:pt x="15" y="0"/>
                  </a:cubicBezTo>
                  <a:cubicBezTo>
                    <a:pt x="13" y="0"/>
                    <a:pt x="11" y="2"/>
                    <a:pt x="9" y="1"/>
                  </a:cubicBezTo>
                  <a:cubicBezTo>
                    <a:pt x="7" y="1"/>
                    <a:pt x="5" y="0"/>
                    <a:pt x="5" y="2"/>
                  </a:cubicBezTo>
                  <a:cubicBezTo>
                    <a:pt x="5" y="4"/>
                    <a:pt x="2" y="6"/>
                    <a:pt x="0" y="8"/>
                  </a:cubicBezTo>
                  <a:cubicBezTo>
                    <a:pt x="0" y="9"/>
                    <a:pt x="0" y="10"/>
                    <a:pt x="1" y="11"/>
                  </a:cubicBezTo>
                  <a:cubicBezTo>
                    <a:pt x="3" y="18"/>
                    <a:pt x="4" y="19"/>
                    <a:pt x="7" y="21"/>
                  </a:cubicBezTo>
                  <a:cubicBezTo>
                    <a:pt x="8" y="22"/>
                    <a:pt x="11" y="24"/>
                    <a:pt x="14" y="26"/>
                  </a:cubicBezTo>
                  <a:cubicBezTo>
                    <a:pt x="14" y="24"/>
                    <a:pt x="15" y="23"/>
                    <a:pt x="15" y="23"/>
                  </a:cubicBezTo>
                  <a:cubicBezTo>
                    <a:pt x="17" y="22"/>
                    <a:pt x="21" y="19"/>
                    <a:pt x="22" y="1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8" name="Freeform 214">
              <a:extLst>
                <a:ext uri="{FF2B5EF4-FFF2-40B4-BE49-F238E27FC236}">
                  <a16:creationId xmlns:a16="http://schemas.microsoft.com/office/drawing/2014/main" id="{574B2279-5DB6-936A-2BBA-8481B91F3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498" y="3423034"/>
              <a:ext cx="255555" cy="206348"/>
            </a:xfrm>
            <a:custGeom>
              <a:avLst/>
              <a:gdLst>
                <a:gd name="T0" fmla="*/ 32 w 68"/>
                <a:gd name="T1" fmla="*/ 42 h 55"/>
                <a:gd name="T2" fmla="*/ 40 w 68"/>
                <a:gd name="T3" fmla="*/ 36 h 55"/>
                <a:gd name="T4" fmla="*/ 40 w 68"/>
                <a:gd name="T5" fmla="*/ 15 h 55"/>
                <a:gd name="T6" fmla="*/ 67 w 68"/>
                <a:gd name="T7" fmla="*/ 15 h 55"/>
                <a:gd name="T8" fmla="*/ 68 w 68"/>
                <a:gd name="T9" fmla="*/ 3 h 55"/>
                <a:gd name="T10" fmla="*/ 62 w 68"/>
                <a:gd name="T11" fmla="*/ 0 h 55"/>
                <a:gd name="T12" fmla="*/ 32 w 68"/>
                <a:gd name="T13" fmla="*/ 0 h 55"/>
                <a:gd name="T14" fmla="*/ 28 w 68"/>
                <a:gd name="T15" fmla="*/ 7 h 55"/>
                <a:gd name="T16" fmla="*/ 17 w 68"/>
                <a:gd name="T17" fmla="*/ 22 h 55"/>
                <a:gd name="T18" fmla="*/ 3 w 68"/>
                <a:gd name="T19" fmla="*/ 47 h 55"/>
                <a:gd name="T20" fmla="*/ 0 w 68"/>
                <a:gd name="T21" fmla="*/ 55 h 55"/>
                <a:gd name="T22" fmla="*/ 32 w 68"/>
                <a:gd name="T23" fmla="*/ 55 h 55"/>
                <a:gd name="T24" fmla="*/ 32 w 68"/>
                <a:gd name="T25" fmla="*/ 4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" h="55">
                  <a:moveTo>
                    <a:pt x="32" y="42"/>
                  </a:moveTo>
                  <a:cubicBezTo>
                    <a:pt x="32" y="40"/>
                    <a:pt x="40" y="38"/>
                    <a:pt x="40" y="36"/>
                  </a:cubicBezTo>
                  <a:cubicBezTo>
                    <a:pt x="40" y="34"/>
                    <a:pt x="40" y="15"/>
                    <a:pt x="40" y="15"/>
                  </a:cubicBezTo>
                  <a:cubicBezTo>
                    <a:pt x="40" y="15"/>
                    <a:pt x="67" y="15"/>
                    <a:pt x="67" y="15"/>
                  </a:cubicBezTo>
                  <a:cubicBezTo>
                    <a:pt x="68" y="14"/>
                    <a:pt x="68" y="9"/>
                    <a:pt x="68" y="3"/>
                  </a:cubicBezTo>
                  <a:cubicBezTo>
                    <a:pt x="67" y="1"/>
                    <a:pt x="68" y="0"/>
                    <a:pt x="62" y="0"/>
                  </a:cubicBezTo>
                  <a:cubicBezTo>
                    <a:pt x="57" y="0"/>
                    <a:pt x="42" y="0"/>
                    <a:pt x="32" y="0"/>
                  </a:cubicBezTo>
                  <a:cubicBezTo>
                    <a:pt x="30" y="2"/>
                    <a:pt x="28" y="5"/>
                    <a:pt x="28" y="7"/>
                  </a:cubicBezTo>
                  <a:cubicBezTo>
                    <a:pt x="26" y="11"/>
                    <a:pt x="17" y="17"/>
                    <a:pt x="17" y="22"/>
                  </a:cubicBezTo>
                  <a:cubicBezTo>
                    <a:pt x="17" y="28"/>
                    <a:pt x="8" y="36"/>
                    <a:pt x="3" y="47"/>
                  </a:cubicBezTo>
                  <a:cubicBezTo>
                    <a:pt x="1" y="50"/>
                    <a:pt x="1" y="53"/>
                    <a:pt x="0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44"/>
                    <a:pt x="32" y="4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49" name="Freeform 215">
              <a:extLst>
                <a:ext uri="{FF2B5EF4-FFF2-40B4-BE49-F238E27FC236}">
                  <a16:creationId xmlns:a16="http://schemas.microsoft.com/office/drawing/2014/main" id="{20B13143-B758-56DC-8E7C-46C91122E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498" y="3434144"/>
              <a:ext cx="368252" cy="401587"/>
            </a:xfrm>
            <a:custGeom>
              <a:avLst/>
              <a:gdLst>
                <a:gd name="T0" fmla="*/ 8 w 98"/>
                <a:gd name="T1" fmla="*/ 93 h 107"/>
                <a:gd name="T2" fmla="*/ 15 w 98"/>
                <a:gd name="T3" fmla="*/ 93 h 107"/>
                <a:gd name="T4" fmla="*/ 21 w 98"/>
                <a:gd name="T5" fmla="*/ 92 h 107"/>
                <a:gd name="T6" fmla="*/ 26 w 98"/>
                <a:gd name="T7" fmla="*/ 96 h 107"/>
                <a:gd name="T8" fmla="*/ 29 w 98"/>
                <a:gd name="T9" fmla="*/ 96 h 107"/>
                <a:gd name="T10" fmla="*/ 34 w 98"/>
                <a:gd name="T11" fmla="*/ 103 h 107"/>
                <a:gd name="T12" fmla="*/ 38 w 98"/>
                <a:gd name="T13" fmla="*/ 107 h 107"/>
                <a:gd name="T14" fmla="*/ 42 w 98"/>
                <a:gd name="T15" fmla="*/ 105 h 107"/>
                <a:gd name="T16" fmla="*/ 47 w 98"/>
                <a:gd name="T17" fmla="*/ 103 h 107"/>
                <a:gd name="T18" fmla="*/ 51 w 98"/>
                <a:gd name="T19" fmla="*/ 102 h 107"/>
                <a:gd name="T20" fmla="*/ 57 w 98"/>
                <a:gd name="T21" fmla="*/ 102 h 107"/>
                <a:gd name="T22" fmla="*/ 62 w 98"/>
                <a:gd name="T23" fmla="*/ 101 h 107"/>
                <a:gd name="T24" fmla="*/ 93 w 98"/>
                <a:gd name="T25" fmla="*/ 101 h 107"/>
                <a:gd name="T26" fmla="*/ 94 w 98"/>
                <a:gd name="T27" fmla="*/ 94 h 107"/>
                <a:gd name="T28" fmla="*/ 92 w 98"/>
                <a:gd name="T29" fmla="*/ 91 h 107"/>
                <a:gd name="T30" fmla="*/ 84 w 98"/>
                <a:gd name="T31" fmla="*/ 20 h 107"/>
                <a:gd name="T32" fmla="*/ 98 w 98"/>
                <a:gd name="T33" fmla="*/ 20 h 107"/>
                <a:gd name="T34" fmla="*/ 69 w 98"/>
                <a:gd name="T35" fmla="*/ 2 h 107"/>
                <a:gd name="T36" fmla="*/ 68 w 98"/>
                <a:gd name="T37" fmla="*/ 0 h 107"/>
                <a:gd name="T38" fmla="*/ 67 w 98"/>
                <a:gd name="T39" fmla="*/ 12 h 107"/>
                <a:gd name="T40" fmla="*/ 40 w 98"/>
                <a:gd name="T41" fmla="*/ 12 h 107"/>
                <a:gd name="T42" fmla="*/ 40 w 98"/>
                <a:gd name="T43" fmla="*/ 33 h 107"/>
                <a:gd name="T44" fmla="*/ 32 w 98"/>
                <a:gd name="T45" fmla="*/ 39 h 107"/>
                <a:gd name="T46" fmla="*/ 32 w 98"/>
                <a:gd name="T47" fmla="*/ 52 h 107"/>
                <a:gd name="T48" fmla="*/ 0 w 98"/>
                <a:gd name="T49" fmla="*/ 52 h 107"/>
                <a:gd name="T50" fmla="*/ 5 w 98"/>
                <a:gd name="T51" fmla="*/ 61 h 107"/>
                <a:gd name="T52" fmla="*/ 7 w 98"/>
                <a:gd name="T53" fmla="*/ 74 h 107"/>
                <a:gd name="T54" fmla="*/ 4 w 98"/>
                <a:gd name="T55" fmla="*/ 90 h 107"/>
                <a:gd name="T56" fmla="*/ 3 w 98"/>
                <a:gd name="T57" fmla="*/ 97 h 107"/>
                <a:gd name="T58" fmla="*/ 3 w 98"/>
                <a:gd name="T59" fmla="*/ 97 h 107"/>
                <a:gd name="T60" fmla="*/ 8 w 98"/>
                <a:gd name="T61" fmla="*/ 9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8" h="107">
                  <a:moveTo>
                    <a:pt x="8" y="93"/>
                  </a:moveTo>
                  <a:cubicBezTo>
                    <a:pt x="10" y="93"/>
                    <a:pt x="15" y="93"/>
                    <a:pt x="15" y="93"/>
                  </a:cubicBezTo>
                  <a:cubicBezTo>
                    <a:pt x="15" y="93"/>
                    <a:pt x="19" y="91"/>
                    <a:pt x="21" y="92"/>
                  </a:cubicBezTo>
                  <a:cubicBezTo>
                    <a:pt x="23" y="93"/>
                    <a:pt x="26" y="96"/>
                    <a:pt x="26" y="96"/>
                  </a:cubicBezTo>
                  <a:cubicBezTo>
                    <a:pt x="29" y="96"/>
                    <a:pt x="29" y="96"/>
                    <a:pt x="29" y="96"/>
                  </a:cubicBezTo>
                  <a:cubicBezTo>
                    <a:pt x="29" y="96"/>
                    <a:pt x="31" y="102"/>
                    <a:pt x="34" y="103"/>
                  </a:cubicBezTo>
                  <a:cubicBezTo>
                    <a:pt x="36" y="104"/>
                    <a:pt x="37" y="106"/>
                    <a:pt x="38" y="107"/>
                  </a:cubicBezTo>
                  <a:cubicBezTo>
                    <a:pt x="40" y="107"/>
                    <a:pt x="42" y="106"/>
                    <a:pt x="42" y="105"/>
                  </a:cubicBezTo>
                  <a:cubicBezTo>
                    <a:pt x="42" y="102"/>
                    <a:pt x="43" y="100"/>
                    <a:pt x="47" y="103"/>
                  </a:cubicBezTo>
                  <a:cubicBezTo>
                    <a:pt x="51" y="106"/>
                    <a:pt x="51" y="103"/>
                    <a:pt x="51" y="102"/>
                  </a:cubicBezTo>
                  <a:cubicBezTo>
                    <a:pt x="52" y="101"/>
                    <a:pt x="55" y="102"/>
                    <a:pt x="57" y="102"/>
                  </a:cubicBezTo>
                  <a:cubicBezTo>
                    <a:pt x="59" y="102"/>
                    <a:pt x="62" y="101"/>
                    <a:pt x="62" y="101"/>
                  </a:cubicBezTo>
                  <a:cubicBezTo>
                    <a:pt x="62" y="101"/>
                    <a:pt x="92" y="101"/>
                    <a:pt x="93" y="101"/>
                  </a:cubicBezTo>
                  <a:cubicBezTo>
                    <a:pt x="95" y="100"/>
                    <a:pt x="94" y="94"/>
                    <a:pt x="94" y="94"/>
                  </a:cubicBezTo>
                  <a:cubicBezTo>
                    <a:pt x="92" y="91"/>
                    <a:pt x="92" y="91"/>
                    <a:pt x="92" y="91"/>
                  </a:cubicBezTo>
                  <a:cubicBezTo>
                    <a:pt x="84" y="20"/>
                    <a:pt x="84" y="20"/>
                    <a:pt x="84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83" y="11"/>
                    <a:pt x="71" y="2"/>
                    <a:pt x="69" y="2"/>
                  </a:cubicBezTo>
                  <a:cubicBezTo>
                    <a:pt x="68" y="1"/>
                    <a:pt x="68" y="1"/>
                    <a:pt x="68" y="0"/>
                  </a:cubicBezTo>
                  <a:cubicBezTo>
                    <a:pt x="68" y="6"/>
                    <a:pt x="68" y="11"/>
                    <a:pt x="67" y="12"/>
                  </a:cubicBezTo>
                  <a:cubicBezTo>
                    <a:pt x="67" y="12"/>
                    <a:pt x="40" y="12"/>
                    <a:pt x="40" y="12"/>
                  </a:cubicBezTo>
                  <a:cubicBezTo>
                    <a:pt x="40" y="12"/>
                    <a:pt x="40" y="31"/>
                    <a:pt x="40" y="33"/>
                  </a:cubicBezTo>
                  <a:cubicBezTo>
                    <a:pt x="40" y="35"/>
                    <a:pt x="32" y="37"/>
                    <a:pt x="32" y="39"/>
                  </a:cubicBezTo>
                  <a:cubicBezTo>
                    <a:pt x="32" y="41"/>
                    <a:pt x="32" y="52"/>
                    <a:pt x="3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3" y="59"/>
                    <a:pt x="5" y="61"/>
                  </a:cubicBezTo>
                  <a:cubicBezTo>
                    <a:pt x="7" y="64"/>
                    <a:pt x="3" y="69"/>
                    <a:pt x="7" y="74"/>
                  </a:cubicBezTo>
                  <a:cubicBezTo>
                    <a:pt x="10" y="79"/>
                    <a:pt x="6" y="87"/>
                    <a:pt x="4" y="90"/>
                  </a:cubicBezTo>
                  <a:cubicBezTo>
                    <a:pt x="3" y="91"/>
                    <a:pt x="3" y="94"/>
                    <a:pt x="3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5" y="96"/>
                    <a:pt x="5" y="92"/>
                    <a:pt x="8" y="9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0" name="Freeform 216">
              <a:extLst>
                <a:ext uri="{FF2B5EF4-FFF2-40B4-BE49-F238E27FC236}">
                  <a16:creationId xmlns:a16="http://schemas.microsoft.com/office/drawing/2014/main" id="{03DE385E-0DA8-91B3-43E1-03C3D2D157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2357" y="3508748"/>
              <a:ext cx="503173" cy="473013"/>
            </a:xfrm>
            <a:custGeom>
              <a:avLst/>
              <a:gdLst>
                <a:gd name="T0" fmla="*/ 127 w 134"/>
                <a:gd name="T1" fmla="*/ 52 h 126"/>
                <a:gd name="T2" fmla="*/ 123 w 134"/>
                <a:gd name="T3" fmla="*/ 44 h 126"/>
                <a:gd name="T4" fmla="*/ 114 w 134"/>
                <a:gd name="T5" fmla="*/ 41 h 126"/>
                <a:gd name="T6" fmla="*/ 109 w 134"/>
                <a:gd name="T7" fmla="*/ 34 h 126"/>
                <a:gd name="T8" fmla="*/ 60 w 134"/>
                <a:gd name="T9" fmla="*/ 0 h 126"/>
                <a:gd name="T10" fmla="*/ 46 w 134"/>
                <a:gd name="T11" fmla="*/ 0 h 126"/>
                <a:gd name="T12" fmla="*/ 54 w 134"/>
                <a:gd name="T13" fmla="*/ 71 h 126"/>
                <a:gd name="T14" fmla="*/ 56 w 134"/>
                <a:gd name="T15" fmla="*/ 74 h 126"/>
                <a:gd name="T16" fmla="*/ 55 w 134"/>
                <a:gd name="T17" fmla="*/ 81 h 126"/>
                <a:gd name="T18" fmla="*/ 24 w 134"/>
                <a:gd name="T19" fmla="*/ 81 h 126"/>
                <a:gd name="T20" fmla="*/ 19 w 134"/>
                <a:gd name="T21" fmla="*/ 82 h 126"/>
                <a:gd name="T22" fmla="*/ 13 w 134"/>
                <a:gd name="T23" fmla="*/ 82 h 126"/>
                <a:gd name="T24" fmla="*/ 9 w 134"/>
                <a:gd name="T25" fmla="*/ 83 h 126"/>
                <a:gd name="T26" fmla="*/ 4 w 134"/>
                <a:gd name="T27" fmla="*/ 85 h 126"/>
                <a:gd name="T28" fmla="*/ 0 w 134"/>
                <a:gd name="T29" fmla="*/ 87 h 126"/>
                <a:gd name="T30" fmla="*/ 1 w 134"/>
                <a:gd name="T31" fmla="*/ 89 h 126"/>
                <a:gd name="T32" fmla="*/ 2 w 134"/>
                <a:gd name="T33" fmla="*/ 91 h 126"/>
                <a:gd name="T34" fmla="*/ 3 w 134"/>
                <a:gd name="T35" fmla="*/ 96 h 126"/>
                <a:gd name="T36" fmla="*/ 8 w 134"/>
                <a:gd name="T37" fmla="*/ 101 h 126"/>
                <a:gd name="T38" fmla="*/ 8 w 134"/>
                <a:gd name="T39" fmla="*/ 108 h 126"/>
                <a:gd name="T40" fmla="*/ 10 w 134"/>
                <a:gd name="T41" fmla="*/ 110 h 126"/>
                <a:gd name="T42" fmla="*/ 15 w 134"/>
                <a:gd name="T43" fmla="*/ 109 h 126"/>
                <a:gd name="T44" fmla="*/ 20 w 134"/>
                <a:gd name="T45" fmla="*/ 110 h 126"/>
                <a:gd name="T46" fmla="*/ 26 w 134"/>
                <a:gd name="T47" fmla="*/ 106 h 126"/>
                <a:gd name="T48" fmla="*/ 29 w 134"/>
                <a:gd name="T49" fmla="*/ 112 h 126"/>
                <a:gd name="T50" fmla="*/ 32 w 134"/>
                <a:gd name="T51" fmla="*/ 115 h 126"/>
                <a:gd name="T52" fmla="*/ 32 w 134"/>
                <a:gd name="T53" fmla="*/ 118 h 126"/>
                <a:gd name="T54" fmla="*/ 34 w 134"/>
                <a:gd name="T55" fmla="*/ 123 h 126"/>
                <a:gd name="T56" fmla="*/ 37 w 134"/>
                <a:gd name="T57" fmla="*/ 123 h 126"/>
                <a:gd name="T58" fmla="*/ 41 w 134"/>
                <a:gd name="T59" fmla="*/ 125 h 126"/>
                <a:gd name="T60" fmla="*/ 46 w 134"/>
                <a:gd name="T61" fmla="*/ 122 h 126"/>
                <a:gd name="T62" fmla="*/ 50 w 134"/>
                <a:gd name="T63" fmla="*/ 122 h 126"/>
                <a:gd name="T64" fmla="*/ 53 w 134"/>
                <a:gd name="T65" fmla="*/ 123 h 126"/>
                <a:gd name="T66" fmla="*/ 55 w 134"/>
                <a:gd name="T67" fmla="*/ 122 h 126"/>
                <a:gd name="T68" fmla="*/ 57 w 134"/>
                <a:gd name="T69" fmla="*/ 116 h 126"/>
                <a:gd name="T70" fmla="*/ 57 w 134"/>
                <a:gd name="T71" fmla="*/ 111 h 126"/>
                <a:gd name="T72" fmla="*/ 63 w 134"/>
                <a:gd name="T73" fmla="*/ 108 h 126"/>
                <a:gd name="T74" fmla="*/ 66 w 134"/>
                <a:gd name="T75" fmla="*/ 103 h 126"/>
                <a:gd name="T76" fmla="*/ 69 w 134"/>
                <a:gd name="T77" fmla="*/ 97 h 126"/>
                <a:gd name="T78" fmla="*/ 74 w 134"/>
                <a:gd name="T79" fmla="*/ 97 h 126"/>
                <a:gd name="T80" fmla="*/ 77 w 134"/>
                <a:gd name="T81" fmla="*/ 94 h 126"/>
                <a:gd name="T82" fmla="*/ 81 w 134"/>
                <a:gd name="T83" fmla="*/ 92 h 126"/>
                <a:gd name="T84" fmla="*/ 84 w 134"/>
                <a:gd name="T85" fmla="*/ 90 h 126"/>
                <a:gd name="T86" fmla="*/ 91 w 134"/>
                <a:gd name="T87" fmla="*/ 87 h 126"/>
                <a:gd name="T88" fmla="*/ 97 w 134"/>
                <a:gd name="T89" fmla="*/ 85 h 126"/>
                <a:gd name="T90" fmla="*/ 107 w 134"/>
                <a:gd name="T91" fmla="*/ 85 h 126"/>
                <a:gd name="T92" fmla="*/ 113 w 134"/>
                <a:gd name="T93" fmla="*/ 83 h 126"/>
                <a:gd name="T94" fmla="*/ 126 w 134"/>
                <a:gd name="T95" fmla="*/ 82 h 126"/>
                <a:gd name="T96" fmla="*/ 131 w 134"/>
                <a:gd name="T97" fmla="*/ 78 h 126"/>
                <a:gd name="T98" fmla="*/ 134 w 134"/>
                <a:gd name="T99" fmla="*/ 72 h 126"/>
                <a:gd name="T100" fmla="*/ 134 w 134"/>
                <a:gd name="T101" fmla="*/ 51 h 126"/>
                <a:gd name="T102" fmla="*/ 127 w 134"/>
                <a:gd name="T103" fmla="*/ 5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4" h="126">
                  <a:moveTo>
                    <a:pt x="127" y="52"/>
                  </a:moveTo>
                  <a:cubicBezTo>
                    <a:pt x="127" y="52"/>
                    <a:pt x="127" y="46"/>
                    <a:pt x="123" y="44"/>
                  </a:cubicBezTo>
                  <a:cubicBezTo>
                    <a:pt x="119" y="42"/>
                    <a:pt x="114" y="41"/>
                    <a:pt x="114" y="41"/>
                  </a:cubicBezTo>
                  <a:cubicBezTo>
                    <a:pt x="114" y="41"/>
                    <a:pt x="112" y="36"/>
                    <a:pt x="109" y="34"/>
                  </a:cubicBezTo>
                  <a:cubicBezTo>
                    <a:pt x="108" y="32"/>
                    <a:pt x="81" y="15"/>
                    <a:pt x="6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6" y="74"/>
                    <a:pt x="56" y="74"/>
                    <a:pt x="56" y="74"/>
                  </a:cubicBezTo>
                  <a:cubicBezTo>
                    <a:pt x="56" y="74"/>
                    <a:pt x="57" y="80"/>
                    <a:pt x="55" y="81"/>
                  </a:cubicBezTo>
                  <a:cubicBezTo>
                    <a:pt x="54" y="81"/>
                    <a:pt x="24" y="81"/>
                    <a:pt x="24" y="81"/>
                  </a:cubicBezTo>
                  <a:cubicBezTo>
                    <a:pt x="24" y="81"/>
                    <a:pt x="21" y="82"/>
                    <a:pt x="19" y="82"/>
                  </a:cubicBezTo>
                  <a:cubicBezTo>
                    <a:pt x="17" y="82"/>
                    <a:pt x="14" y="81"/>
                    <a:pt x="13" y="82"/>
                  </a:cubicBezTo>
                  <a:cubicBezTo>
                    <a:pt x="13" y="83"/>
                    <a:pt x="13" y="86"/>
                    <a:pt x="9" y="83"/>
                  </a:cubicBezTo>
                  <a:cubicBezTo>
                    <a:pt x="5" y="80"/>
                    <a:pt x="4" y="82"/>
                    <a:pt x="4" y="85"/>
                  </a:cubicBezTo>
                  <a:cubicBezTo>
                    <a:pt x="4" y="86"/>
                    <a:pt x="2" y="87"/>
                    <a:pt x="0" y="87"/>
                  </a:cubicBezTo>
                  <a:cubicBezTo>
                    <a:pt x="0" y="88"/>
                    <a:pt x="1" y="89"/>
                    <a:pt x="1" y="89"/>
                  </a:cubicBezTo>
                  <a:cubicBezTo>
                    <a:pt x="2" y="91"/>
                    <a:pt x="2" y="91"/>
                    <a:pt x="2" y="91"/>
                  </a:cubicBezTo>
                  <a:cubicBezTo>
                    <a:pt x="2" y="91"/>
                    <a:pt x="2" y="95"/>
                    <a:pt x="3" y="96"/>
                  </a:cubicBezTo>
                  <a:cubicBezTo>
                    <a:pt x="5" y="98"/>
                    <a:pt x="7" y="100"/>
                    <a:pt x="8" y="101"/>
                  </a:cubicBezTo>
                  <a:cubicBezTo>
                    <a:pt x="8" y="103"/>
                    <a:pt x="8" y="108"/>
                    <a:pt x="8" y="108"/>
                  </a:cubicBezTo>
                  <a:cubicBezTo>
                    <a:pt x="8" y="108"/>
                    <a:pt x="9" y="112"/>
                    <a:pt x="10" y="110"/>
                  </a:cubicBezTo>
                  <a:cubicBezTo>
                    <a:pt x="11" y="108"/>
                    <a:pt x="14" y="112"/>
                    <a:pt x="15" y="109"/>
                  </a:cubicBezTo>
                  <a:cubicBezTo>
                    <a:pt x="15" y="107"/>
                    <a:pt x="19" y="110"/>
                    <a:pt x="20" y="110"/>
                  </a:cubicBezTo>
                  <a:cubicBezTo>
                    <a:pt x="21" y="110"/>
                    <a:pt x="25" y="105"/>
                    <a:pt x="26" y="106"/>
                  </a:cubicBezTo>
                  <a:cubicBezTo>
                    <a:pt x="27" y="106"/>
                    <a:pt x="29" y="110"/>
                    <a:pt x="29" y="112"/>
                  </a:cubicBezTo>
                  <a:cubicBezTo>
                    <a:pt x="29" y="113"/>
                    <a:pt x="33" y="115"/>
                    <a:pt x="32" y="115"/>
                  </a:cubicBezTo>
                  <a:cubicBezTo>
                    <a:pt x="30" y="116"/>
                    <a:pt x="30" y="118"/>
                    <a:pt x="32" y="118"/>
                  </a:cubicBezTo>
                  <a:cubicBezTo>
                    <a:pt x="33" y="118"/>
                    <a:pt x="33" y="121"/>
                    <a:pt x="34" y="123"/>
                  </a:cubicBezTo>
                  <a:cubicBezTo>
                    <a:pt x="35" y="124"/>
                    <a:pt x="36" y="125"/>
                    <a:pt x="37" y="123"/>
                  </a:cubicBezTo>
                  <a:cubicBezTo>
                    <a:pt x="38" y="121"/>
                    <a:pt x="40" y="123"/>
                    <a:pt x="41" y="125"/>
                  </a:cubicBezTo>
                  <a:cubicBezTo>
                    <a:pt x="42" y="126"/>
                    <a:pt x="45" y="124"/>
                    <a:pt x="46" y="122"/>
                  </a:cubicBezTo>
                  <a:cubicBezTo>
                    <a:pt x="46" y="120"/>
                    <a:pt x="50" y="120"/>
                    <a:pt x="50" y="122"/>
                  </a:cubicBezTo>
                  <a:cubicBezTo>
                    <a:pt x="50" y="124"/>
                    <a:pt x="50" y="125"/>
                    <a:pt x="53" y="123"/>
                  </a:cubicBezTo>
                  <a:cubicBezTo>
                    <a:pt x="54" y="122"/>
                    <a:pt x="54" y="122"/>
                    <a:pt x="55" y="122"/>
                  </a:cubicBezTo>
                  <a:cubicBezTo>
                    <a:pt x="56" y="120"/>
                    <a:pt x="57" y="117"/>
                    <a:pt x="57" y="116"/>
                  </a:cubicBezTo>
                  <a:cubicBezTo>
                    <a:pt x="58" y="115"/>
                    <a:pt x="56" y="111"/>
                    <a:pt x="57" y="111"/>
                  </a:cubicBezTo>
                  <a:cubicBezTo>
                    <a:pt x="58" y="110"/>
                    <a:pt x="62" y="111"/>
                    <a:pt x="63" y="108"/>
                  </a:cubicBezTo>
                  <a:cubicBezTo>
                    <a:pt x="64" y="105"/>
                    <a:pt x="66" y="103"/>
                    <a:pt x="66" y="103"/>
                  </a:cubicBezTo>
                  <a:cubicBezTo>
                    <a:pt x="66" y="103"/>
                    <a:pt x="66" y="96"/>
                    <a:pt x="69" y="97"/>
                  </a:cubicBezTo>
                  <a:cubicBezTo>
                    <a:pt x="71" y="98"/>
                    <a:pt x="73" y="100"/>
                    <a:pt x="74" y="97"/>
                  </a:cubicBezTo>
                  <a:cubicBezTo>
                    <a:pt x="74" y="95"/>
                    <a:pt x="76" y="96"/>
                    <a:pt x="77" y="94"/>
                  </a:cubicBezTo>
                  <a:cubicBezTo>
                    <a:pt x="78" y="91"/>
                    <a:pt x="79" y="91"/>
                    <a:pt x="81" y="92"/>
                  </a:cubicBezTo>
                  <a:cubicBezTo>
                    <a:pt x="83" y="92"/>
                    <a:pt x="84" y="91"/>
                    <a:pt x="84" y="90"/>
                  </a:cubicBezTo>
                  <a:cubicBezTo>
                    <a:pt x="84" y="89"/>
                    <a:pt x="88" y="89"/>
                    <a:pt x="91" y="87"/>
                  </a:cubicBezTo>
                  <a:cubicBezTo>
                    <a:pt x="94" y="85"/>
                    <a:pt x="96" y="83"/>
                    <a:pt x="97" y="85"/>
                  </a:cubicBezTo>
                  <a:cubicBezTo>
                    <a:pt x="98" y="86"/>
                    <a:pt x="106" y="86"/>
                    <a:pt x="107" y="85"/>
                  </a:cubicBezTo>
                  <a:cubicBezTo>
                    <a:pt x="108" y="85"/>
                    <a:pt x="111" y="82"/>
                    <a:pt x="113" y="83"/>
                  </a:cubicBezTo>
                  <a:cubicBezTo>
                    <a:pt x="116" y="83"/>
                    <a:pt x="123" y="82"/>
                    <a:pt x="126" y="82"/>
                  </a:cubicBezTo>
                  <a:cubicBezTo>
                    <a:pt x="129" y="82"/>
                    <a:pt x="130" y="79"/>
                    <a:pt x="131" y="78"/>
                  </a:cubicBezTo>
                  <a:cubicBezTo>
                    <a:pt x="132" y="77"/>
                    <a:pt x="133" y="73"/>
                    <a:pt x="134" y="72"/>
                  </a:cubicBezTo>
                  <a:cubicBezTo>
                    <a:pt x="134" y="72"/>
                    <a:pt x="134" y="57"/>
                    <a:pt x="134" y="51"/>
                  </a:cubicBezTo>
                  <a:cubicBezTo>
                    <a:pt x="131" y="51"/>
                    <a:pt x="127" y="52"/>
                    <a:pt x="127" y="5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1" name="Freeform 217">
              <a:extLst>
                <a:ext uri="{FF2B5EF4-FFF2-40B4-BE49-F238E27FC236}">
                  <a16:creationId xmlns:a16="http://schemas.microsoft.com/office/drawing/2014/main" id="{01C5551B-58EE-747B-A6C8-FB9A430E1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8705" y="3821440"/>
              <a:ext cx="247619" cy="179365"/>
            </a:xfrm>
            <a:custGeom>
              <a:avLst/>
              <a:gdLst>
                <a:gd name="T0" fmla="*/ 66 w 66"/>
                <a:gd name="T1" fmla="*/ 27 h 48"/>
                <a:gd name="T2" fmla="*/ 63 w 66"/>
                <a:gd name="T3" fmla="*/ 25 h 48"/>
                <a:gd name="T4" fmla="*/ 62 w 66"/>
                <a:gd name="T5" fmla="*/ 21 h 48"/>
                <a:gd name="T6" fmla="*/ 58 w 66"/>
                <a:gd name="T7" fmla="*/ 22 h 48"/>
                <a:gd name="T8" fmla="*/ 55 w 66"/>
                <a:gd name="T9" fmla="*/ 19 h 48"/>
                <a:gd name="T10" fmla="*/ 53 w 66"/>
                <a:gd name="T11" fmla="*/ 16 h 48"/>
                <a:gd name="T12" fmla="*/ 50 w 66"/>
                <a:gd name="T13" fmla="*/ 11 h 48"/>
                <a:gd name="T14" fmla="*/ 47 w 66"/>
                <a:gd name="T15" fmla="*/ 7 h 48"/>
                <a:gd name="T16" fmla="*/ 47 w 66"/>
                <a:gd name="T17" fmla="*/ 2 h 48"/>
                <a:gd name="T18" fmla="*/ 42 w 66"/>
                <a:gd name="T19" fmla="*/ 2 h 48"/>
                <a:gd name="T20" fmla="*/ 36 w 66"/>
                <a:gd name="T21" fmla="*/ 4 h 48"/>
                <a:gd name="T22" fmla="*/ 29 w 66"/>
                <a:gd name="T23" fmla="*/ 7 h 48"/>
                <a:gd name="T24" fmla="*/ 26 w 66"/>
                <a:gd name="T25" fmla="*/ 9 h 48"/>
                <a:gd name="T26" fmla="*/ 22 w 66"/>
                <a:gd name="T27" fmla="*/ 11 h 48"/>
                <a:gd name="T28" fmla="*/ 19 w 66"/>
                <a:gd name="T29" fmla="*/ 14 h 48"/>
                <a:gd name="T30" fmla="*/ 14 w 66"/>
                <a:gd name="T31" fmla="*/ 14 h 48"/>
                <a:gd name="T32" fmla="*/ 11 w 66"/>
                <a:gd name="T33" fmla="*/ 20 h 48"/>
                <a:gd name="T34" fmla="*/ 8 w 66"/>
                <a:gd name="T35" fmla="*/ 25 h 48"/>
                <a:gd name="T36" fmla="*/ 2 w 66"/>
                <a:gd name="T37" fmla="*/ 28 h 48"/>
                <a:gd name="T38" fmla="*/ 2 w 66"/>
                <a:gd name="T39" fmla="*/ 33 h 48"/>
                <a:gd name="T40" fmla="*/ 0 w 66"/>
                <a:gd name="T41" fmla="*/ 39 h 48"/>
                <a:gd name="T42" fmla="*/ 4 w 66"/>
                <a:gd name="T43" fmla="*/ 42 h 48"/>
                <a:gd name="T44" fmla="*/ 11 w 66"/>
                <a:gd name="T45" fmla="*/ 45 h 48"/>
                <a:gd name="T46" fmla="*/ 21 w 66"/>
                <a:gd name="T47" fmla="*/ 44 h 48"/>
                <a:gd name="T48" fmla="*/ 23 w 66"/>
                <a:gd name="T49" fmla="*/ 43 h 48"/>
                <a:gd name="T50" fmla="*/ 22 w 66"/>
                <a:gd name="T51" fmla="*/ 35 h 48"/>
                <a:gd name="T52" fmla="*/ 42 w 66"/>
                <a:gd name="T53" fmla="*/ 36 h 48"/>
                <a:gd name="T54" fmla="*/ 45 w 66"/>
                <a:gd name="T55" fmla="*/ 34 h 48"/>
                <a:gd name="T56" fmla="*/ 53 w 66"/>
                <a:gd name="T57" fmla="*/ 35 h 48"/>
                <a:gd name="T58" fmla="*/ 57 w 66"/>
                <a:gd name="T59" fmla="*/ 32 h 48"/>
                <a:gd name="T60" fmla="*/ 64 w 66"/>
                <a:gd name="T61" fmla="*/ 30 h 48"/>
                <a:gd name="T62" fmla="*/ 66 w 66"/>
                <a:gd name="T63" fmla="*/ 27 h 48"/>
                <a:gd name="T64" fmla="*/ 66 w 66"/>
                <a:gd name="T65" fmla="*/ 2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6" h="48">
                  <a:moveTo>
                    <a:pt x="66" y="27"/>
                  </a:moveTo>
                  <a:cubicBezTo>
                    <a:pt x="65" y="26"/>
                    <a:pt x="63" y="25"/>
                    <a:pt x="63" y="25"/>
                  </a:cubicBezTo>
                  <a:cubicBezTo>
                    <a:pt x="62" y="25"/>
                    <a:pt x="62" y="22"/>
                    <a:pt x="62" y="21"/>
                  </a:cubicBezTo>
                  <a:cubicBezTo>
                    <a:pt x="62" y="20"/>
                    <a:pt x="59" y="22"/>
                    <a:pt x="58" y="22"/>
                  </a:cubicBezTo>
                  <a:cubicBezTo>
                    <a:pt x="57" y="21"/>
                    <a:pt x="56" y="19"/>
                    <a:pt x="55" y="19"/>
                  </a:cubicBezTo>
                  <a:cubicBezTo>
                    <a:pt x="53" y="19"/>
                    <a:pt x="53" y="17"/>
                    <a:pt x="53" y="16"/>
                  </a:cubicBezTo>
                  <a:cubicBezTo>
                    <a:pt x="53" y="14"/>
                    <a:pt x="51" y="12"/>
                    <a:pt x="50" y="11"/>
                  </a:cubicBezTo>
                  <a:cubicBezTo>
                    <a:pt x="48" y="10"/>
                    <a:pt x="48" y="7"/>
                    <a:pt x="47" y="7"/>
                  </a:cubicBezTo>
                  <a:cubicBezTo>
                    <a:pt x="46" y="6"/>
                    <a:pt x="47" y="4"/>
                    <a:pt x="47" y="2"/>
                  </a:cubicBezTo>
                  <a:cubicBezTo>
                    <a:pt x="45" y="2"/>
                    <a:pt x="42" y="2"/>
                    <a:pt x="42" y="2"/>
                  </a:cubicBezTo>
                  <a:cubicBezTo>
                    <a:pt x="41" y="0"/>
                    <a:pt x="39" y="2"/>
                    <a:pt x="36" y="4"/>
                  </a:cubicBezTo>
                  <a:cubicBezTo>
                    <a:pt x="33" y="6"/>
                    <a:pt x="29" y="6"/>
                    <a:pt x="29" y="7"/>
                  </a:cubicBezTo>
                  <a:cubicBezTo>
                    <a:pt x="29" y="8"/>
                    <a:pt x="28" y="9"/>
                    <a:pt x="26" y="9"/>
                  </a:cubicBezTo>
                  <a:cubicBezTo>
                    <a:pt x="24" y="8"/>
                    <a:pt x="23" y="8"/>
                    <a:pt x="22" y="11"/>
                  </a:cubicBezTo>
                  <a:cubicBezTo>
                    <a:pt x="21" y="13"/>
                    <a:pt x="19" y="12"/>
                    <a:pt x="19" y="14"/>
                  </a:cubicBezTo>
                  <a:cubicBezTo>
                    <a:pt x="18" y="17"/>
                    <a:pt x="16" y="15"/>
                    <a:pt x="14" y="14"/>
                  </a:cubicBezTo>
                  <a:cubicBezTo>
                    <a:pt x="11" y="13"/>
                    <a:pt x="11" y="20"/>
                    <a:pt x="11" y="20"/>
                  </a:cubicBezTo>
                  <a:cubicBezTo>
                    <a:pt x="11" y="20"/>
                    <a:pt x="9" y="22"/>
                    <a:pt x="8" y="25"/>
                  </a:cubicBezTo>
                  <a:cubicBezTo>
                    <a:pt x="7" y="28"/>
                    <a:pt x="3" y="27"/>
                    <a:pt x="2" y="28"/>
                  </a:cubicBezTo>
                  <a:cubicBezTo>
                    <a:pt x="1" y="28"/>
                    <a:pt x="3" y="32"/>
                    <a:pt x="2" y="33"/>
                  </a:cubicBezTo>
                  <a:cubicBezTo>
                    <a:pt x="2" y="34"/>
                    <a:pt x="1" y="37"/>
                    <a:pt x="0" y="39"/>
                  </a:cubicBezTo>
                  <a:cubicBezTo>
                    <a:pt x="2" y="40"/>
                    <a:pt x="4" y="41"/>
                    <a:pt x="4" y="42"/>
                  </a:cubicBezTo>
                  <a:cubicBezTo>
                    <a:pt x="5" y="43"/>
                    <a:pt x="9" y="48"/>
                    <a:pt x="11" y="45"/>
                  </a:cubicBezTo>
                  <a:cubicBezTo>
                    <a:pt x="13" y="43"/>
                    <a:pt x="19" y="43"/>
                    <a:pt x="21" y="44"/>
                  </a:cubicBezTo>
                  <a:cubicBezTo>
                    <a:pt x="22" y="46"/>
                    <a:pt x="23" y="45"/>
                    <a:pt x="23" y="43"/>
                  </a:cubicBezTo>
                  <a:cubicBezTo>
                    <a:pt x="24" y="42"/>
                    <a:pt x="21" y="37"/>
                    <a:pt x="22" y="35"/>
                  </a:cubicBezTo>
                  <a:cubicBezTo>
                    <a:pt x="23" y="34"/>
                    <a:pt x="41" y="35"/>
                    <a:pt x="42" y="36"/>
                  </a:cubicBezTo>
                  <a:cubicBezTo>
                    <a:pt x="43" y="37"/>
                    <a:pt x="43" y="33"/>
                    <a:pt x="45" y="34"/>
                  </a:cubicBezTo>
                  <a:cubicBezTo>
                    <a:pt x="48" y="34"/>
                    <a:pt x="51" y="35"/>
                    <a:pt x="53" y="35"/>
                  </a:cubicBezTo>
                  <a:cubicBezTo>
                    <a:pt x="54" y="34"/>
                    <a:pt x="56" y="32"/>
                    <a:pt x="57" y="32"/>
                  </a:cubicBezTo>
                  <a:cubicBezTo>
                    <a:pt x="58" y="32"/>
                    <a:pt x="63" y="31"/>
                    <a:pt x="64" y="30"/>
                  </a:cubicBezTo>
                  <a:cubicBezTo>
                    <a:pt x="65" y="29"/>
                    <a:pt x="66" y="29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2" name="Freeform 218">
              <a:extLst>
                <a:ext uri="{FF2B5EF4-FFF2-40B4-BE49-F238E27FC236}">
                  <a16:creationId xmlns:a16="http://schemas.microsoft.com/office/drawing/2014/main" id="{3A5664DD-CBE6-C13E-BF3F-D73F39B48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1722" y="3557950"/>
              <a:ext cx="468252" cy="368252"/>
            </a:xfrm>
            <a:custGeom>
              <a:avLst/>
              <a:gdLst>
                <a:gd name="T0" fmla="*/ 120 w 125"/>
                <a:gd name="T1" fmla="*/ 14 h 98"/>
                <a:gd name="T2" fmla="*/ 119 w 125"/>
                <a:gd name="T3" fmla="*/ 4 h 98"/>
                <a:gd name="T4" fmla="*/ 113 w 125"/>
                <a:gd name="T5" fmla="*/ 8 h 98"/>
                <a:gd name="T6" fmla="*/ 108 w 125"/>
                <a:gd name="T7" fmla="*/ 3 h 98"/>
                <a:gd name="T8" fmla="*/ 96 w 125"/>
                <a:gd name="T9" fmla="*/ 0 h 98"/>
                <a:gd name="T10" fmla="*/ 61 w 125"/>
                <a:gd name="T11" fmla="*/ 22 h 98"/>
                <a:gd name="T12" fmla="*/ 47 w 125"/>
                <a:gd name="T13" fmla="*/ 34 h 98"/>
                <a:gd name="T14" fmla="*/ 34 w 125"/>
                <a:gd name="T15" fmla="*/ 38 h 98"/>
                <a:gd name="T16" fmla="*/ 33 w 125"/>
                <a:gd name="T17" fmla="*/ 38 h 98"/>
                <a:gd name="T18" fmla="*/ 33 w 125"/>
                <a:gd name="T19" fmla="*/ 59 h 98"/>
                <a:gd name="T20" fmla="*/ 30 w 125"/>
                <a:gd name="T21" fmla="*/ 65 h 98"/>
                <a:gd name="T22" fmla="*/ 25 w 125"/>
                <a:gd name="T23" fmla="*/ 69 h 98"/>
                <a:gd name="T24" fmla="*/ 12 w 125"/>
                <a:gd name="T25" fmla="*/ 70 h 98"/>
                <a:gd name="T26" fmla="*/ 6 w 125"/>
                <a:gd name="T27" fmla="*/ 72 h 98"/>
                <a:gd name="T28" fmla="*/ 1 w 125"/>
                <a:gd name="T29" fmla="*/ 72 h 98"/>
                <a:gd name="T30" fmla="*/ 1 w 125"/>
                <a:gd name="T31" fmla="*/ 77 h 98"/>
                <a:gd name="T32" fmla="*/ 4 w 125"/>
                <a:gd name="T33" fmla="*/ 81 h 98"/>
                <a:gd name="T34" fmla="*/ 7 w 125"/>
                <a:gd name="T35" fmla="*/ 86 h 98"/>
                <a:gd name="T36" fmla="*/ 9 w 125"/>
                <a:gd name="T37" fmla="*/ 89 h 98"/>
                <a:gd name="T38" fmla="*/ 12 w 125"/>
                <a:gd name="T39" fmla="*/ 92 h 98"/>
                <a:gd name="T40" fmla="*/ 16 w 125"/>
                <a:gd name="T41" fmla="*/ 91 h 98"/>
                <a:gd name="T42" fmla="*/ 17 w 125"/>
                <a:gd name="T43" fmla="*/ 95 h 98"/>
                <a:gd name="T44" fmla="*/ 20 w 125"/>
                <a:gd name="T45" fmla="*/ 97 h 98"/>
                <a:gd name="T46" fmla="*/ 23 w 125"/>
                <a:gd name="T47" fmla="*/ 93 h 98"/>
                <a:gd name="T48" fmla="*/ 25 w 125"/>
                <a:gd name="T49" fmla="*/ 97 h 98"/>
                <a:gd name="T50" fmla="*/ 29 w 125"/>
                <a:gd name="T51" fmla="*/ 96 h 98"/>
                <a:gd name="T52" fmla="*/ 32 w 125"/>
                <a:gd name="T53" fmla="*/ 90 h 98"/>
                <a:gd name="T54" fmla="*/ 34 w 125"/>
                <a:gd name="T55" fmla="*/ 83 h 98"/>
                <a:gd name="T56" fmla="*/ 41 w 125"/>
                <a:gd name="T57" fmla="*/ 83 h 98"/>
                <a:gd name="T58" fmla="*/ 46 w 125"/>
                <a:gd name="T59" fmla="*/ 82 h 98"/>
                <a:gd name="T60" fmla="*/ 53 w 125"/>
                <a:gd name="T61" fmla="*/ 84 h 98"/>
                <a:gd name="T62" fmla="*/ 57 w 125"/>
                <a:gd name="T63" fmla="*/ 88 h 98"/>
                <a:gd name="T64" fmla="*/ 64 w 125"/>
                <a:gd name="T65" fmla="*/ 86 h 98"/>
                <a:gd name="T66" fmla="*/ 70 w 125"/>
                <a:gd name="T67" fmla="*/ 89 h 98"/>
                <a:gd name="T68" fmla="*/ 78 w 125"/>
                <a:gd name="T69" fmla="*/ 89 h 98"/>
                <a:gd name="T70" fmla="*/ 84 w 125"/>
                <a:gd name="T71" fmla="*/ 86 h 98"/>
                <a:gd name="T72" fmla="*/ 94 w 125"/>
                <a:gd name="T73" fmla="*/ 86 h 98"/>
                <a:gd name="T74" fmla="*/ 101 w 125"/>
                <a:gd name="T75" fmla="*/ 87 h 98"/>
                <a:gd name="T76" fmla="*/ 106 w 125"/>
                <a:gd name="T77" fmla="*/ 82 h 98"/>
                <a:gd name="T78" fmla="*/ 108 w 125"/>
                <a:gd name="T79" fmla="*/ 82 h 98"/>
                <a:gd name="T80" fmla="*/ 108 w 125"/>
                <a:gd name="T81" fmla="*/ 80 h 98"/>
                <a:gd name="T82" fmla="*/ 109 w 125"/>
                <a:gd name="T83" fmla="*/ 73 h 98"/>
                <a:gd name="T84" fmla="*/ 122 w 125"/>
                <a:gd name="T85" fmla="*/ 57 h 98"/>
                <a:gd name="T86" fmla="*/ 123 w 125"/>
                <a:gd name="T87" fmla="*/ 37 h 98"/>
                <a:gd name="T88" fmla="*/ 124 w 125"/>
                <a:gd name="T89" fmla="*/ 28 h 98"/>
                <a:gd name="T90" fmla="*/ 123 w 125"/>
                <a:gd name="T91" fmla="*/ 22 h 98"/>
                <a:gd name="T92" fmla="*/ 120 w 125"/>
                <a:gd name="T93" fmla="*/ 1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5" h="98">
                  <a:moveTo>
                    <a:pt x="120" y="14"/>
                  </a:moveTo>
                  <a:cubicBezTo>
                    <a:pt x="120" y="13"/>
                    <a:pt x="119" y="8"/>
                    <a:pt x="119" y="4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3" y="8"/>
                    <a:pt x="111" y="5"/>
                    <a:pt x="108" y="3"/>
                  </a:cubicBezTo>
                  <a:cubicBezTo>
                    <a:pt x="104" y="0"/>
                    <a:pt x="96" y="0"/>
                    <a:pt x="96" y="0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37" y="37"/>
                    <a:pt x="34" y="38"/>
                  </a:cubicBezTo>
                  <a:cubicBezTo>
                    <a:pt x="34" y="38"/>
                    <a:pt x="34" y="38"/>
                    <a:pt x="33" y="38"/>
                  </a:cubicBezTo>
                  <a:cubicBezTo>
                    <a:pt x="33" y="44"/>
                    <a:pt x="33" y="59"/>
                    <a:pt x="33" y="59"/>
                  </a:cubicBezTo>
                  <a:cubicBezTo>
                    <a:pt x="32" y="60"/>
                    <a:pt x="31" y="64"/>
                    <a:pt x="30" y="65"/>
                  </a:cubicBezTo>
                  <a:cubicBezTo>
                    <a:pt x="29" y="66"/>
                    <a:pt x="28" y="69"/>
                    <a:pt x="25" y="69"/>
                  </a:cubicBezTo>
                  <a:cubicBezTo>
                    <a:pt x="22" y="69"/>
                    <a:pt x="15" y="70"/>
                    <a:pt x="12" y="70"/>
                  </a:cubicBezTo>
                  <a:cubicBezTo>
                    <a:pt x="10" y="69"/>
                    <a:pt x="7" y="72"/>
                    <a:pt x="6" y="72"/>
                  </a:cubicBezTo>
                  <a:cubicBezTo>
                    <a:pt x="5" y="72"/>
                    <a:pt x="3" y="72"/>
                    <a:pt x="1" y="72"/>
                  </a:cubicBezTo>
                  <a:cubicBezTo>
                    <a:pt x="1" y="74"/>
                    <a:pt x="0" y="76"/>
                    <a:pt x="1" y="77"/>
                  </a:cubicBezTo>
                  <a:cubicBezTo>
                    <a:pt x="2" y="77"/>
                    <a:pt x="2" y="80"/>
                    <a:pt x="4" y="81"/>
                  </a:cubicBezTo>
                  <a:cubicBezTo>
                    <a:pt x="5" y="82"/>
                    <a:pt x="7" y="84"/>
                    <a:pt x="7" y="86"/>
                  </a:cubicBezTo>
                  <a:cubicBezTo>
                    <a:pt x="7" y="87"/>
                    <a:pt x="7" y="89"/>
                    <a:pt x="9" y="89"/>
                  </a:cubicBezTo>
                  <a:cubicBezTo>
                    <a:pt x="10" y="89"/>
                    <a:pt x="11" y="91"/>
                    <a:pt x="12" y="92"/>
                  </a:cubicBezTo>
                  <a:cubicBezTo>
                    <a:pt x="13" y="92"/>
                    <a:pt x="16" y="90"/>
                    <a:pt x="16" y="91"/>
                  </a:cubicBezTo>
                  <a:cubicBezTo>
                    <a:pt x="16" y="92"/>
                    <a:pt x="16" y="95"/>
                    <a:pt x="17" y="95"/>
                  </a:cubicBezTo>
                  <a:cubicBezTo>
                    <a:pt x="17" y="95"/>
                    <a:pt x="19" y="96"/>
                    <a:pt x="20" y="97"/>
                  </a:cubicBezTo>
                  <a:cubicBezTo>
                    <a:pt x="19" y="95"/>
                    <a:pt x="20" y="92"/>
                    <a:pt x="23" y="93"/>
                  </a:cubicBezTo>
                  <a:cubicBezTo>
                    <a:pt x="25" y="94"/>
                    <a:pt x="23" y="96"/>
                    <a:pt x="25" y="97"/>
                  </a:cubicBezTo>
                  <a:cubicBezTo>
                    <a:pt x="27" y="98"/>
                    <a:pt x="29" y="97"/>
                    <a:pt x="29" y="96"/>
                  </a:cubicBezTo>
                  <a:cubicBezTo>
                    <a:pt x="29" y="94"/>
                    <a:pt x="31" y="91"/>
                    <a:pt x="32" y="90"/>
                  </a:cubicBezTo>
                  <a:cubicBezTo>
                    <a:pt x="33" y="89"/>
                    <a:pt x="33" y="85"/>
                    <a:pt x="34" y="83"/>
                  </a:cubicBezTo>
                  <a:cubicBezTo>
                    <a:pt x="36" y="82"/>
                    <a:pt x="40" y="83"/>
                    <a:pt x="41" y="83"/>
                  </a:cubicBezTo>
                  <a:cubicBezTo>
                    <a:pt x="43" y="84"/>
                    <a:pt x="44" y="80"/>
                    <a:pt x="46" y="82"/>
                  </a:cubicBezTo>
                  <a:cubicBezTo>
                    <a:pt x="48" y="83"/>
                    <a:pt x="51" y="82"/>
                    <a:pt x="53" y="84"/>
                  </a:cubicBezTo>
                  <a:cubicBezTo>
                    <a:pt x="54" y="85"/>
                    <a:pt x="55" y="89"/>
                    <a:pt x="57" y="88"/>
                  </a:cubicBezTo>
                  <a:cubicBezTo>
                    <a:pt x="60" y="87"/>
                    <a:pt x="62" y="86"/>
                    <a:pt x="64" y="86"/>
                  </a:cubicBezTo>
                  <a:cubicBezTo>
                    <a:pt x="65" y="86"/>
                    <a:pt x="69" y="89"/>
                    <a:pt x="70" y="89"/>
                  </a:cubicBezTo>
                  <a:cubicBezTo>
                    <a:pt x="71" y="90"/>
                    <a:pt x="76" y="90"/>
                    <a:pt x="78" y="89"/>
                  </a:cubicBezTo>
                  <a:cubicBezTo>
                    <a:pt x="80" y="88"/>
                    <a:pt x="82" y="85"/>
                    <a:pt x="84" y="86"/>
                  </a:cubicBezTo>
                  <a:cubicBezTo>
                    <a:pt x="86" y="86"/>
                    <a:pt x="93" y="85"/>
                    <a:pt x="94" y="86"/>
                  </a:cubicBezTo>
                  <a:cubicBezTo>
                    <a:pt x="95" y="87"/>
                    <a:pt x="99" y="88"/>
                    <a:pt x="101" y="87"/>
                  </a:cubicBezTo>
                  <a:cubicBezTo>
                    <a:pt x="103" y="87"/>
                    <a:pt x="105" y="83"/>
                    <a:pt x="106" y="82"/>
                  </a:cubicBezTo>
                  <a:cubicBezTo>
                    <a:pt x="107" y="82"/>
                    <a:pt x="107" y="82"/>
                    <a:pt x="108" y="82"/>
                  </a:cubicBezTo>
                  <a:cubicBezTo>
                    <a:pt x="108" y="81"/>
                    <a:pt x="108" y="80"/>
                    <a:pt x="108" y="80"/>
                  </a:cubicBezTo>
                  <a:cubicBezTo>
                    <a:pt x="108" y="75"/>
                    <a:pt x="109" y="77"/>
                    <a:pt x="109" y="73"/>
                  </a:cubicBezTo>
                  <a:cubicBezTo>
                    <a:pt x="110" y="68"/>
                    <a:pt x="121" y="57"/>
                    <a:pt x="122" y="57"/>
                  </a:cubicBezTo>
                  <a:cubicBezTo>
                    <a:pt x="123" y="56"/>
                    <a:pt x="123" y="39"/>
                    <a:pt x="123" y="37"/>
                  </a:cubicBezTo>
                  <a:cubicBezTo>
                    <a:pt x="123" y="34"/>
                    <a:pt x="124" y="31"/>
                    <a:pt x="124" y="28"/>
                  </a:cubicBezTo>
                  <a:cubicBezTo>
                    <a:pt x="125" y="25"/>
                    <a:pt x="123" y="25"/>
                    <a:pt x="123" y="22"/>
                  </a:cubicBezTo>
                  <a:cubicBezTo>
                    <a:pt x="123" y="19"/>
                    <a:pt x="120" y="16"/>
                    <a:pt x="120" y="1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3" name="Freeform 219">
              <a:extLst>
                <a:ext uri="{FF2B5EF4-FFF2-40B4-BE49-F238E27FC236}">
                  <a16:creationId xmlns:a16="http://schemas.microsoft.com/office/drawing/2014/main" id="{8485D232-899C-0129-F0B1-C47398241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6480" y="3557952"/>
              <a:ext cx="300000" cy="503173"/>
            </a:xfrm>
            <a:custGeom>
              <a:avLst/>
              <a:gdLst>
                <a:gd name="T0" fmla="*/ 80 w 80"/>
                <a:gd name="T1" fmla="*/ 33 h 134"/>
                <a:gd name="T2" fmla="*/ 18 w 80"/>
                <a:gd name="T3" fmla="*/ 0 h 134"/>
                <a:gd name="T4" fmla="*/ 11 w 80"/>
                <a:gd name="T5" fmla="*/ 4 h 134"/>
                <a:gd name="T6" fmla="*/ 12 w 80"/>
                <a:gd name="T7" fmla="*/ 14 h 134"/>
                <a:gd name="T8" fmla="*/ 15 w 80"/>
                <a:gd name="T9" fmla="*/ 22 h 134"/>
                <a:gd name="T10" fmla="*/ 16 w 80"/>
                <a:gd name="T11" fmla="*/ 28 h 134"/>
                <a:gd name="T12" fmla="*/ 15 w 80"/>
                <a:gd name="T13" fmla="*/ 37 h 134"/>
                <a:gd name="T14" fmla="*/ 14 w 80"/>
                <a:gd name="T15" fmla="*/ 57 h 134"/>
                <a:gd name="T16" fmla="*/ 1 w 80"/>
                <a:gd name="T17" fmla="*/ 73 h 134"/>
                <a:gd name="T18" fmla="*/ 0 w 80"/>
                <a:gd name="T19" fmla="*/ 80 h 134"/>
                <a:gd name="T20" fmla="*/ 0 w 80"/>
                <a:gd name="T21" fmla="*/ 82 h 134"/>
                <a:gd name="T22" fmla="*/ 1 w 80"/>
                <a:gd name="T23" fmla="*/ 84 h 134"/>
                <a:gd name="T24" fmla="*/ 5 w 80"/>
                <a:gd name="T25" fmla="*/ 87 h 134"/>
                <a:gd name="T26" fmla="*/ 10 w 80"/>
                <a:gd name="T27" fmla="*/ 95 h 134"/>
                <a:gd name="T28" fmla="*/ 11 w 80"/>
                <a:gd name="T29" fmla="*/ 102 h 134"/>
                <a:gd name="T30" fmla="*/ 14 w 80"/>
                <a:gd name="T31" fmla="*/ 112 h 134"/>
                <a:gd name="T32" fmla="*/ 11 w 80"/>
                <a:gd name="T33" fmla="*/ 113 h 134"/>
                <a:gd name="T34" fmla="*/ 4 w 80"/>
                <a:gd name="T35" fmla="*/ 114 h 134"/>
                <a:gd name="T36" fmla="*/ 6 w 80"/>
                <a:gd name="T37" fmla="*/ 120 h 134"/>
                <a:gd name="T38" fmla="*/ 12 w 80"/>
                <a:gd name="T39" fmla="*/ 127 h 134"/>
                <a:gd name="T40" fmla="*/ 16 w 80"/>
                <a:gd name="T41" fmla="*/ 133 h 134"/>
                <a:gd name="T42" fmla="*/ 20 w 80"/>
                <a:gd name="T43" fmla="*/ 131 h 134"/>
                <a:gd name="T44" fmla="*/ 25 w 80"/>
                <a:gd name="T45" fmla="*/ 131 h 134"/>
                <a:gd name="T46" fmla="*/ 34 w 80"/>
                <a:gd name="T47" fmla="*/ 129 h 134"/>
                <a:gd name="T48" fmla="*/ 41 w 80"/>
                <a:gd name="T49" fmla="*/ 125 h 134"/>
                <a:gd name="T50" fmla="*/ 42 w 80"/>
                <a:gd name="T51" fmla="*/ 121 h 134"/>
                <a:gd name="T52" fmla="*/ 53 w 80"/>
                <a:gd name="T53" fmla="*/ 118 h 134"/>
                <a:gd name="T54" fmla="*/ 61 w 80"/>
                <a:gd name="T55" fmla="*/ 110 h 134"/>
                <a:gd name="T56" fmla="*/ 63 w 80"/>
                <a:gd name="T57" fmla="*/ 107 h 134"/>
                <a:gd name="T58" fmla="*/ 69 w 80"/>
                <a:gd name="T59" fmla="*/ 104 h 134"/>
                <a:gd name="T60" fmla="*/ 71 w 80"/>
                <a:gd name="T61" fmla="*/ 104 h 134"/>
                <a:gd name="T62" fmla="*/ 70 w 80"/>
                <a:gd name="T63" fmla="*/ 104 h 134"/>
                <a:gd name="T64" fmla="*/ 71 w 80"/>
                <a:gd name="T65" fmla="*/ 100 h 134"/>
                <a:gd name="T66" fmla="*/ 67 w 80"/>
                <a:gd name="T67" fmla="*/ 95 h 134"/>
                <a:gd name="T68" fmla="*/ 66 w 80"/>
                <a:gd name="T69" fmla="*/ 90 h 134"/>
                <a:gd name="T70" fmla="*/ 65 w 80"/>
                <a:gd name="T71" fmla="*/ 85 h 134"/>
                <a:gd name="T72" fmla="*/ 65 w 80"/>
                <a:gd name="T73" fmla="*/ 79 h 134"/>
                <a:gd name="T74" fmla="*/ 69 w 80"/>
                <a:gd name="T75" fmla="*/ 73 h 134"/>
                <a:gd name="T76" fmla="*/ 72 w 80"/>
                <a:gd name="T77" fmla="*/ 68 h 134"/>
                <a:gd name="T78" fmla="*/ 79 w 80"/>
                <a:gd name="T79" fmla="*/ 64 h 134"/>
                <a:gd name="T80" fmla="*/ 80 w 80"/>
                <a:gd name="T81" fmla="*/ 55 h 134"/>
                <a:gd name="T82" fmla="*/ 80 w 80"/>
                <a:gd name="T83" fmla="*/ 3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0" h="134">
                  <a:moveTo>
                    <a:pt x="80" y="33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8"/>
                    <a:pt x="12" y="13"/>
                    <a:pt x="12" y="14"/>
                  </a:cubicBezTo>
                  <a:cubicBezTo>
                    <a:pt x="12" y="16"/>
                    <a:pt x="15" y="19"/>
                    <a:pt x="15" y="22"/>
                  </a:cubicBezTo>
                  <a:cubicBezTo>
                    <a:pt x="15" y="25"/>
                    <a:pt x="17" y="25"/>
                    <a:pt x="16" y="28"/>
                  </a:cubicBezTo>
                  <a:cubicBezTo>
                    <a:pt x="16" y="31"/>
                    <a:pt x="15" y="34"/>
                    <a:pt x="15" y="37"/>
                  </a:cubicBezTo>
                  <a:cubicBezTo>
                    <a:pt x="15" y="39"/>
                    <a:pt x="15" y="56"/>
                    <a:pt x="14" y="57"/>
                  </a:cubicBezTo>
                  <a:cubicBezTo>
                    <a:pt x="13" y="57"/>
                    <a:pt x="2" y="68"/>
                    <a:pt x="1" y="73"/>
                  </a:cubicBezTo>
                  <a:cubicBezTo>
                    <a:pt x="1" y="77"/>
                    <a:pt x="0" y="75"/>
                    <a:pt x="0" y="80"/>
                  </a:cubicBezTo>
                  <a:cubicBezTo>
                    <a:pt x="0" y="80"/>
                    <a:pt x="0" y="81"/>
                    <a:pt x="0" y="82"/>
                  </a:cubicBezTo>
                  <a:cubicBezTo>
                    <a:pt x="0" y="82"/>
                    <a:pt x="0" y="83"/>
                    <a:pt x="1" y="84"/>
                  </a:cubicBezTo>
                  <a:cubicBezTo>
                    <a:pt x="2" y="85"/>
                    <a:pt x="2" y="87"/>
                    <a:pt x="5" y="87"/>
                  </a:cubicBezTo>
                  <a:cubicBezTo>
                    <a:pt x="7" y="87"/>
                    <a:pt x="10" y="93"/>
                    <a:pt x="10" y="95"/>
                  </a:cubicBezTo>
                  <a:cubicBezTo>
                    <a:pt x="10" y="97"/>
                    <a:pt x="11" y="98"/>
                    <a:pt x="11" y="102"/>
                  </a:cubicBezTo>
                  <a:cubicBezTo>
                    <a:pt x="11" y="106"/>
                    <a:pt x="13" y="111"/>
                    <a:pt x="14" y="112"/>
                  </a:cubicBezTo>
                  <a:cubicBezTo>
                    <a:pt x="15" y="113"/>
                    <a:pt x="14" y="113"/>
                    <a:pt x="11" y="113"/>
                  </a:cubicBezTo>
                  <a:cubicBezTo>
                    <a:pt x="8" y="113"/>
                    <a:pt x="4" y="113"/>
                    <a:pt x="4" y="114"/>
                  </a:cubicBezTo>
                  <a:cubicBezTo>
                    <a:pt x="4" y="115"/>
                    <a:pt x="3" y="117"/>
                    <a:pt x="6" y="120"/>
                  </a:cubicBezTo>
                  <a:cubicBezTo>
                    <a:pt x="9" y="123"/>
                    <a:pt x="11" y="124"/>
                    <a:pt x="12" y="127"/>
                  </a:cubicBezTo>
                  <a:cubicBezTo>
                    <a:pt x="13" y="130"/>
                    <a:pt x="15" y="133"/>
                    <a:pt x="16" y="133"/>
                  </a:cubicBezTo>
                  <a:cubicBezTo>
                    <a:pt x="16" y="134"/>
                    <a:pt x="18" y="134"/>
                    <a:pt x="20" y="131"/>
                  </a:cubicBezTo>
                  <a:cubicBezTo>
                    <a:pt x="22" y="129"/>
                    <a:pt x="24" y="134"/>
                    <a:pt x="25" y="131"/>
                  </a:cubicBezTo>
                  <a:cubicBezTo>
                    <a:pt x="27" y="129"/>
                    <a:pt x="33" y="130"/>
                    <a:pt x="34" y="129"/>
                  </a:cubicBezTo>
                  <a:cubicBezTo>
                    <a:pt x="35" y="128"/>
                    <a:pt x="40" y="126"/>
                    <a:pt x="41" y="125"/>
                  </a:cubicBezTo>
                  <a:cubicBezTo>
                    <a:pt x="43" y="124"/>
                    <a:pt x="40" y="122"/>
                    <a:pt x="42" y="121"/>
                  </a:cubicBezTo>
                  <a:cubicBezTo>
                    <a:pt x="44" y="120"/>
                    <a:pt x="50" y="122"/>
                    <a:pt x="53" y="118"/>
                  </a:cubicBezTo>
                  <a:cubicBezTo>
                    <a:pt x="56" y="115"/>
                    <a:pt x="60" y="112"/>
                    <a:pt x="61" y="110"/>
                  </a:cubicBezTo>
                  <a:cubicBezTo>
                    <a:pt x="62" y="109"/>
                    <a:pt x="61" y="108"/>
                    <a:pt x="63" y="107"/>
                  </a:cubicBezTo>
                  <a:cubicBezTo>
                    <a:pt x="64" y="105"/>
                    <a:pt x="68" y="103"/>
                    <a:pt x="69" y="104"/>
                  </a:cubicBezTo>
                  <a:cubicBezTo>
                    <a:pt x="70" y="104"/>
                    <a:pt x="70" y="104"/>
                    <a:pt x="71" y="104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71" y="100"/>
                    <a:pt x="71" y="100"/>
                    <a:pt x="71" y="100"/>
                  </a:cubicBezTo>
                  <a:cubicBezTo>
                    <a:pt x="71" y="100"/>
                    <a:pt x="67" y="98"/>
                    <a:pt x="67" y="95"/>
                  </a:cubicBezTo>
                  <a:cubicBezTo>
                    <a:pt x="67" y="92"/>
                    <a:pt x="68" y="90"/>
                    <a:pt x="66" y="90"/>
                  </a:cubicBezTo>
                  <a:cubicBezTo>
                    <a:pt x="63" y="90"/>
                    <a:pt x="63" y="87"/>
                    <a:pt x="65" y="85"/>
                  </a:cubicBezTo>
                  <a:cubicBezTo>
                    <a:pt x="67" y="83"/>
                    <a:pt x="62" y="79"/>
                    <a:pt x="65" y="79"/>
                  </a:cubicBezTo>
                  <a:cubicBezTo>
                    <a:pt x="69" y="79"/>
                    <a:pt x="66" y="74"/>
                    <a:pt x="69" y="73"/>
                  </a:cubicBezTo>
                  <a:cubicBezTo>
                    <a:pt x="71" y="73"/>
                    <a:pt x="72" y="71"/>
                    <a:pt x="72" y="68"/>
                  </a:cubicBezTo>
                  <a:cubicBezTo>
                    <a:pt x="72" y="66"/>
                    <a:pt x="77" y="64"/>
                    <a:pt x="79" y="64"/>
                  </a:cubicBezTo>
                  <a:cubicBezTo>
                    <a:pt x="80" y="63"/>
                    <a:pt x="80" y="55"/>
                    <a:pt x="80" y="55"/>
                  </a:cubicBezTo>
                  <a:lnTo>
                    <a:pt x="80" y="33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4" name="Freeform 220">
              <a:extLst>
                <a:ext uri="{FF2B5EF4-FFF2-40B4-BE49-F238E27FC236}">
                  <a16:creationId xmlns:a16="http://schemas.microsoft.com/office/drawing/2014/main" id="{AE5E23B7-73E8-8088-309A-5707B197F9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524" y="3280172"/>
              <a:ext cx="330157" cy="330157"/>
            </a:xfrm>
            <a:custGeom>
              <a:avLst/>
              <a:gdLst>
                <a:gd name="T0" fmla="*/ 82 w 88"/>
                <a:gd name="T1" fmla="*/ 19 h 88"/>
                <a:gd name="T2" fmla="*/ 76 w 88"/>
                <a:gd name="T3" fmla="*/ 5 h 88"/>
                <a:gd name="T4" fmla="*/ 75 w 88"/>
                <a:gd name="T5" fmla="*/ 6 h 88"/>
                <a:gd name="T6" fmla="*/ 67 w 88"/>
                <a:gd name="T7" fmla="*/ 6 h 88"/>
                <a:gd name="T8" fmla="*/ 57 w 88"/>
                <a:gd name="T9" fmla="*/ 4 h 88"/>
                <a:gd name="T10" fmla="*/ 40 w 88"/>
                <a:gd name="T11" fmla="*/ 7 h 88"/>
                <a:gd name="T12" fmla="*/ 31 w 88"/>
                <a:gd name="T13" fmla="*/ 7 h 88"/>
                <a:gd name="T14" fmla="*/ 16 w 88"/>
                <a:gd name="T15" fmla="*/ 3 h 88"/>
                <a:gd name="T16" fmla="*/ 4 w 88"/>
                <a:gd name="T17" fmla="*/ 0 h 88"/>
                <a:gd name="T18" fmla="*/ 3 w 88"/>
                <a:gd name="T19" fmla="*/ 2 h 88"/>
                <a:gd name="T20" fmla="*/ 2 w 88"/>
                <a:gd name="T21" fmla="*/ 12 h 88"/>
                <a:gd name="T22" fmla="*/ 2 w 88"/>
                <a:gd name="T23" fmla="*/ 24 h 88"/>
                <a:gd name="T24" fmla="*/ 2 w 88"/>
                <a:gd name="T25" fmla="*/ 86 h 88"/>
                <a:gd name="T26" fmla="*/ 51 w 88"/>
                <a:gd name="T27" fmla="*/ 86 h 88"/>
                <a:gd name="T28" fmla="*/ 54 w 88"/>
                <a:gd name="T29" fmla="*/ 84 h 88"/>
                <a:gd name="T30" fmla="*/ 58 w 88"/>
                <a:gd name="T31" fmla="*/ 86 h 88"/>
                <a:gd name="T32" fmla="*/ 68 w 88"/>
                <a:gd name="T33" fmla="*/ 86 h 88"/>
                <a:gd name="T34" fmla="*/ 73 w 88"/>
                <a:gd name="T35" fmla="*/ 88 h 88"/>
                <a:gd name="T36" fmla="*/ 77 w 88"/>
                <a:gd name="T37" fmla="*/ 84 h 88"/>
                <a:gd name="T38" fmla="*/ 83 w 88"/>
                <a:gd name="T39" fmla="*/ 78 h 88"/>
                <a:gd name="T40" fmla="*/ 87 w 88"/>
                <a:gd name="T41" fmla="*/ 76 h 88"/>
                <a:gd name="T42" fmla="*/ 87 w 88"/>
                <a:gd name="T43" fmla="*/ 75 h 88"/>
                <a:gd name="T44" fmla="*/ 87 w 88"/>
                <a:gd name="T45" fmla="*/ 72 h 88"/>
                <a:gd name="T46" fmla="*/ 84 w 88"/>
                <a:gd name="T47" fmla="*/ 63 h 88"/>
                <a:gd name="T48" fmla="*/ 75 w 88"/>
                <a:gd name="T49" fmla="*/ 47 h 88"/>
                <a:gd name="T50" fmla="*/ 71 w 88"/>
                <a:gd name="T51" fmla="*/ 39 h 88"/>
                <a:gd name="T52" fmla="*/ 66 w 88"/>
                <a:gd name="T53" fmla="*/ 30 h 88"/>
                <a:gd name="T54" fmla="*/ 62 w 88"/>
                <a:gd name="T55" fmla="*/ 15 h 88"/>
                <a:gd name="T56" fmla="*/ 67 w 88"/>
                <a:gd name="T57" fmla="*/ 25 h 88"/>
                <a:gd name="T58" fmla="*/ 75 w 88"/>
                <a:gd name="T59" fmla="*/ 36 h 88"/>
                <a:gd name="T60" fmla="*/ 80 w 88"/>
                <a:gd name="T61" fmla="*/ 24 h 88"/>
                <a:gd name="T62" fmla="*/ 81 w 88"/>
                <a:gd name="T63" fmla="*/ 25 h 88"/>
                <a:gd name="T64" fmla="*/ 81 w 88"/>
                <a:gd name="T65" fmla="*/ 23 h 88"/>
                <a:gd name="T66" fmla="*/ 82 w 88"/>
                <a:gd name="T67" fmla="*/ 1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88">
                  <a:moveTo>
                    <a:pt x="82" y="19"/>
                  </a:moveTo>
                  <a:cubicBezTo>
                    <a:pt x="76" y="5"/>
                    <a:pt x="76" y="5"/>
                    <a:pt x="76" y="5"/>
                  </a:cubicBezTo>
                  <a:cubicBezTo>
                    <a:pt x="76" y="6"/>
                    <a:pt x="76" y="6"/>
                    <a:pt x="75" y="6"/>
                  </a:cubicBezTo>
                  <a:cubicBezTo>
                    <a:pt x="74" y="7"/>
                    <a:pt x="70" y="5"/>
                    <a:pt x="67" y="6"/>
                  </a:cubicBezTo>
                  <a:cubicBezTo>
                    <a:pt x="63" y="7"/>
                    <a:pt x="60" y="6"/>
                    <a:pt x="57" y="4"/>
                  </a:cubicBezTo>
                  <a:cubicBezTo>
                    <a:pt x="53" y="2"/>
                    <a:pt x="41" y="4"/>
                    <a:pt x="40" y="7"/>
                  </a:cubicBezTo>
                  <a:cubicBezTo>
                    <a:pt x="38" y="9"/>
                    <a:pt x="34" y="9"/>
                    <a:pt x="31" y="7"/>
                  </a:cubicBezTo>
                  <a:cubicBezTo>
                    <a:pt x="27" y="6"/>
                    <a:pt x="23" y="4"/>
                    <a:pt x="16" y="3"/>
                  </a:cubicBezTo>
                  <a:cubicBezTo>
                    <a:pt x="10" y="3"/>
                    <a:pt x="5" y="2"/>
                    <a:pt x="4" y="0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1" y="8"/>
                    <a:pt x="5" y="9"/>
                    <a:pt x="2" y="12"/>
                  </a:cubicBezTo>
                  <a:cubicBezTo>
                    <a:pt x="0" y="15"/>
                    <a:pt x="2" y="19"/>
                    <a:pt x="2" y="24"/>
                  </a:cubicBezTo>
                  <a:cubicBezTo>
                    <a:pt x="2" y="28"/>
                    <a:pt x="2" y="64"/>
                    <a:pt x="2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3" y="85"/>
                    <a:pt x="54" y="84"/>
                  </a:cubicBezTo>
                  <a:cubicBezTo>
                    <a:pt x="56" y="83"/>
                    <a:pt x="58" y="86"/>
                    <a:pt x="58" y="8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8" y="86"/>
                    <a:pt x="70" y="88"/>
                    <a:pt x="73" y="88"/>
                  </a:cubicBezTo>
                  <a:cubicBezTo>
                    <a:pt x="75" y="88"/>
                    <a:pt x="74" y="84"/>
                    <a:pt x="77" y="84"/>
                  </a:cubicBezTo>
                  <a:cubicBezTo>
                    <a:pt x="81" y="84"/>
                    <a:pt x="80" y="78"/>
                    <a:pt x="83" y="78"/>
                  </a:cubicBezTo>
                  <a:cubicBezTo>
                    <a:pt x="85" y="78"/>
                    <a:pt x="85" y="79"/>
                    <a:pt x="87" y="76"/>
                  </a:cubicBezTo>
                  <a:cubicBezTo>
                    <a:pt x="87" y="76"/>
                    <a:pt x="87" y="75"/>
                    <a:pt x="87" y="75"/>
                  </a:cubicBezTo>
                  <a:cubicBezTo>
                    <a:pt x="87" y="74"/>
                    <a:pt x="87" y="73"/>
                    <a:pt x="87" y="72"/>
                  </a:cubicBezTo>
                  <a:cubicBezTo>
                    <a:pt x="88" y="68"/>
                    <a:pt x="85" y="69"/>
                    <a:pt x="84" y="63"/>
                  </a:cubicBezTo>
                  <a:cubicBezTo>
                    <a:pt x="82" y="58"/>
                    <a:pt x="75" y="50"/>
                    <a:pt x="75" y="47"/>
                  </a:cubicBezTo>
                  <a:cubicBezTo>
                    <a:pt x="75" y="44"/>
                    <a:pt x="71" y="42"/>
                    <a:pt x="71" y="39"/>
                  </a:cubicBezTo>
                  <a:cubicBezTo>
                    <a:pt x="71" y="35"/>
                    <a:pt x="69" y="35"/>
                    <a:pt x="66" y="30"/>
                  </a:cubicBezTo>
                  <a:cubicBezTo>
                    <a:pt x="62" y="24"/>
                    <a:pt x="61" y="15"/>
                    <a:pt x="62" y="15"/>
                  </a:cubicBezTo>
                  <a:cubicBezTo>
                    <a:pt x="63" y="15"/>
                    <a:pt x="66" y="23"/>
                    <a:pt x="67" y="25"/>
                  </a:cubicBezTo>
                  <a:cubicBezTo>
                    <a:pt x="69" y="28"/>
                    <a:pt x="73" y="36"/>
                    <a:pt x="75" y="36"/>
                  </a:cubicBezTo>
                  <a:cubicBezTo>
                    <a:pt x="78" y="36"/>
                    <a:pt x="79" y="24"/>
                    <a:pt x="80" y="24"/>
                  </a:cubicBezTo>
                  <a:cubicBezTo>
                    <a:pt x="80" y="24"/>
                    <a:pt x="80" y="25"/>
                    <a:pt x="81" y="25"/>
                  </a:cubicBezTo>
                  <a:cubicBezTo>
                    <a:pt x="81" y="23"/>
                    <a:pt x="81" y="23"/>
                    <a:pt x="81" y="23"/>
                  </a:cubicBezTo>
                  <a:lnTo>
                    <a:pt x="82" y="19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5" name="Freeform 221">
              <a:extLst>
                <a:ext uri="{FF2B5EF4-FFF2-40B4-BE49-F238E27FC236}">
                  <a16:creationId xmlns:a16="http://schemas.microsoft.com/office/drawing/2014/main" id="{35245768-162A-F88F-779D-D3280E268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50" y="4215089"/>
              <a:ext cx="173016" cy="192063"/>
            </a:xfrm>
            <a:custGeom>
              <a:avLst/>
              <a:gdLst>
                <a:gd name="T0" fmla="*/ 23 w 46"/>
                <a:gd name="T1" fmla="*/ 48 h 51"/>
                <a:gd name="T2" fmla="*/ 24 w 46"/>
                <a:gd name="T3" fmla="*/ 42 h 51"/>
                <a:gd name="T4" fmla="*/ 29 w 46"/>
                <a:gd name="T5" fmla="*/ 38 h 51"/>
                <a:gd name="T6" fmla="*/ 33 w 46"/>
                <a:gd name="T7" fmla="*/ 34 h 51"/>
                <a:gd name="T8" fmla="*/ 37 w 46"/>
                <a:gd name="T9" fmla="*/ 39 h 51"/>
                <a:gd name="T10" fmla="*/ 43 w 46"/>
                <a:gd name="T11" fmla="*/ 40 h 51"/>
                <a:gd name="T12" fmla="*/ 46 w 46"/>
                <a:gd name="T13" fmla="*/ 30 h 51"/>
                <a:gd name="T14" fmla="*/ 44 w 46"/>
                <a:gd name="T15" fmla="*/ 22 h 51"/>
                <a:gd name="T16" fmla="*/ 42 w 46"/>
                <a:gd name="T17" fmla="*/ 16 h 51"/>
                <a:gd name="T18" fmla="*/ 43 w 46"/>
                <a:gd name="T19" fmla="*/ 9 h 51"/>
                <a:gd name="T20" fmla="*/ 35 w 46"/>
                <a:gd name="T21" fmla="*/ 9 h 51"/>
                <a:gd name="T22" fmla="*/ 36 w 46"/>
                <a:gd name="T23" fmla="*/ 1 h 51"/>
                <a:gd name="T24" fmla="*/ 24 w 46"/>
                <a:gd name="T25" fmla="*/ 0 h 51"/>
                <a:gd name="T26" fmla="*/ 23 w 46"/>
                <a:gd name="T27" fmla="*/ 1 h 51"/>
                <a:gd name="T28" fmla="*/ 22 w 46"/>
                <a:gd name="T29" fmla="*/ 11 h 51"/>
                <a:gd name="T30" fmla="*/ 11 w 46"/>
                <a:gd name="T31" fmla="*/ 12 h 51"/>
                <a:gd name="T32" fmla="*/ 8 w 46"/>
                <a:gd name="T33" fmla="*/ 12 h 51"/>
                <a:gd name="T34" fmla="*/ 6 w 46"/>
                <a:gd name="T35" fmla="*/ 14 h 51"/>
                <a:gd name="T36" fmla="*/ 9 w 46"/>
                <a:gd name="T37" fmla="*/ 18 h 51"/>
                <a:gd name="T38" fmla="*/ 5 w 46"/>
                <a:gd name="T39" fmla="*/ 21 h 51"/>
                <a:gd name="T40" fmla="*/ 2 w 46"/>
                <a:gd name="T41" fmla="*/ 26 h 51"/>
                <a:gd name="T42" fmla="*/ 6 w 46"/>
                <a:gd name="T43" fmla="*/ 33 h 51"/>
                <a:gd name="T44" fmla="*/ 11 w 46"/>
                <a:gd name="T45" fmla="*/ 41 h 51"/>
                <a:gd name="T46" fmla="*/ 19 w 46"/>
                <a:gd name="T47" fmla="*/ 51 h 51"/>
                <a:gd name="T48" fmla="*/ 23 w 4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" h="51">
                  <a:moveTo>
                    <a:pt x="23" y="48"/>
                  </a:moveTo>
                  <a:cubicBezTo>
                    <a:pt x="27" y="48"/>
                    <a:pt x="26" y="46"/>
                    <a:pt x="24" y="42"/>
                  </a:cubicBezTo>
                  <a:cubicBezTo>
                    <a:pt x="23" y="38"/>
                    <a:pt x="27" y="38"/>
                    <a:pt x="29" y="38"/>
                  </a:cubicBezTo>
                  <a:cubicBezTo>
                    <a:pt x="32" y="38"/>
                    <a:pt x="31" y="34"/>
                    <a:pt x="33" y="34"/>
                  </a:cubicBezTo>
                  <a:cubicBezTo>
                    <a:pt x="35" y="34"/>
                    <a:pt x="35" y="39"/>
                    <a:pt x="37" y="39"/>
                  </a:cubicBezTo>
                  <a:cubicBezTo>
                    <a:pt x="39" y="38"/>
                    <a:pt x="41" y="40"/>
                    <a:pt x="43" y="40"/>
                  </a:cubicBezTo>
                  <a:cubicBezTo>
                    <a:pt x="46" y="39"/>
                    <a:pt x="46" y="34"/>
                    <a:pt x="46" y="30"/>
                  </a:cubicBezTo>
                  <a:cubicBezTo>
                    <a:pt x="46" y="27"/>
                    <a:pt x="46" y="24"/>
                    <a:pt x="44" y="22"/>
                  </a:cubicBezTo>
                  <a:cubicBezTo>
                    <a:pt x="41" y="21"/>
                    <a:pt x="39" y="17"/>
                    <a:pt x="42" y="16"/>
                  </a:cubicBezTo>
                  <a:cubicBezTo>
                    <a:pt x="45" y="14"/>
                    <a:pt x="46" y="11"/>
                    <a:pt x="43" y="9"/>
                  </a:cubicBezTo>
                  <a:cubicBezTo>
                    <a:pt x="41" y="7"/>
                    <a:pt x="35" y="11"/>
                    <a:pt x="35" y="9"/>
                  </a:cubicBezTo>
                  <a:cubicBezTo>
                    <a:pt x="35" y="8"/>
                    <a:pt x="36" y="4"/>
                    <a:pt x="36" y="1"/>
                  </a:cubicBezTo>
                  <a:cubicBezTo>
                    <a:pt x="30" y="1"/>
                    <a:pt x="24" y="0"/>
                    <a:pt x="24" y="0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7"/>
                    <a:pt x="22" y="11"/>
                    <a:pt x="22" y="11"/>
                  </a:cubicBezTo>
                  <a:cubicBezTo>
                    <a:pt x="22" y="11"/>
                    <a:pt x="13" y="12"/>
                    <a:pt x="11" y="12"/>
                  </a:cubicBezTo>
                  <a:cubicBezTo>
                    <a:pt x="11" y="12"/>
                    <a:pt x="10" y="12"/>
                    <a:pt x="8" y="12"/>
                  </a:cubicBezTo>
                  <a:cubicBezTo>
                    <a:pt x="7" y="13"/>
                    <a:pt x="7" y="13"/>
                    <a:pt x="6" y="14"/>
                  </a:cubicBezTo>
                  <a:cubicBezTo>
                    <a:pt x="5" y="15"/>
                    <a:pt x="9" y="16"/>
                    <a:pt x="9" y="18"/>
                  </a:cubicBezTo>
                  <a:cubicBezTo>
                    <a:pt x="10" y="19"/>
                    <a:pt x="5" y="19"/>
                    <a:pt x="5" y="21"/>
                  </a:cubicBezTo>
                  <a:cubicBezTo>
                    <a:pt x="5" y="23"/>
                    <a:pt x="3" y="25"/>
                    <a:pt x="2" y="26"/>
                  </a:cubicBezTo>
                  <a:cubicBezTo>
                    <a:pt x="0" y="27"/>
                    <a:pt x="6" y="32"/>
                    <a:pt x="6" y="33"/>
                  </a:cubicBezTo>
                  <a:cubicBezTo>
                    <a:pt x="6" y="35"/>
                    <a:pt x="7" y="36"/>
                    <a:pt x="11" y="41"/>
                  </a:cubicBezTo>
                  <a:cubicBezTo>
                    <a:pt x="16" y="45"/>
                    <a:pt x="14" y="46"/>
                    <a:pt x="19" y="51"/>
                  </a:cubicBezTo>
                  <a:cubicBezTo>
                    <a:pt x="20" y="50"/>
                    <a:pt x="21" y="48"/>
                    <a:pt x="23" y="4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6" name="Freeform 222">
              <a:extLst>
                <a:ext uri="{FF2B5EF4-FFF2-40B4-BE49-F238E27FC236}">
                  <a16:creationId xmlns:a16="http://schemas.microsoft.com/office/drawing/2014/main" id="{85A061D5-C5B0-1EC6-2E52-FD13CB10F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98" y="4210332"/>
              <a:ext cx="66666" cy="42857"/>
            </a:xfrm>
            <a:custGeom>
              <a:avLst/>
              <a:gdLst>
                <a:gd name="T0" fmla="*/ 17 w 18"/>
                <a:gd name="T1" fmla="*/ 10 h 11"/>
                <a:gd name="T2" fmla="*/ 18 w 18"/>
                <a:gd name="T3" fmla="*/ 0 h 11"/>
                <a:gd name="T4" fmla="*/ 16 w 18"/>
                <a:gd name="T5" fmla="*/ 0 h 11"/>
                <a:gd name="T6" fmla="*/ 4 w 18"/>
                <a:gd name="T7" fmla="*/ 0 h 11"/>
                <a:gd name="T8" fmla="*/ 5 w 18"/>
                <a:gd name="T9" fmla="*/ 1 h 11"/>
                <a:gd name="T10" fmla="*/ 3 w 18"/>
                <a:gd name="T11" fmla="*/ 6 h 11"/>
                <a:gd name="T12" fmla="*/ 2 w 18"/>
                <a:gd name="T13" fmla="*/ 9 h 11"/>
                <a:gd name="T14" fmla="*/ 3 w 18"/>
                <a:gd name="T15" fmla="*/ 11 h 11"/>
                <a:gd name="T16" fmla="*/ 6 w 18"/>
                <a:gd name="T17" fmla="*/ 11 h 11"/>
                <a:gd name="T18" fmla="*/ 17 w 18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1">
                  <a:moveTo>
                    <a:pt x="17" y="10"/>
                  </a:moveTo>
                  <a:cubicBezTo>
                    <a:pt x="17" y="10"/>
                    <a:pt x="18" y="6"/>
                    <a:pt x="18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6" y="2"/>
                    <a:pt x="5" y="5"/>
                    <a:pt x="3" y="6"/>
                  </a:cubicBezTo>
                  <a:cubicBezTo>
                    <a:pt x="0" y="7"/>
                    <a:pt x="0" y="9"/>
                    <a:pt x="2" y="9"/>
                  </a:cubicBezTo>
                  <a:cubicBezTo>
                    <a:pt x="4" y="9"/>
                    <a:pt x="3" y="10"/>
                    <a:pt x="3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8" y="11"/>
                    <a:pt x="17" y="10"/>
                    <a:pt x="17" y="1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7" name="Freeform 223">
              <a:extLst>
                <a:ext uri="{FF2B5EF4-FFF2-40B4-BE49-F238E27FC236}">
                  <a16:creationId xmlns:a16="http://schemas.microsoft.com/office/drawing/2014/main" id="{228EE512-5081-8A8F-F49A-CFA70641F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1880" y="4173820"/>
              <a:ext cx="214285" cy="266665"/>
            </a:xfrm>
            <a:custGeom>
              <a:avLst/>
              <a:gdLst>
                <a:gd name="T0" fmla="*/ 16 w 57"/>
                <a:gd name="T1" fmla="*/ 67 h 71"/>
                <a:gd name="T2" fmla="*/ 21 w 57"/>
                <a:gd name="T3" fmla="*/ 67 h 71"/>
                <a:gd name="T4" fmla="*/ 28 w 57"/>
                <a:gd name="T5" fmla="*/ 68 h 71"/>
                <a:gd name="T6" fmla="*/ 31 w 57"/>
                <a:gd name="T7" fmla="*/ 67 h 71"/>
                <a:gd name="T8" fmla="*/ 36 w 57"/>
                <a:gd name="T9" fmla="*/ 63 h 71"/>
                <a:gd name="T10" fmla="*/ 39 w 57"/>
                <a:gd name="T11" fmla="*/ 57 h 71"/>
                <a:gd name="T12" fmla="*/ 40 w 57"/>
                <a:gd name="T13" fmla="*/ 43 h 71"/>
                <a:gd name="T14" fmla="*/ 47 w 57"/>
                <a:gd name="T15" fmla="*/ 35 h 71"/>
                <a:gd name="T16" fmla="*/ 52 w 57"/>
                <a:gd name="T17" fmla="*/ 18 h 71"/>
                <a:gd name="T18" fmla="*/ 55 w 57"/>
                <a:gd name="T19" fmla="*/ 9 h 71"/>
                <a:gd name="T20" fmla="*/ 57 w 57"/>
                <a:gd name="T21" fmla="*/ 1 h 71"/>
                <a:gd name="T22" fmla="*/ 57 w 57"/>
                <a:gd name="T23" fmla="*/ 1 h 71"/>
                <a:gd name="T24" fmla="*/ 50 w 57"/>
                <a:gd name="T25" fmla="*/ 0 h 71"/>
                <a:gd name="T26" fmla="*/ 46 w 57"/>
                <a:gd name="T27" fmla="*/ 1 h 71"/>
                <a:gd name="T28" fmla="*/ 42 w 57"/>
                <a:gd name="T29" fmla="*/ 2 h 71"/>
                <a:gd name="T30" fmla="*/ 40 w 57"/>
                <a:gd name="T31" fmla="*/ 8 h 71"/>
                <a:gd name="T32" fmla="*/ 38 w 57"/>
                <a:gd name="T33" fmla="*/ 16 h 71"/>
                <a:gd name="T34" fmla="*/ 26 w 57"/>
                <a:gd name="T35" fmla="*/ 12 h 71"/>
                <a:gd name="T36" fmla="*/ 17 w 57"/>
                <a:gd name="T37" fmla="*/ 12 h 71"/>
                <a:gd name="T38" fmla="*/ 16 w 57"/>
                <a:gd name="T39" fmla="*/ 20 h 71"/>
                <a:gd name="T40" fmla="*/ 24 w 57"/>
                <a:gd name="T41" fmla="*/ 20 h 71"/>
                <a:gd name="T42" fmla="*/ 23 w 57"/>
                <a:gd name="T43" fmla="*/ 27 h 71"/>
                <a:gd name="T44" fmla="*/ 25 w 57"/>
                <a:gd name="T45" fmla="*/ 33 h 71"/>
                <a:gd name="T46" fmla="*/ 27 w 57"/>
                <a:gd name="T47" fmla="*/ 41 h 71"/>
                <a:gd name="T48" fmla="*/ 24 w 57"/>
                <a:gd name="T49" fmla="*/ 51 h 71"/>
                <a:gd name="T50" fmla="*/ 18 w 57"/>
                <a:gd name="T51" fmla="*/ 50 h 71"/>
                <a:gd name="T52" fmla="*/ 14 w 57"/>
                <a:gd name="T53" fmla="*/ 45 h 71"/>
                <a:gd name="T54" fmla="*/ 10 w 57"/>
                <a:gd name="T55" fmla="*/ 49 h 71"/>
                <a:gd name="T56" fmla="*/ 5 w 57"/>
                <a:gd name="T57" fmla="*/ 53 h 71"/>
                <a:gd name="T58" fmla="*/ 4 w 57"/>
                <a:gd name="T59" fmla="*/ 59 h 71"/>
                <a:gd name="T60" fmla="*/ 0 w 57"/>
                <a:gd name="T61" fmla="*/ 62 h 71"/>
                <a:gd name="T62" fmla="*/ 1 w 57"/>
                <a:gd name="T63" fmla="*/ 62 h 71"/>
                <a:gd name="T64" fmla="*/ 8 w 57"/>
                <a:gd name="T65" fmla="*/ 71 h 71"/>
                <a:gd name="T66" fmla="*/ 16 w 57"/>
                <a:gd name="T67" fmla="*/ 6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7" h="71">
                  <a:moveTo>
                    <a:pt x="16" y="67"/>
                  </a:moveTo>
                  <a:cubicBezTo>
                    <a:pt x="17" y="67"/>
                    <a:pt x="18" y="70"/>
                    <a:pt x="21" y="67"/>
                  </a:cubicBezTo>
                  <a:cubicBezTo>
                    <a:pt x="24" y="65"/>
                    <a:pt x="28" y="65"/>
                    <a:pt x="28" y="68"/>
                  </a:cubicBezTo>
                  <a:cubicBezTo>
                    <a:pt x="28" y="70"/>
                    <a:pt x="29" y="70"/>
                    <a:pt x="31" y="67"/>
                  </a:cubicBezTo>
                  <a:cubicBezTo>
                    <a:pt x="34" y="65"/>
                    <a:pt x="36" y="68"/>
                    <a:pt x="36" y="63"/>
                  </a:cubicBezTo>
                  <a:cubicBezTo>
                    <a:pt x="36" y="58"/>
                    <a:pt x="39" y="62"/>
                    <a:pt x="39" y="57"/>
                  </a:cubicBezTo>
                  <a:cubicBezTo>
                    <a:pt x="39" y="51"/>
                    <a:pt x="40" y="46"/>
                    <a:pt x="40" y="43"/>
                  </a:cubicBezTo>
                  <a:cubicBezTo>
                    <a:pt x="40" y="41"/>
                    <a:pt x="47" y="39"/>
                    <a:pt x="47" y="35"/>
                  </a:cubicBezTo>
                  <a:cubicBezTo>
                    <a:pt x="47" y="31"/>
                    <a:pt x="52" y="23"/>
                    <a:pt x="52" y="18"/>
                  </a:cubicBezTo>
                  <a:cubicBezTo>
                    <a:pt x="52" y="13"/>
                    <a:pt x="54" y="12"/>
                    <a:pt x="55" y="9"/>
                  </a:cubicBezTo>
                  <a:cubicBezTo>
                    <a:pt x="57" y="7"/>
                    <a:pt x="57" y="4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5"/>
                    <a:pt x="40" y="8"/>
                  </a:cubicBezTo>
                  <a:cubicBezTo>
                    <a:pt x="38" y="10"/>
                    <a:pt x="38" y="16"/>
                    <a:pt x="38" y="16"/>
                  </a:cubicBezTo>
                  <a:cubicBezTo>
                    <a:pt x="38" y="16"/>
                    <a:pt x="29" y="11"/>
                    <a:pt x="26" y="12"/>
                  </a:cubicBezTo>
                  <a:cubicBezTo>
                    <a:pt x="25" y="12"/>
                    <a:pt x="21" y="12"/>
                    <a:pt x="17" y="12"/>
                  </a:cubicBezTo>
                  <a:cubicBezTo>
                    <a:pt x="17" y="15"/>
                    <a:pt x="16" y="19"/>
                    <a:pt x="16" y="20"/>
                  </a:cubicBezTo>
                  <a:cubicBezTo>
                    <a:pt x="16" y="22"/>
                    <a:pt x="22" y="18"/>
                    <a:pt x="24" y="20"/>
                  </a:cubicBezTo>
                  <a:cubicBezTo>
                    <a:pt x="27" y="22"/>
                    <a:pt x="26" y="25"/>
                    <a:pt x="23" y="27"/>
                  </a:cubicBezTo>
                  <a:cubicBezTo>
                    <a:pt x="20" y="28"/>
                    <a:pt x="22" y="32"/>
                    <a:pt x="25" y="33"/>
                  </a:cubicBezTo>
                  <a:cubicBezTo>
                    <a:pt x="27" y="35"/>
                    <a:pt x="27" y="38"/>
                    <a:pt x="27" y="41"/>
                  </a:cubicBezTo>
                  <a:cubicBezTo>
                    <a:pt x="27" y="45"/>
                    <a:pt x="27" y="50"/>
                    <a:pt x="24" y="51"/>
                  </a:cubicBezTo>
                  <a:cubicBezTo>
                    <a:pt x="22" y="51"/>
                    <a:pt x="20" y="49"/>
                    <a:pt x="18" y="50"/>
                  </a:cubicBezTo>
                  <a:cubicBezTo>
                    <a:pt x="16" y="50"/>
                    <a:pt x="16" y="45"/>
                    <a:pt x="14" y="45"/>
                  </a:cubicBezTo>
                  <a:cubicBezTo>
                    <a:pt x="12" y="45"/>
                    <a:pt x="13" y="49"/>
                    <a:pt x="10" y="49"/>
                  </a:cubicBezTo>
                  <a:cubicBezTo>
                    <a:pt x="8" y="49"/>
                    <a:pt x="4" y="49"/>
                    <a:pt x="5" y="53"/>
                  </a:cubicBezTo>
                  <a:cubicBezTo>
                    <a:pt x="7" y="57"/>
                    <a:pt x="8" y="59"/>
                    <a:pt x="4" y="59"/>
                  </a:cubicBezTo>
                  <a:cubicBezTo>
                    <a:pt x="2" y="59"/>
                    <a:pt x="1" y="61"/>
                    <a:pt x="0" y="62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5" y="65"/>
                    <a:pt x="7" y="68"/>
                    <a:pt x="8" y="71"/>
                  </a:cubicBezTo>
                  <a:cubicBezTo>
                    <a:pt x="11" y="69"/>
                    <a:pt x="15" y="67"/>
                    <a:pt x="16" y="6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8" name="Freeform 224">
              <a:extLst>
                <a:ext uri="{FF2B5EF4-FFF2-40B4-BE49-F238E27FC236}">
                  <a16:creationId xmlns:a16="http://schemas.microsoft.com/office/drawing/2014/main" id="{F6F3AA1F-1D70-AF52-E351-E14922675B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814" y="3561130"/>
              <a:ext cx="498410" cy="620632"/>
            </a:xfrm>
            <a:custGeom>
              <a:avLst/>
              <a:gdLst>
                <a:gd name="T0" fmla="*/ 100 w 133"/>
                <a:gd name="T1" fmla="*/ 9 h 165"/>
                <a:gd name="T2" fmla="*/ 91 w 133"/>
                <a:gd name="T3" fmla="*/ 11 h 165"/>
                <a:gd name="T4" fmla="*/ 77 w 133"/>
                <a:gd name="T5" fmla="*/ 9 h 165"/>
                <a:gd name="T6" fmla="*/ 25 w 133"/>
                <a:gd name="T7" fmla="*/ 11 h 165"/>
                <a:gd name="T8" fmla="*/ 18 w 133"/>
                <a:gd name="T9" fmla="*/ 28 h 165"/>
                <a:gd name="T10" fmla="*/ 17 w 133"/>
                <a:gd name="T11" fmla="*/ 63 h 165"/>
                <a:gd name="T12" fmla="*/ 7 w 133"/>
                <a:gd name="T13" fmla="*/ 72 h 165"/>
                <a:gd name="T14" fmla="*/ 3 w 133"/>
                <a:gd name="T15" fmla="*/ 84 h 165"/>
                <a:gd name="T16" fmla="*/ 5 w 133"/>
                <a:gd name="T17" fmla="*/ 94 h 165"/>
                <a:gd name="T18" fmla="*/ 8 w 133"/>
                <a:gd name="T19" fmla="*/ 103 h 165"/>
                <a:gd name="T20" fmla="*/ 15 w 133"/>
                <a:gd name="T21" fmla="*/ 118 h 165"/>
                <a:gd name="T22" fmla="*/ 17 w 133"/>
                <a:gd name="T23" fmla="*/ 121 h 165"/>
                <a:gd name="T24" fmla="*/ 25 w 133"/>
                <a:gd name="T25" fmla="*/ 127 h 165"/>
                <a:gd name="T26" fmla="*/ 33 w 133"/>
                <a:gd name="T27" fmla="*/ 136 h 165"/>
                <a:gd name="T28" fmla="*/ 42 w 133"/>
                <a:gd name="T29" fmla="*/ 146 h 165"/>
                <a:gd name="T30" fmla="*/ 46 w 133"/>
                <a:gd name="T31" fmla="*/ 152 h 165"/>
                <a:gd name="T32" fmla="*/ 54 w 133"/>
                <a:gd name="T33" fmla="*/ 156 h 165"/>
                <a:gd name="T34" fmla="*/ 62 w 133"/>
                <a:gd name="T35" fmla="*/ 156 h 165"/>
                <a:gd name="T36" fmla="*/ 78 w 133"/>
                <a:gd name="T37" fmla="*/ 162 h 165"/>
                <a:gd name="T38" fmla="*/ 89 w 133"/>
                <a:gd name="T39" fmla="*/ 162 h 165"/>
                <a:gd name="T40" fmla="*/ 96 w 133"/>
                <a:gd name="T41" fmla="*/ 159 h 165"/>
                <a:gd name="T42" fmla="*/ 104 w 133"/>
                <a:gd name="T43" fmla="*/ 153 h 165"/>
                <a:gd name="T44" fmla="*/ 111 w 133"/>
                <a:gd name="T45" fmla="*/ 155 h 165"/>
                <a:gd name="T46" fmla="*/ 103 w 133"/>
                <a:gd name="T47" fmla="*/ 142 h 165"/>
                <a:gd name="T48" fmla="*/ 89 w 133"/>
                <a:gd name="T49" fmla="*/ 129 h 165"/>
                <a:gd name="T50" fmla="*/ 97 w 133"/>
                <a:gd name="T51" fmla="*/ 123 h 165"/>
                <a:gd name="T52" fmla="*/ 100 w 133"/>
                <a:gd name="T53" fmla="*/ 107 h 165"/>
                <a:gd name="T54" fmla="*/ 106 w 133"/>
                <a:gd name="T55" fmla="*/ 95 h 165"/>
                <a:gd name="T56" fmla="*/ 115 w 133"/>
                <a:gd name="T57" fmla="*/ 85 h 165"/>
                <a:gd name="T58" fmla="*/ 118 w 133"/>
                <a:gd name="T59" fmla="*/ 65 h 165"/>
                <a:gd name="T60" fmla="*/ 126 w 133"/>
                <a:gd name="T61" fmla="*/ 52 h 165"/>
                <a:gd name="T62" fmla="*/ 128 w 133"/>
                <a:gd name="T63" fmla="*/ 41 h 165"/>
                <a:gd name="T64" fmla="*/ 122 w 133"/>
                <a:gd name="T65" fmla="*/ 15 h 165"/>
                <a:gd name="T66" fmla="*/ 110 w 133"/>
                <a:gd name="T67" fmla="*/ 0 h 165"/>
                <a:gd name="T68" fmla="*/ 106 w 133"/>
                <a:gd name="T69" fmla="*/ 3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3" h="165">
                  <a:moveTo>
                    <a:pt x="106" y="3"/>
                  </a:moveTo>
                  <a:cubicBezTo>
                    <a:pt x="103" y="3"/>
                    <a:pt x="104" y="9"/>
                    <a:pt x="100" y="9"/>
                  </a:cubicBezTo>
                  <a:cubicBezTo>
                    <a:pt x="97" y="9"/>
                    <a:pt x="98" y="13"/>
                    <a:pt x="96" y="13"/>
                  </a:cubicBezTo>
                  <a:cubicBezTo>
                    <a:pt x="93" y="13"/>
                    <a:pt x="91" y="11"/>
                    <a:pt x="91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81" y="11"/>
                    <a:pt x="79" y="8"/>
                    <a:pt x="77" y="9"/>
                  </a:cubicBezTo>
                  <a:cubicBezTo>
                    <a:pt x="76" y="10"/>
                    <a:pt x="74" y="11"/>
                    <a:pt x="7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21"/>
                    <a:pt x="25" y="28"/>
                    <a:pt x="25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54"/>
                    <a:pt x="18" y="62"/>
                    <a:pt x="17" y="63"/>
                  </a:cubicBezTo>
                  <a:cubicBezTo>
                    <a:pt x="15" y="63"/>
                    <a:pt x="10" y="65"/>
                    <a:pt x="10" y="67"/>
                  </a:cubicBezTo>
                  <a:cubicBezTo>
                    <a:pt x="10" y="70"/>
                    <a:pt x="9" y="72"/>
                    <a:pt x="7" y="72"/>
                  </a:cubicBezTo>
                  <a:cubicBezTo>
                    <a:pt x="4" y="73"/>
                    <a:pt x="7" y="78"/>
                    <a:pt x="3" y="78"/>
                  </a:cubicBezTo>
                  <a:cubicBezTo>
                    <a:pt x="0" y="78"/>
                    <a:pt x="5" y="82"/>
                    <a:pt x="3" y="84"/>
                  </a:cubicBezTo>
                  <a:cubicBezTo>
                    <a:pt x="1" y="86"/>
                    <a:pt x="1" y="89"/>
                    <a:pt x="4" y="89"/>
                  </a:cubicBezTo>
                  <a:cubicBezTo>
                    <a:pt x="6" y="89"/>
                    <a:pt x="5" y="91"/>
                    <a:pt x="5" y="94"/>
                  </a:cubicBezTo>
                  <a:cubicBezTo>
                    <a:pt x="5" y="97"/>
                    <a:pt x="9" y="99"/>
                    <a:pt x="9" y="99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3"/>
                    <a:pt x="14" y="109"/>
                    <a:pt x="14" y="111"/>
                  </a:cubicBezTo>
                  <a:cubicBezTo>
                    <a:pt x="15" y="112"/>
                    <a:pt x="18" y="116"/>
                    <a:pt x="15" y="118"/>
                  </a:cubicBezTo>
                  <a:cubicBezTo>
                    <a:pt x="12" y="119"/>
                    <a:pt x="14" y="121"/>
                    <a:pt x="14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8" y="124"/>
                    <a:pt x="18" y="124"/>
                    <a:pt x="18" y="124"/>
                  </a:cubicBezTo>
                  <a:cubicBezTo>
                    <a:pt x="18" y="124"/>
                    <a:pt x="22" y="124"/>
                    <a:pt x="25" y="127"/>
                  </a:cubicBezTo>
                  <a:cubicBezTo>
                    <a:pt x="27" y="130"/>
                    <a:pt x="28" y="130"/>
                    <a:pt x="28" y="132"/>
                  </a:cubicBezTo>
                  <a:cubicBezTo>
                    <a:pt x="28" y="133"/>
                    <a:pt x="30" y="134"/>
                    <a:pt x="33" y="136"/>
                  </a:cubicBezTo>
                  <a:cubicBezTo>
                    <a:pt x="36" y="139"/>
                    <a:pt x="36" y="140"/>
                    <a:pt x="36" y="142"/>
                  </a:cubicBezTo>
                  <a:cubicBezTo>
                    <a:pt x="36" y="143"/>
                    <a:pt x="42" y="146"/>
                    <a:pt x="42" y="146"/>
                  </a:cubicBezTo>
                  <a:cubicBezTo>
                    <a:pt x="43" y="150"/>
                    <a:pt x="43" y="150"/>
                    <a:pt x="43" y="150"/>
                  </a:cubicBezTo>
                  <a:cubicBezTo>
                    <a:pt x="44" y="151"/>
                    <a:pt x="45" y="151"/>
                    <a:pt x="46" y="152"/>
                  </a:cubicBezTo>
                  <a:cubicBezTo>
                    <a:pt x="47" y="155"/>
                    <a:pt x="49" y="156"/>
                    <a:pt x="49" y="156"/>
                  </a:cubicBezTo>
                  <a:cubicBezTo>
                    <a:pt x="49" y="156"/>
                    <a:pt x="52" y="158"/>
                    <a:pt x="54" y="156"/>
                  </a:cubicBezTo>
                  <a:cubicBezTo>
                    <a:pt x="56" y="154"/>
                    <a:pt x="58" y="157"/>
                    <a:pt x="58" y="157"/>
                  </a:cubicBezTo>
                  <a:cubicBezTo>
                    <a:pt x="58" y="157"/>
                    <a:pt x="61" y="155"/>
                    <a:pt x="62" y="156"/>
                  </a:cubicBezTo>
                  <a:cubicBezTo>
                    <a:pt x="63" y="156"/>
                    <a:pt x="68" y="160"/>
                    <a:pt x="72" y="164"/>
                  </a:cubicBezTo>
                  <a:cubicBezTo>
                    <a:pt x="72" y="163"/>
                    <a:pt x="76" y="162"/>
                    <a:pt x="78" y="162"/>
                  </a:cubicBezTo>
                  <a:cubicBezTo>
                    <a:pt x="79" y="162"/>
                    <a:pt x="82" y="165"/>
                    <a:pt x="83" y="164"/>
                  </a:cubicBezTo>
                  <a:cubicBezTo>
                    <a:pt x="83" y="163"/>
                    <a:pt x="87" y="161"/>
                    <a:pt x="89" y="162"/>
                  </a:cubicBezTo>
                  <a:cubicBezTo>
                    <a:pt x="90" y="162"/>
                    <a:pt x="93" y="163"/>
                    <a:pt x="94" y="161"/>
                  </a:cubicBezTo>
                  <a:cubicBezTo>
                    <a:pt x="94" y="160"/>
                    <a:pt x="95" y="160"/>
                    <a:pt x="96" y="159"/>
                  </a:cubicBezTo>
                  <a:cubicBezTo>
                    <a:pt x="97" y="158"/>
                    <a:pt x="97" y="158"/>
                    <a:pt x="97" y="157"/>
                  </a:cubicBezTo>
                  <a:cubicBezTo>
                    <a:pt x="98" y="156"/>
                    <a:pt x="102" y="153"/>
                    <a:pt x="104" y="153"/>
                  </a:cubicBezTo>
                  <a:cubicBezTo>
                    <a:pt x="106" y="153"/>
                    <a:pt x="108" y="153"/>
                    <a:pt x="109" y="154"/>
                  </a:cubicBezTo>
                  <a:cubicBezTo>
                    <a:pt x="109" y="154"/>
                    <a:pt x="110" y="155"/>
                    <a:pt x="111" y="155"/>
                  </a:cubicBezTo>
                  <a:cubicBezTo>
                    <a:pt x="111" y="150"/>
                    <a:pt x="112" y="148"/>
                    <a:pt x="111" y="148"/>
                  </a:cubicBezTo>
                  <a:cubicBezTo>
                    <a:pt x="109" y="148"/>
                    <a:pt x="105" y="146"/>
                    <a:pt x="103" y="142"/>
                  </a:cubicBezTo>
                  <a:cubicBezTo>
                    <a:pt x="102" y="138"/>
                    <a:pt x="97" y="135"/>
                    <a:pt x="96" y="133"/>
                  </a:cubicBezTo>
                  <a:cubicBezTo>
                    <a:pt x="95" y="130"/>
                    <a:pt x="90" y="131"/>
                    <a:pt x="89" y="129"/>
                  </a:cubicBezTo>
                  <a:cubicBezTo>
                    <a:pt x="88" y="127"/>
                    <a:pt x="90" y="127"/>
                    <a:pt x="90" y="124"/>
                  </a:cubicBezTo>
                  <a:cubicBezTo>
                    <a:pt x="90" y="122"/>
                    <a:pt x="96" y="123"/>
                    <a:pt x="97" y="123"/>
                  </a:cubicBezTo>
                  <a:cubicBezTo>
                    <a:pt x="97" y="122"/>
                    <a:pt x="98" y="117"/>
                    <a:pt x="98" y="114"/>
                  </a:cubicBezTo>
                  <a:cubicBezTo>
                    <a:pt x="98" y="111"/>
                    <a:pt x="102" y="108"/>
                    <a:pt x="100" y="107"/>
                  </a:cubicBezTo>
                  <a:cubicBezTo>
                    <a:pt x="99" y="105"/>
                    <a:pt x="102" y="105"/>
                    <a:pt x="104" y="103"/>
                  </a:cubicBezTo>
                  <a:cubicBezTo>
                    <a:pt x="106" y="102"/>
                    <a:pt x="104" y="97"/>
                    <a:pt x="106" y="95"/>
                  </a:cubicBezTo>
                  <a:cubicBezTo>
                    <a:pt x="108" y="93"/>
                    <a:pt x="110" y="89"/>
                    <a:pt x="111" y="89"/>
                  </a:cubicBezTo>
                  <a:cubicBezTo>
                    <a:pt x="113" y="89"/>
                    <a:pt x="115" y="87"/>
                    <a:pt x="115" y="85"/>
                  </a:cubicBezTo>
                  <a:cubicBezTo>
                    <a:pt x="115" y="83"/>
                    <a:pt x="118" y="79"/>
                    <a:pt x="118" y="76"/>
                  </a:cubicBezTo>
                  <a:cubicBezTo>
                    <a:pt x="117" y="72"/>
                    <a:pt x="116" y="68"/>
                    <a:pt x="118" y="65"/>
                  </a:cubicBezTo>
                  <a:cubicBezTo>
                    <a:pt x="121" y="62"/>
                    <a:pt x="122" y="59"/>
                    <a:pt x="121" y="57"/>
                  </a:cubicBezTo>
                  <a:cubicBezTo>
                    <a:pt x="121" y="54"/>
                    <a:pt x="124" y="54"/>
                    <a:pt x="126" y="52"/>
                  </a:cubicBezTo>
                  <a:cubicBezTo>
                    <a:pt x="127" y="51"/>
                    <a:pt x="130" y="50"/>
                    <a:pt x="133" y="45"/>
                  </a:cubicBezTo>
                  <a:cubicBezTo>
                    <a:pt x="131" y="43"/>
                    <a:pt x="130" y="41"/>
                    <a:pt x="128" y="41"/>
                  </a:cubicBezTo>
                  <a:cubicBezTo>
                    <a:pt x="125" y="39"/>
                    <a:pt x="124" y="34"/>
                    <a:pt x="124" y="28"/>
                  </a:cubicBezTo>
                  <a:cubicBezTo>
                    <a:pt x="124" y="22"/>
                    <a:pt x="122" y="17"/>
                    <a:pt x="122" y="15"/>
                  </a:cubicBezTo>
                  <a:cubicBezTo>
                    <a:pt x="122" y="13"/>
                    <a:pt x="118" y="8"/>
                    <a:pt x="115" y="6"/>
                  </a:cubicBezTo>
                  <a:cubicBezTo>
                    <a:pt x="112" y="5"/>
                    <a:pt x="111" y="3"/>
                    <a:pt x="110" y="0"/>
                  </a:cubicBezTo>
                  <a:cubicBezTo>
                    <a:pt x="110" y="0"/>
                    <a:pt x="110" y="1"/>
                    <a:pt x="110" y="1"/>
                  </a:cubicBezTo>
                  <a:cubicBezTo>
                    <a:pt x="108" y="4"/>
                    <a:pt x="108" y="3"/>
                    <a:pt x="106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59" name="Freeform 225">
              <a:extLst>
                <a:ext uri="{FF2B5EF4-FFF2-40B4-BE49-F238E27FC236}">
                  <a16:creationId xmlns:a16="http://schemas.microsoft.com/office/drawing/2014/main" id="{F6E7C759-B26F-5D4C-696C-6110DAED3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1875" y="3888111"/>
              <a:ext cx="60317" cy="60317"/>
            </a:xfrm>
            <a:custGeom>
              <a:avLst/>
              <a:gdLst>
                <a:gd name="T0" fmla="*/ 6 w 16"/>
                <a:gd name="T1" fmla="*/ 2 h 16"/>
                <a:gd name="T2" fmla="*/ 2 w 16"/>
                <a:gd name="T3" fmla="*/ 8 h 16"/>
                <a:gd name="T4" fmla="*/ 2 w 16"/>
                <a:gd name="T5" fmla="*/ 15 h 16"/>
                <a:gd name="T6" fmla="*/ 6 w 16"/>
                <a:gd name="T7" fmla="*/ 14 h 16"/>
                <a:gd name="T8" fmla="*/ 10 w 16"/>
                <a:gd name="T9" fmla="*/ 16 h 16"/>
                <a:gd name="T10" fmla="*/ 14 w 16"/>
                <a:gd name="T11" fmla="*/ 12 h 16"/>
                <a:gd name="T12" fmla="*/ 9 w 16"/>
                <a:gd name="T13" fmla="*/ 10 h 16"/>
                <a:gd name="T14" fmla="*/ 14 w 16"/>
                <a:gd name="T15" fmla="*/ 6 h 16"/>
                <a:gd name="T16" fmla="*/ 13 w 16"/>
                <a:gd name="T17" fmla="*/ 1 h 16"/>
                <a:gd name="T18" fmla="*/ 12 w 16"/>
                <a:gd name="T19" fmla="*/ 0 h 16"/>
                <a:gd name="T20" fmla="*/ 10 w 16"/>
                <a:gd name="T21" fmla="*/ 2 h 16"/>
                <a:gd name="T22" fmla="*/ 6 w 16"/>
                <a:gd name="T2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6">
                  <a:moveTo>
                    <a:pt x="6" y="2"/>
                  </a:moveTo>
                  <a:cubicBezTo>
                    <a:pt x="6" y="3"/>
                    <a:pt x="4" y="6"/>
                    <a:pt x="2" y="8"/>
                  </a:cubicBezTo>
                  <a:cubicBezTo>
                    <a:pt x="0" y="10"/>
                    <a:pt x="1" y="14"/>
                    <a:pt x="2" y="15"/>
                  </a:cubicBezTo>
                  <a:cubicBezTo>
                    <a:pt x="2" y="16"/>
                    <a:pt x="5" y="15"/>
                    <a:pt x="6" y="14"/>
                  </a:cubicBezTo>
                  <a:cubicBezTo>
                    <a:pt x="8" y="14"/>
                    <a:pt x="9" y="14"/>
                    <a:pt x="10" y="16"/>
                  </a:cubicBezTo>
                  <a:cubicBezTo>
                    <a:pt x="11" y="14"/>
                    <a:pt x="12" y="13"/>
                    <a:pt x="14" y="12"/>
                  </a:cubicBezTo>
                  <a:cubicBezTo>
                    <a:pt x="12" y="11"/>
                    <a:pt x="10" y="10"/>
                    <a:pt x="9" y="10"/>
                  </a:cubicBezTo>
                  <a:cubicBezTo>
                    <a:pt x="8" y="9"/>
                    <a:pt x="12" y="7"/>
                    <a:pt x="14" y="6"/>
                  </a:cubicBezTo>
                  <a:cubicBezTo>
                    <a:pt x="16" y="6"/>
                    <a:pt x="15" y="3"/>
                    <a:pt x="13" y="1"/>
                  </a:cubicBezTo>
                  <a:cubicBezTo>
                    <a:pt x="13" y="1"/>
                    <a:pt x="13" y="1"/>
                    <a:pt x="12" y="0"/>
                  </a:cubicBezTo>
                  <a:cubicBezTo>
                    <a:pt x="11" y="1"/>
                    <a:pt x="10" y="2"/>
                    <a:pt x="10" y="2"/>
                  </a:cubicBezTo>
                  <a:cubicBezTo>
                    <a:pt x="9" y="3"/>
                    <a:pt x="8" y="2"/>
                    <a:pt x="6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0" name="Freeform 226">
              <a:extLst>
                <a:ext uri="{FF2B5EF4-FFF2-40B4-BE49-F238E27FC236}">
                  <a16:creationId xmlns:a16="http://schemas.microsoft.com/office/drawing/2014/main" id="{1C5CA639-EB0B-C472-7EC7-29655E47B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727" y="3730969"/>
              <a:ext cx="203174" cy="176190"/>
            </a:xfrm>
            <a:custGeom>
              <a:avLst/>
              <a:gdLst>
                <a:gd name="T0" fmla="*/ 10 w 54"/>
                <a:gd name="T1" fmla="*/ 7 h 47"/>
                <a:gd name="T2" fmla="*/ 5 w 54"/>
                <a:gd name="T3" fmla="*/ 12 h 47"/>
                <a:gd name="T4" fmla="*/ 2 w 54"/>
                <a:gd name="T5" fmla="*/ 20 h 47"/>
                <a:gd name="T6" fmla="*/ 2 w 54"/>
                <a:gd name="T7" fmla="*/ 31 h 47"/>
                <a:gd name="T8" fmla="*/ 8 w 54"/>
                <a:gd name="T9" fmla="*/ 31 h 47"/>
                <a:gd name="T10" fmla="*/ 11 w 54"/>
                <a:gd name="T11" fmla="*/ 29 h 47"/>
                <a:gd name="T12" fmla="*/ 15 w 54"/>
                <a:gd name="T13" fmla="*/ 28 h 47"/>
                <a:gd name="T14" fmla="*/ 20 w 54"/>
                <a:gd name="T15" fmla="*/ 30 h 47"/>
                <a:gd name="T16" fmla="*/ 23 w 54"/>
                <a:gd name="T17" fmla="*/ 30 h 47"/>
                <a:gd name="T18" fmla="*/ 31 w 54"/>
                <a:gd name="T19" fmla="*/ 30 h 47"/>
                <a:gd name="T20" fmla="*/ 48 w 54"/>
                <a:gd name="T21" fmla="*/ 46 h 47"/>
                <a:gd name="T22" fmla="*/ 48 w 54"/>
                <a:gd name="T23" fmla="*/ 46 h 47"/>
                <a:gd name="T24" fmla="*/ 52 w 54"/>
                <a:gd name="T25" fmla="*/ 46 h 47"/>
                <a:gd name="T26" fmla="*/ 54 w 54"/>
                <a:gd name="T27" fmla="*/ 44 h 47"/>
                <a:gd name="T28" fmla="*/ 46 w 54"/>
                <a:gd name="T29" fmla="*/ 35 h 47"/>
                <a:gd name="T30" fmla="*/ 33 w 54"/>
                <a:gd name="T31" fmla="*/ 26 h 47"/>
                <a:gd name="T32" fmla="*/ 28 w 54"/>
                <a:gd name="T33" fmla="*/ 21 h 47"/>
                <a:gd name="T34" fmla="*/ 22 w 54"/>
                <a:gd name="T35" fmla="*/ 9 h 47"/>
                <a:gd name="T36" fmla="*/ 17 w 54"/>
                <a:gd name="T37" fmla="*/ 0 h 47"/>
                <a:gd name="T38" fmla="*/ 10 w 54"/>
                <a:gd name="T39" fmla="*/ 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4" h="47">
                  <a:moveTo>
                    <a:pt x="10" y="7"/>
                  </a:moveTo>
                  <a:cubicBezTo>
                    <a:pt x="8" y="9"/>
                    <a:pt x="5" y="9"/>
                    <a:pt x="5" y="12"/>
                  </a:cubicBezTo>
                  <a:cubicBezTo>
                    <a:pt x="6" y="14"/>
                    <a:pt x="5" y="17"/>
                    <a:pt x="2" y="20"/>
                  </a:cubicBezTo>
                  <a:cubicBezTo>
                    <a:pt x="0" y="23"/>
                    <a:pt x="1" y="27"/>
                    <a:pt x="2" y="31"/>
                  </a:cubicBezTo>
                  <a:cubicBezTo>
                    <a:pt x="5" y="30"/>
                    <a:pt x="8" y="30"/>
                    <a:pt x="8" y="31"/>
                  </a:cubicBezTo>
                  <a:cubicBezTo>
                    <a:pt x="10" y="32"/>
                    <a:pt x="10" y="31"/>
                    <a:pt x="11" y="29"/>
                  </a:cubicBezTo>
                  <a:cubicBezTo>
                    <a:pt x="12" y="26"/>
                    <a:pt x="13" y="26"/>
                    <a:pt x="15" y="28"/>
                  </a:cubicBezTo>
                  <a:cubicBezTo>
                    <a:pt x="16" y="29"/>
                    <a:pt x="17" y="31"/>
                    <a:pt x="20" y="30"/>
                  </a:cubicBezTo>
                  <a:cubicBezTo>
                    <a:pt x="22" y="28"/>
                    <a:pt x="22" y="29"/>
                    <a:pt x="23" y="30"/>
                  </a:cubicBezTo>
                  <a:cubicBezTo>
                    <a:pt x="24" y="30"/>
                    <a:pt x="29" y="29"/>
                    <a:pt x="31" y="30"/>
                  </a:cubicBezTo>
                  <a:cubicBezTo>
                    <a:pt x="33" y="30"/>
                    <a:pt x="48" y="46"/>
                    <a:pt x="48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50" y="46"/>
                    <a:pt x="51" y="47"/>
                    <a:pt x="52" y="46"/>
                  </a:cubicBezTo>
                  <a:cubicBezTo>
                    <a:pt x="52" y="46"/>
                    <a:pt x="53" y="45"/>
                    <a:pt x="54" y="44"/>
                  </a:cubicBezTo>
                  <a:cubicBezTo>
                    <a:pt x="52" y="43"/>
                    <a:pt x="49" y="40"/>
                    <a:pt x="46" y="35"/>
                  </a:cubicBezTo>
                  <a:cubicBezTo>
                    <a:pt x="41" y="29"/>
                    <a:pt x="36" y="26"/>
                    <a:pt x="33" y="26"/>
                  </a:cubicBezTo>
                  <a:cubicBezTo>
                    <a:pt x="30" y="26"/>
                    <a:pt x="30" y="21"/>
                    <a:pt x="28" y="21"/>
                  </a:cubicBezTo>
                  <a:cubicBezTo>
                    <a:pt x="26" y="21"/>
                    <a:pt x="22" y="14"/>
                    <a:pt x="22" y="9"/>
                  </a:cubicBezTo>
                  <a:cubicBezTo>
                    <a:pt x="22" y="7"/>
                    <a:pt x="20" y="3"/>
                    <a:pt x="17" y="0"/>
                  </a:cubicBezTo>
                  <a:cubicBezTo>
                    <a:pt x="14" y="5"/>
                    <a:pt x="11" y="6"/>
                    <a:pt x="10" y="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1" name="Freeform 227">
              <a:extLst>
                <a:ext uri="{FF2B5EF4-FFF2-40B4-BE49-F238E27FC236}">
                  <a16:creationId xmlns:a16="http://schemas.microsoft.com/office/drawing/2014/main" id="{9C4FB9EC-62FF-BF14-ACA6-36127F58B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9972" y="3827795"/>
              <a:ext cx="453966" cy="353967"/>
            </a:xfrm>
            <a:custGeom>
              <a:avLst/>
              <a:gdLst>
                <a:gd name="T0" fmla="*/ 8 w 121"/>
                <a:gd name="T1" fmla="*/ 62 h 94"/>
                <a:gd name="T2" fmla="*/ 15 w 121"/>
                <a:gd name="T3" fmla="*/ 71 h 94"/>
                <a:gd name="T4" fmla="*/ 23 w 121"/>
                <a:gd name="T5" fmla="*/ 77 h 94"/>
                <a:gd name="T6" fmla="*/ 23 w 121"/>
                <a:gd name="T7" fmla="*/ 84 h 94"/>
                <a:gd name="T8" fmla="*/ 25 w 121"/>
                <a:gd name="T9" fmla="*/ 85 h 94"/>
                <a:gd name="T10" fmla="*/ 33 w 121"/>
                <a:gd name="T11" fmla="*/ 87 h 94"/>
                <a:gd name="T12" fmla="*/ 43 w 121"/>
                <a:gd name="T13" fmla="*/ 92 h 94"/>
                <a:gd name="T14" fmla="*/ 52 w 121"/>
                <a:gd name="T15" fmla="*/ 94 h 94"/>
                <a:gd name="T16" fmla="*/ 57 w 121"/>
                <a:gd name="T17" fmla="*/ 89 h 94"/>
                <a:gd name="T18" fmla="*/ 64 w 121"/>
                <a:gd name="T19" fmla="*/ 88 h 94"/>
                <a:gd name="T20" fmla="*/ 68 w 121"/>
                <a:gd name="T21" fmla="*/ 89 h 94"/>
                <a:gd name="T22" fmla="*/ 72 w 121"/>
                <a:gd name="T23" fmla="*/ 88 h 94"/>
                <a:gd name="T24" fmla="*/ 79 w 121"/>
                <a:gd name="T25" fmla="*/ 87 h 94"/>
                <a:gd name="T26" fmla="*/ 89 w 121"/>
                <a:gd name="T27" fmla="*/ 82 h 94"/>
                <a:gd name="T28" fmla="*/ 98 w 121"/>
                <a:gd name="T29" fmla="*/ 80 h 94"/>
                <a:gd name="T30" fmla="*/ 120 w 121"/>
                <a:gd name="T31" fmla="*/ 59 h 94"/>
                <a:gd name="T32" fmla="*/ 117 w 121"/>
                <a:gd name="T33" fmla="*/ 57 h 94"/>
                <a:gd name="T34" fmla="*/ 106 w 121"/>
                <a:gd name="T35" fmla="*/ 54 h 94"/>
                <a:gd name="T36" fmla="*/ 89 w 121"/>
                <a:gd name="T37" fmla="*/ 49 h 94"/>
                <a:gd name="T38" fmla="*/ 84 w 121"/>
                <a:gd name="T39" fmla="*/ 44 h 94"/>
                <a:gd name="T40" fmla="*/ 79 w 121"/>
                <a:gd name="T41" fmla="*/ 37 h 94"/>
                <a:gd name="T42" fmla="*/ 80 w 121"/>
                <a:gd name="T43" fmla="*/ 34 h 94"/>
                <a:gd name="T44" fmla="*/ 76 w 121"/>
                <a:gd name="T45" fmla="*/ 32 h 94"/>
                <a:gd name="T46" fmla="*/ 72 w 121"/>
                <a:gd name="T47" fmla="*/ 33 h 94"/>
                <a:gd name="T48" fmla="*/ 72 w 121"/>
                <a:gd name="T49" fmla="*/ 26 h 94"/>
                <a:gd name="T50" fmla="*/ 76 w 121"/>
                <a:gd name="T51" fmla="*/ 20 h 94"/>
                <a:gd name="T52" fmla="*/ 59 w 121"/>
                <a:gd name="T53" fmla="*/ 4 h 94"/>
                <a:gd name="T54" fmla="*/ 51 w 121"/>
                <a:gd name="T55" fmla="*/ 4 h 94"/>
                <a:gd name="T56" fmla="*/ 48 w 121"/>
                <a:gd name="T57" fmla="*/ 4 h 94"/>
                <a:gd name="T58" fmla="*/ 43 w 121"/>
                <a:gd name="T59" fmla="*/ 2 h 94"/>
                <a:gd name="T60" fmla="*/ 39 w 121"/>
                <a:gd name="T61" fmla="*/ 3 h 94"/>
                <a:gd name="T62" fmla="*/ 36 w 121"/>
                <a:gd name="T63" fmla="*/ 5 h 94"/>
                <a:gd name="T64" fmla="*/ 30 w 121"/>
                <a:gd name="T65" fmla="*/ 5 h 94"/>
                <a:gd name="T66" fmla="*/ 30 w 121"/>
                <a:gd name="T67" fmla="*/ 5 h 94"/>
                <a:gd name="T68" fmla="*/ 27 w 121"/>
                <a:gd name="T69" fmla="*/ 14 h 94"/>
                <a:gd name="T70" fmla="*/ 23 w 121"/>
                <a:gd name="T71" fmla="*/ 18 h 94"/>
                <a:gd name="T72" fmla="*/ 18 w 121"/>
                <a:gd name="T73" fmla="*/ 24 h 94"/>
                <a:gd name="T74" fmla="*/ 16 w 121"/>
                <a:gd name="T75" fmla="*/ 32 h 94"/>
                <a:gd name="T76" fmla="*/ 12 w 121"/>
                <a:gd name="T77" fmla="*/ 36 h 94"/>
                <a:gd name="T78" fmla="*/ 10 w 121"/>
                <a:gd name="T79" fmla="*/ 43 h 94"/>
                <a:gd name="T80" fmla="*/ 9 w 121"/>
                <a:gd name="T81" fmla="*/ 52 h 94"/>
                <a:gd name="T82" fmla="*/ 2 w 121"/>
                <a:gd name="T83" fmla="*/ 53 h 94"/>
                <a:gd name="T84" fmla="*/ 1 w 121"/>
                <a:gd name="T85" fmla="*/ 58 h 94"/>
                <a:gd name="T86" fmla="*/ 8 w 121"/>
                <a:gd name="T87" fmla="*/ 6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1" h="94">
                  <a:moveTo>
                    <a:pt x="8" y="62"/>
                  </a:moveTo>
                  <a:cubicBezTo>
                    <a:pt x="9" y="64"/>
                    <a:pt x="14" y="67"/>
                    <a:pt x="15" y="71"/>
                  </a:cubicBezTo>
                  <a:cubicBezTo>
                    <a:pt x="17" y="75"/>
                    <a:pt x="21" y="77"/>
                    <a:pt x="23" y="77"/>
                  </a:cubicBezTo>
                  <a:cubicBezTo>
                    <a:pt x="24" y="77"/>
                    <a:pt x="23" y="79"/>
                    <a:pt x="23" y="84"/>
                  </a:cubicBezTo>
                  <a:cubicBezTo>
                    <a:pt x="24" y="84"/>
                    <a:pt x="25" y="85"/>
                    <a:pt x="25" y="85"/>
                  </a:cubicBezTo>
                  <a:cubicBezTo>
                    <a:pt x="26" y="86"/>
                    <a:pt x="32" y="85"/>
                    <a:pt x="33" y="87"/>
                  </a:cubicBezTo>
                  <a:cubicBezTo>
                    <a:pt x="35" y="88"/>
                    <a:pt x="41" y="92"/>
                    <a:pt x="43" y="92"/>
                  </a:cubicBezTo>
                  <a:cubicBezTo>
                    <a:pt x="44" y="92"/>
                    <a:pt x="51" y="93"/>
                    <a:pt x="52" y="94"/>
                  </a:cubicBezTo>
                  <a:cubicBezTo>
                    <a:pt x="53" y="94"/>
                    <a:pt x="54" y="91"/>
                    <a:pt x="57" y="89"/>
                  </a:cubicBezTo>
                  <a:cubicBezTo>
                    <a:pt x="60" y="88"/>
                    <a:pt x="64" y="87"/>
                    <a:pt x="64" y="88"/>
                  </a:cubicBezTo>
                  <a:cubicBezTo>
                    <a:pt x="65" y="89"/>
                    <a:pt x="67" y="90"/>
                    <a:pt x="68" y="89"/>
                  </a:cubicBezTo>
                  <a:cubicBezTo>
                    <a:pt x="69" y="89"/>
                    <a:pt x="70" y="89"/>
                    <a:pt x="72" y="88"/>
                  </a:cubicBezTo>
                  <a:cubicBezTo>
                    <a:pt x="75" y="88"/>
                    <a:pt x="78" y="87"/>
                    <a:pt x="79" y="87"/>
                  </a:cubicBezTo>
                  <a:cubicBezTo>
                    <a:pt x="80" y="87"/>
                    <a:pt x="84" y="82"/>
                    <a:pt x="89" y="82"/>
                  </a:cubicBezTo>
                  <a:cubicBezTo>
                    <a:pt x="94" y="82"/>
                    <a:pt x="96" y="83"/>
                    <a:pt x="98" y="80"/>
                  </a:cubicBezTo>
                  <a:cubicBezTo>
                    <a:pt x="100" y="78"/>
                    <a:pt x="118" y="60"/>
                    <a:pt x="120" y="59"/>
                  </a:cubicBezTo>
                  <a:cubicBezTo>
                    <a:pt x="121" y="58"/>
                    <a:pt x="118" y="57"/>
                    <a:pt x="117" y="57"/>
                  </a:cubicBezTo>
                  <a:cubicBezTo>
                    <a:pt x="115" y="57"/>
                    <a:pt x="111" y="57"/>
                    <a:pt x="106" y="54"/>
                  </a:cubicBezTo>
                  <a:cubicBezTo>
                    <a:pt x="100" y="52"/>
                    <a:pt x="91" y="49"/>
                    <a:pt x="89" y="49"/>
                  </a:cubicBezTo>
                  <a:cubicBezTo>
                    <a:pt x="88" y="48"/>
                    <a:pt x="85" y="45"/>
                    <a:pt x="84" y="44"/>
                  </a:cubicBezTo>
                  <a:cubicBezTo>
                    <a:pt x="83" y="43"/>
                    <a:pt x="80" y="38"/>
                    <a:pt x="79" y="37"/>
                  </a:cubicBezTo>
                  <a:cubicBezTo>
                    <a:pt x="79" y="36"/>
                    <a:pt x="79" y="35"/>
                    <a:pt x="80" y="34"/>
                  </a:cubicBezTo>
                  <a:cubicBezTo>
                    <a:pt x="79" y="32"/>
                    <a:pt x="78" y="32"/>
                    <a:pt x="76" y="32"/>
                  </a:cubicBezTo>
                  <a:cubicBezTo>
                    <a:pt x="75" y="33"/>
                    <a:pt x="72" y="34"/>
                    <a:pt x="72" y="33"/>
                  </a:cubicBezTo>
                  <a:cubicBezTo>
                    <a:pt x="71" y="32"/>
                    <a:pt x="70" y="28"/>
                    <a:pt x="72" y="26"/>
                  </a:cubicBezTo>
                  <a:cubicBezTo>
                    <a:pt x="74" y="24"/>
                    <a:pt x="76" y="20"/>
                    <a:pt x="76" y="20"/>
                  </a:cubicBezTo>
                  <a:cubicBezTo>
                    <a:pt x="76" y="20"/>
                    <a:pt x="61" y="4"/>
                    <a:pt x="59" y="4"/>
                  </a:cubicBezTo>
                  <a:cubicBezTo>
                    <a:pt x="57" y="3"/>
                    <a:pt x="52" y="4"/>
                    <a:pt x="51" y="4"/>
                  </a:cubicBezTo>
                  <a:cubicBezTo>
                    <a:pt x="50" y="3"/>
                    <a:pt x="50" y="2"/>
                    <a:pt x="48" y="4"/>
                  </a:cubicBezTo>
                  <a:cubicBezTo>
                    <a:pt x="45" y="5"/>
                    <a:pt x="44" y="3"/>
                    <a:pt x="43" y="2"/>
                  </a:cubicBezTo>
                  <a:cubicBezTo>
                    <a:pt x="41" y="0"/>
                    <a:pt x="40" y="0"/>
                    <a:pt x="39" y="3"/>
                  </a:cubicBezTo>
                  <a:cubicBezTo>
                    <a:pt x="38" y="5"/>
                    <a:pt x="38" y="6"/>
                    <a:pt x="36" y="5"/>
                  </a:cubicBezTo>
                  <a:cubicBezTo>
                    <a:pt x="36" y="4"/>
                    <a:pt x="33" y="4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8"/>
                    <a:pt x="27" y="12"/>
                    <a:pt x="27" y="14"/>
                  </a:cubicBezTo>
                  <a:cubicBezTo>
                    <a:pt x="27" y="16"/>
                    <a:pt x="25" y="18"/>
                    <a:pt x="23" y="18"/>
                  </a:cubicBezTo>
                  <a:cubicBezTo>
                    <a:pt x="22" y="18"/>
                    <a:pt x="20" y="22"/>
                    <a:pt x="18" y="24"/>
                  </a:cubicBezTo>
                  <a:cubicBezTo>
                    <a:pt x="16" y="26"/>
                    <a:pt x="18" y="31"/>
                    <a:pt x="16" y="32"/>
                  </a:cubicBezTo>
                  <a:cubicBezTo>
                    <a:pt x="14" y="34"/>
                    <a:pt x="11" y="34"/>
                    <a:pt x="12" y="36"/>
                  </a:cubicBezTo>
                  <a:cubicBezTo>
                    <a:pt x="14" y="37"/>
                    <a:pt x="10" y="40"/>
                    <a:pt x="10" y="43"/>
                  </a:cubicBezTo>
                  <a:cubicBezTo>
                    <a:pt x="10" y="46"/>
                    <a:pt x="9" y="51"/>
                    <a:pt x="9" y="52"/>
                  </a:cubicBezTo>
                  <a:cubicBezTo>
                    <a:pt x="8" y="52"/>
                    <a:pt x="2" y="51"/>
                    <a:pt x="2" y="53"/>
                  </a:cubicBezTo>
                  <a:cubicBezTo>
                    <a:pt x="2" y="56"/>
                    <a:pt x="0" y="56"/>
                    <a:pt x="1" y="58"/>
                  </a:cubicBezTo>
                  <a:cubicBezTo>
                    <a:pt x="2" y="60"/>
                    <a:pt x="7" y="59"/>
                    <a:pt x="8" y="6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2" name="Freeform 228">
              <a:extLst>
                <a:ext uri="{FF2B5EF4-FFF2-40B4-BE49-F238E27FC236}">
                  <a16:creationId xmlns:a16="http://schemas.microsoft.com/office/drawing/2014/main" id="{A7B3DD9A-022E-0340-EE80-3636BC661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397" y="3173826"/>
              <a:ext cx="44445" cy="57144"/>
            </a:xfrm>
            <a:custGeom>
              <a:avLst/>
              <a:gdLst>
                <a:gd name="T0" fmla="*/ 10 w 12"/>
                <a:gd name="T1" fmla="*/ 6 h 15"/>
                <a:gd name="T2" fmla="*/ 6 w 12"/>
                <a:gd name="T3" fmla="*/ 0 h 15"/>
                <a:gd name="T4" fmla="*/ 6 w 12"/>
                <a:gd name="T5" fmla="*/ 1 h 15"/>
                <a:gd name="T6" fmla="*/ 0 w 12"/>
                <a:gd name="T7" fmla="*/ 13 h 15"/>
                <a:gd name="T8" fmla="*/ 4 w 12"/>
                <a:gd name="T9" fmla="*/ 15 h 15"/>
                <a:gd name="T10" fmla="*/ 10 w 12"/>
                <a:gd name="T11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5">
                  <a:moveTo>
                    <a:pt x="10" y="6"/>
                  </a:moveTo>
                  <a:cubicBezTo>
                    <a:pt x="11" y="5"/>
                    <a:pt x="12" y="0"/>
                    <a:pt x="6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6" y="3"/>
                    <a:pt x="2" y="9"/>
                    <a:pt x="0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6" y="11"/>
                    <a:pt x="9" y="7"/>
                    <a:pt x="10" y="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3" name="Freeform 229">
              <a:extLst>
                <a:ext uri="{FF2B5EF4-FFF2-40B4-BE49-F238E27FC236}">
                  <a16:creationId xmlns:a16="http://schemas.microsoft.com/office/drawing/2014/main" id="{BA994B16-E963-6E14-A725-17AC7D4A9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686" y="3096051"/>
              <a:ext cx="206348" cy="168253"/>
            </a:xfrm>
            <a:custGeom>
              <a:avLst/>
              <a:gdLst>
                <a:gd name="T0" fmla="*/ 6 w 55"/>
                <a:gd name="T1" fmla="*/ 29 h 45"/>
                <a:gd name="T2" fmla="*/ 0 w 55"/>
                <a:gd name="T3" fmla="*/ 38 h 45"/>
                <a:gd name="T4" fmla="*/ 0 w 55"/>
                <a:gd name="T5" fmla="*/ 38 h 45"/>
                <a:gd name="T6" fmla="*/ 1 w 55"/>
                <a:gd name="T7" fmla="*/ 41 h 45"/>
                <a:gd name="T8" fmla="*/ 8 w 55"/>
                <a:gd name="T9" fmla="*/ 45 h 45"/>
                <a:gd name="T10" fmla="*/ 16 w 55"/>
                <a:gd name="T11" fmla="*/ 40 h 45"/>
                <a:gd name="T12" fmla="*/ 43 w 55"/>
                <a:gd name="T13" fmla="*/ 26 h 45"/>
                <a:gd name="T14" fmla="*/ 45 w 55"/>
                <a:gd name="T15" fmla="*/ 22 h 45"/>
                <a:gd name="T16" fmla="*/ 46 w 55"/>
                <a:gd name="T17" fmla="*/ 15 h 45"/>
                <a:gd name="T18" fmla="*/ 45 w 55"/>
                <a:gd name="T19" fmla="*/ 9 h 45"/>
                <a:gd name="T20" fmla="*/ 50 w 55"/>
                <a:gd name="T21" fmla="*/ 5 h 45"/>
                <a:gd name="T22" fmla="*/ 55 w 55"/>
                <a:gd name="T23" fmla="*/ 1 h 45"/>
                <a:gd name="T24" fmla="*/ 52 w 55"/>
                <a:gd name="T25" fmla="*/ 0 h 45"/>
                <a:gd name="T26" fmla="*/ 43 w 55"/>
                <a:gd name="T27" fmla="*/ 2 h 45"/>
                <a:gd name="T28" fmla="*/ 32 w 55"/>
                <a:gd name="T29" fmla="*/ 5 h 45"/>
                <a:gd name="T30" fmla="*/ 23 w 55"/>
                <a:gd name="T31" fmla="*/ 5 h 45"/>
                <a:gd name="T32" fmla="*/ 18 w 55"/>
                <a:gd name="T33" fmla="*/ 6 h 45"/>
                <a:gd name="T34" fmla="*/ 11 w 55"/>
                <a:gd name="T35" fmla="*/ 6 h 45"/>
                <a:gd name="T36" fmla="*/ 7 w 55"/>
                <a:gd name="T37" fmla="*/ 7 h 45"/>
                <a:gd name="T38" fmla="*/ 3 w 55"/>
                <a:gd name="T39" fmla="*/ 13 h 45"/>
                <a:gd name="T40" fmla="*/ 3 w 55"/>
                <a:gd name="T41" fmla="*/ 17 h 45"/>
                <a:gd name="T42" fmla="*/ 2 w 55"/>
                <a:gd name="T43" fmla="*/ 23 h 45"/>
                <a:gd name="T44" fmla="*/ 6 w 55"/>
                <a:gd name="T45" fmla="*/ 2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" h="45">
                  <a:moveTo>
                    <a:pt x="6" y="29"/>
                  </a:moveTo>
                  <a:cubicBezTo>
                    <a:pt x="5" y="30"/>
                    <a:pt x="2" y="34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13" y="41"/>
                    <a:pt x="16" y="40"/>
                  </a:cubicBezTo>
                  <a:cubicBezTo>
                    <a:pt x="18" y="40"/>
                    <a:pt x="43" y="26"/>
                    <a:pt x="43" y="26"/>
                  </a:cubicBezTo>
                  <a:cubicBezTo>
                    <a:pt x="43" y="26"/>
                    <a:pt x="45" y="23"/>
                    <a:pt x="45" y="22"/>
                  </a:cubicBezTo>
                  <a:cubicBezTo>
                    <a:pt x="45" y="20"/>
                    <a:pt x="45" y="17"/>
                    <a:pt x="46" y="15"/>
                  </a:cubicBezTo>
                  <a:cubicBezTo>
                    <a:pt x="47" y="14"/>
                    <a:pt x="44" y="11"/>
                    <a:pt x="45" y="9"/>
                  </a:cubicBezTo>
                  <a:cubicBezTo>
                    <a:pt x="46" y="6"/>
                    <a:pt x="50" y="5"/>
                    <a:pt x="50" y="5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48" y="2"/>
                    <a:pt x="43" y="2"/>
                  </a:cubicBezTo>
                  <a:cubicBezTo>
                    <a:pt x="38" y="1"/>
                    <a:pt x="37" y="5"/>
                    <a:pt x="32" y="5"/>
                  </a:cubicBezTo>
                  <a:cubicBezTo>
                    <a:pt x="27" y="5"/>
                    <a:pt x="24" y="6"/>
                    <a:pt x="23" y="5"/>
                  </a:cubicBezTo>
                  <a:cubicBezTo>
                    <a:pt x="22" y="3"/>
                    <a:pt x="21" y="4"/>
                    <a:pt x="18" y="6"/>
                  </a:cubicBezTo>
                  <a:cubicBezTo>
                    <a:pt x="14" y="7"/>
                    <a:pt x="12" y="7"/>
                    <a:pt x="11" y="6"/>
                  </a:cubicBezTo>
                  <a:cubicBezTo>
                    <a:pt x="9" y="4"/>
                    <a:pt x="8" y="6"/>
                    <a:pt x="7" y="7"/>
                  </a:cubicBezTo>
                  <a:cubicBezTo>
                    <a:pt x="7" y="9"/>
                    <a:pt x="8" y="12"/>
                    <a:pt x="3" y="13"/>
                  </a:cubicBezTo>
                  <a:cubicBezTo>
                    <a:pt x="2" y="14"/>
                    <a:pt x="2" y="16"/>
                    <a:pt x="3" y="17"/>
                  </a:cubicBezTo>
                  <a:cubicBezTo>
                    <a:pt x="4" y="19"/>
                    <a:pt x="2" y="20"/>
                    <a:pt x="2" y="23"/>
                  </a:cubicBezTo>
                  <a:cubicBezTo>
                    <a:pt x="8" y="23"/>
                    <a:pt x="7" y="28"/>
                    <a:pt x="6" y="2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4" name="Freeform 230">
              <a:extLst>
                <a:ext uri="{FF2B5EF4-FFF2-40B4-BE49-F238E27FC236}">
                  <a16:creationId xmlns:a16="http://schemas.microsoft.com/office/drawing/2014/main" id="{CBD29479-969E-7E96-04B8-D52263D42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9951" y="3062714"/>
              <a:ext cx="115873" cy="141270"/>
            </a:xfrm>
            <a:custGeom>
              <a:avLst/>
              <a:gdLst>
                <a:gd name="T0" fmla="*/ 8 w 31"/>
                <a:gd name="T1" fmla="*/ 3 h 38"/>
                <a:gd name="T2" fmla="*/ 3 w 31"/>
                <a:gd name="T3" fmla="*/ 6 h 38"/>
                <a:gd name="T4" fmla="*/ 6 w 31"/>
                <a:gd name="T5" fmla="*/ 11 h 38"/>
                <a:gd name="T6" fmla="*/ 5 w 31"/>
                <a:gd name="T7" fmla="*/ 14 h 38"/>
                <a:gd name="T8" fmla="*/ 5 w 31"/>
                <a:gd name="T9" fmla="*/ 21 h 38"/>
                <a:gd name="T10" fmla="*/ 2 w 31"/>
                <a:gd name="T11" fmla="*/ 31 h 38"/>
                <a:gd name="T12" fmla="*/ 4 w 31"/>
                <a:gd name="T13" fmla="*/ 37 h 38"/>
                <a:gd name="T14" fmla="*/ 19 w 31"/>
                <a:gd name="T15" fmla="*/ 32 h 38"/>
                <a:gd name="T16" fmla="*/ 27 w 31"/>
                <a:gd name="T17" fmla="*/ 28 h 38"/>
                <a:gd name="T18" fmla="*/ 30 w 31"/>
                <a:gd name="T19" fmla="*/ 25 h 38"/>
                <a:gd name="T20" fmla="*/ 28 w 31"/>
                <a:gd name="T21" fmla="*/ 13 h 38"/>
                <a:gd name="T22" fmla="*/ 20 w 31"/>
                <a:gd name="T23" fmla="*/ 0 h 38"/>
                <a:gd name="T24" fmla="*/ 15 w 31"/>
                <a:gd name="T25" fmla="*/ 1 h 38"/>
                <a:gd name="T26" fmla="*/ 8 w 31"/>
                <a:gd name="T27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38">
                  <a:moveTo>
                    <a:pt x="8" y="3"/>
                  </a:moveTo>
                  <a:cubicBezTo>
                    <a:pt x="7" y="3"/>
                    <a:pt x="5" y="5"/>
                    <a:pt x="3" y="6"/>
                  </a:cubicBezTo>
                  <a:cubicBezTo>
                    <a:pt x="4" y="8"/>
                    <a:pt x="4" y="10"/>
                    <a:pt x="6" y="11"/>
                  </a:cubicBezTo>
                  <a:cubicBezTo>
                    <a:pt x="8" y="11"/>
                    <a:pt x="8" y="15"/>
                    <a:pt x="5" y="14"/>
                  </a:cubicBezTo>
                  <a:cubicBezTo>
                    <a:pt x="3" y="13"/>
                    <a:pt x="3" y="18"/>
                    <a:pt x="5" y="21"/>
                  </a:cubicBezTo>
                  <a:cubicBezTo>
                    <a:pt x="7" y="25"/>
                    <a:pt x="0" y="29"/>
                    <a:pt x="2" y="31"/>
                  </a:cubicBezTo>
                  <a:cubicBezTo>
                    <a:pt x="4" y="33"/>
                    <a:pt x="3" y="35"/>
                    <a:pt x="4" y="37"/>
                  </a:cubicBezTo>
                  <a:cubicBezTo>
                    <a:pt x="4" y="38"/>
                    <a:pt x="14" y="36"/>
                    <a:pt x="19" y="32"/>
                  </a:cubicBezTo>
                  <a:cubicBezTo>
                    <a:pt x="23" y="27"/>
                    <a:pt x="24" y="28"/>
                    <a:pt x="27" y="28"/>
                  </a:cubicBezTo>
                  <a:cubicBezTo>
                    <a:pt x="29" y="29"/>
                    <a:pt x="31" y="27"/>
                    <a:pt x="30" y="25"/>
                  </a:cubicBezTo>
                  <a:cubicBezTo>
                    <a:pt x="29" y="23"/>
                    <a:pt x="28" y="19"/>
                    <a:pt x="28" y="13"/>
                  </a:cubicBezTo>
                  <a:cubicBezTo>
                    <a:pt x="28" y="10"/>
                    <a:pt x="24" y="4"/>
                    <a:pt x="20" y="0"/>
                  </a:cubicBezTo>
                  <a:cubicBezTo>
                    <a:pt x="18" y="1"/>
                    <a:pt x="17" y="1"/>
                    <a:pt x="15" y="1"/>
                  </a:cubicBezTo>
                  <a:cubicBezTo>
                    <a:pt x="12" y="1"/>
                    <a:pt x="9" y="1"/>
                    <a:pt x="8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5" name="Freeform 231">
              <a:extLst>
                <a:ext uri="{FF2B5EF4-FFF2-40B4-BE49-F238E27FC236}">
                  <a16:creationId xmlns:a16="http://schemas.microsoft.com/office/drawing/2014/main" id="{2E36E131-6E0D-0C73-C495-1AE1E4B13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043" y="3464304"/>
              <a:ext cx="136507" cy="176190"/>
            </a:xfrm>
            <a:custGeom>
              <a:avLst/>
              <a:gdLst>
                <a:gd name="T0" fmla="*/ 36 w 36"/>
                <a:gd name="T1" fmla="*/ 40 h 47"/>
                <a:gd name="T2" fmla="*/ 33 w 36"/>
                <a:gd name="T3" fmla="*/ 24 h 47"/>
                <a:gd name="T4" fmla="*/ 27 w 36"/>
                <a:gd name="T5" fmla="*/ 30 h 47"/>
                <a:gd name="T6" fmla="*/ 27 w 36"/>
                <a:gd name="T7" fmla="*/ 22 h 47"/>
                <a:gd name="T8" fmla="*/ 33 w 36"/>
                <a:gd name="T9" fmla="*/ 14 h 47"/>
                <a:gd name="T10" fmla="*/ 28 w 36"/>
                <a:gd name="T11" fmla="*/ 12 h 47"/>
                <a:gd name="T12" fmla="*/ 19 w 36"/>
                <a:gd name="T13" fmla="*/ 12 h 47"/>
                <a:gd name="T14" fmla="*/ 15 w 36"/>
                <a:gd name="T15" fmla="*/ 8 h 47"/>
                <a:gd name="T16" fmla="*/ 9 w 36"/>
                <a:gd name="T17" fmla="*/ 4 h 47"/>
                <a:gd name="T18" fmla="*/ 3 w 36"/>
                <a:gd name="T19" fmla="*/ 4 h 47"/>
                <a:gd name="T20" fmla="*/ 8 w 36"/>
                <a:gd name="T21" fmla="*/ 11 h 47"/>
                <a:gd name="T22" fmla="*/ 4 w 36"/>
                <a:gd name="T23" fmla="*/ 14 h 47"/>
                <a:gd name="T24" fmla="*/ 6 w 36"/>
                <a:gd name="T25" fmla="*/ 26 h 47"/>
                <a:gd name="T26" fmla="*/ 8 w 36"/>
                <a:gd name="T27" fmla="*/ 41 h 47"/>
                <a:gd name="T28" fmla="*/ 14 w 36"/>
                <a:gd name="T29" fmla="*/ 39 h 47"/>
                <a:gd name="T30" fmla="*/ 20 w 36"/>
                <a:gd name="T31" fmla="*/ 36 h 47"/>
                <a:gd name="T32" fmla="*/ 25 w 36"/>
                <a:gd name="T33" fmla="*/ 32 h 47"/>
                <a:gd name="T34" fmla="*/ 29 w 36"/>
                <a:gd name="T35" fmla="*/ 43 h 47"/>
                <a:gd name="T36" fmla="*/ 31 w 36"/>
                <a:gd name="T37" fmla="*/ 47 h 47"/>
                <a:gd name="T38" fmla="*/ 33 w 36"/>
                <a:gd name="T39" fmla="*/ 45 h 47"/>
                <a:gd name="T40" fmla="*/ 36 w 36"/>
                <a:gd name="T41" fmla="*/ 4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47">
                  <a:moveTo>
                    <a:pt x="36" y="40"/>
                  </a:moveTo>
                  <a:cubicBezTo>
                    <a:pt x="34" y="32"/>
                    <a:pt x="34" y="24"/>
                    <a:pt x="33" y="24"/>
                  </a:cubicBezTo>
                  <a:cubicBezTo>
                    <a:pt x="31" y="24"/>
                    <a:pt x="29" y="31"/>
                    <a:pt x="27" y="30"/>
                  </a:cubicBezTo>
                  <a:cubicBezTo>
                    <a:pt x="24" y="30"/>
                    <a:pt x="24" y="22"/>
                    <a:pt x="27" y="22"/>
                  </a:cubicBezTo>
                  <a:cubicBezTo>
                    <a:pt x="30" y="22"/>
                    <a:pt x="33" y="16"/>
                    <a:pt x="33" y="14"/>
                  </a:cubicBezTo>
                  <a:cubicBezTo>
                    <a:pt x="33" y="12"/>
                    <a:pt x="31" y="12"/>
                    <a:pt x="28" y="12"/>
                  </a:cubicBezTo>
                  <a:cubicBezTo>
                    <a:pt x="25" y="12"/>
                    <a:pt x="19" y="12"/>
                    <a:pt x="19" y="12"/>
                  </a:cubicBezTo>
                  <a:cubicBezTo>
                    <a:pt x="19" y="12"/>
                    <a:pt x="15" y="11"/>
                    <a:pt x="15" y="8"/>
                  </a:cubicBezTo>
                  <a:cubicBezTo>
                    <a:pt x="15" y="6"/>
                    <a:pt x="13" y="4"/>
                    <a:pt x="9" y="4"/>
                  </a:cubicBezTo>
                  <a:cubicBezTo>
                    <a:pt x="6" y="4"/>
                    <a:pt x="6" y="0"/>
                    <a:pt x="3" y="4"/>
                  </a:cubicBezTo>
                  <a:cubicBezTo>
                    <a:pt x="0" y="8"/>
                    <a:pt x="9" y="8"/>
                    <a:pt x="8" y="11"/>
                  </a:cubicBezTo>
                  <a:cubicBezTo>
                    <a:pt x="7" y="14"/>
                    <a:pt x="4" y="12"/>
                    <a:pt x="4" y="14"/>
                  </a:cubicBezTo>
                  <a:cubicBezTo>
                    <a:pt x="3" y="16"/>
                    <a:pt x="4" y="23"/>
                    <a:pt x="6" y="26"/>
                  </a:cubicBezTo>
                  <a:cubicBezTo>
                    <a:pt x="7" y="29"/>
                    <a:pt x="8" y="35"/>
                    <a:pt x="8" y="41"/>
                  </a:cubicBezTo>
                  <a:cubicBezTo>
                    <a:pt x="11" y="40"/>
                    <a:pt x="12" y="39"/>
                    <a:pt x="14" y="39"/>
                  </a:cubicBezTo>
                  <a:cubicBezTo>
                    <a:pt x="16" y="39"/>
                    <a:pt x="20" y="39"/>
                    <a:pt x="20" y="36"/>
                  </a:cubicBezTo>
                  <a:cubicBezTo>
                    <a:pt x="20" y="34"/>
                    <a:pt x="23" y="32"/>
                    <a:pt x="25" y="32"/>
                  </a:cubicBezTo>
                  <a:cubicBezTo>
                    <a:pt x="27" y="33"/>
                    <a:pt x="29" y="40"/>
                    <a:pt x="29" y="43"/>
                  </a:cubicBezTo>
                  <a:cubicBezTo>
                    <a:pt x="29" y="44"/>
                    <a:pt x="30" y="46"/>
                    <a:pt x="31" y="47"/>
                  </a:cubicBezTo>
                  <a:cubicBezTo>
                    <a:pt x="32" y="46"/>
                    <a:pt x="33" y="45"/>
                    <a:pt x="33" y="45"/>
                  </a:cubicBezTo>
                  <a:cubicBezTo>
                    <a:pt x="33" y="45"/>
                    <a:pt x="34" y="41"/>
                    <a:pt x="36" y="4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6" name="Freeform 232">
              <a:extLst>
                <a:ext uri="{FF2B5EF4-FFF2-40B4-BE49-F238E27FC236}">
                  <a16:creationId xmlns:a16="http://schemas.microsoft.com/office/drawing/2014/main" id="{3441039E-16F5-1B56-8934-1BE6C1B47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7268" y="3162717"/>
              <a:ext cx="841265" cy="887297"/>
            </a:xfrm>
            <a:custGeom>
              <a:avLst/>
              <a:gdLst>
                <a:gd name="T0" fmla="*/ 158 w 224"/>
                <a:gd name="T1" fmla="*/ 94 h 236"/>
                <a:gd name="T2" fmla="*/ 157 w 224"/>
                <a:gd name="T3" fmla="*/ 84 h 236"/>
                <a:gd name="T4" fmla="*/ 169 w 224"/>
                <a:gd name="T5" fmla="*/ 88 h 236"/>
                <a:gd name="T6" fmla="*/ 182 w 224"/>
                <a:gd name="T7" fmla="*/ 92 h 236"/>
                <a:gd name="T8" fmla="*/ 181 w 224"/>
                <a:gd name="T9" fmla="*/ 102 h 236"/>
                <a:gd name="T10" fmla="*/ 187 w 224"/>
                <a:gd name="T11" fmla="*/ 104 h 236"/>
                <a:gd name="T12" fmla="*/ 191 w 224"/>
                <a:gd name="T13" fmla="*/ 119 h 236"/>
                <a:gd name="T14" fmla="*/ 195 w 224"/>
                <a:gd name="T15" fmla="*/ 102 h 236"/>
                <a:gd name="T16" fmla="*/ 204 w 224"/>
                <a:gd name="T17" fmla="*/ 93 h 236"/>
                <a:gd name="T18" fmla="*/ 212 w 224"/>
                <a:gd name="T19" fmla="*/ 77 h 236"/>
                <a:gd name="T20" fmla="*/ 222 w 224"/>
                <a:gd name="T21" fmla="*/ 74 h 236"/>
                <a:gd name="T22" fmla="*/ 223 w 224"/>
                <a:gd name="T23" fmla="*/ 65 h 236"/>
                <a:gd name="T24" fmla="*/ 215 w 224"/>
                <a:gd name="T25" fmla="*/ 57 h 236"/>
                <a:gd name="T26" fmla="*/ 201 w 224"/>
                <a:gd name="T27" fmla="*/ 58 h 236"/>
                <a:gd name="T28" fmla="*/ 191 w 224"/>
                <a:gd name="T29" fmla="*/ 65 h 236"/>
                <a:gd name="T30" fmla="*/ 183 w 224"/>
                <a:gd name="T31" fmla="*/ 70 h 236"/>
                <a:gd name="T32" fmla="*/ 176 w 224"/>
                <a:gd name="T33" fmla="*/ 78 h 236"/>
                <a:gd name="T34" fmla="*/ 163 w 224"/>
                <a:gd name="T35" fmla="*/ 76 h 236"/>
                <a:gd name="T36" fmla="*/ 158 w 224"/>
                <a:gd name="T37" fmla="*/ 67 h 236"/>
                <a:gd name="T38" fmla="*/ 155 w 224"/>
                <a:gd name="T39" fmla="*/ 79 h 236"/>
                <a:gd name="T40" fmla="*/ 130 w 224"/>
                <a:gd name="T41" fmla="*/ 76 h 236"/>
                <a:gd name="T42" fmla="*/ 118 w 224"/>
                <a:gd name="T43" fmla="*/ 73 h 236"/>
                <a:gd name="T44" fmla="*/ 106 w 224"/>
                <a:gd name="T45" fmla="*/ 66 h 236"/>
                <a:gd name="T46" fmla="*/ 95 w 224"/>
                <a:gd name="T47" fmla="*/ 60 h 236"/>
                <a:gd name="T48" fmla="*/ 100 w 224"/>
                <a:gd name="T49" fmla="*/ 48 h 236"/>
                <a:gd name="T50" fmla="*/ 92 w 224"/>
                <a:gd name="T51" fmla="*/ 41 h 236"/>
                <a:gd name="T52" fmla="*/ 82 w 224"/>
                <a:gd name="T53" fmla="*/ 30 h 236"/>
                <a:gd name="T54" fmla="*/ 89 w 224"/>
                <a:gd name="T55" fmla="*/ 23 h 236"/>
                <a:gd name="T56" fmla="*/ 84 w 224"/>
                <a:gd name="T57" fmla="*/ 9 h 236"/>
                <a:gd name="T58" fmla="*/ 76 w 224"/>
                <a:gd name="T59" fmla="*/ 0 h 236"/>
                <a:gd name="T60" fmla="*/ 70 w 224"/>
                <a:gd name="T61" fmla="*/ 6 h 236"/>
                <a:gd name="T62" fmla="*/ 50 w 224"/>
                <a:gd name="T63" fmla="*/ 7 h 236"/>
                <a:gd name="T64" fmla="*/ 47 w 224"/>
                <a:gd name="T65" fmla="*/ 19 h 236"/>
                <a:gd name="T66" fmla="*/ 56 w 224"/>
                <a:gd name="T67" fmla="*/ 30 h 236"/>
                <a:gd name="T68" fmla="*/ 50 w 224"/>
                <a:gd name="T69" fmla="*/ 42 h 236"/>
                <a:gd name="T70" fmla="*/ 41 w 224"/>
                <a:gd name="T71" fmla="*/ 50 h 236"/>
                <a:gd name="T72" fmla="*/ 32 w 224"/>
                <a:gd name="T73" fmla="*/ 63 h 236"/>
                <a:gd name="T74" fmla="*/ 22 w 224"/>
                <a:gd name="T75" fmla="*/ 69 h 236"/>
                <a:gd name="T76" fmla="*/ 10 w 224"/>
                <a:gd name="T77" fmla="*/ 76 h 236"/>
                <a:gd name="T78" fmla="*/ 18 w 224"/>
                <a:gd name="T79" fmla="*/ 90 h 236"/>
                <a:gd name="T80" fmla="*/ 15 w 224"/>
                <a:gd name="T81" fmla="*/ 99 h 236"/>
                <a:gd name="T82" fmla="*/ 0 w 224"/>
                <a:gd name="T83" fmla="*/ 104 h 236"/>
                <a:gd name="T84" fmla="*/ 7 w 224"/>
                <a:gd name="T85" fmla="*/ 112 h 236"/>
                <a:gd name="T86" fmla="*/ 5 w 224"/>
                <a:gd name="T87" fmla="*/ 116 h 236"/>
                <a:gd name="T88" fmla="*/ 30 w 224"/>
                <a:gd name="T89" fmla="*/ 122 h 236"/>
                <a:gd name="T90" fmla="*/ 35 w 224"/>
                <a:gd name="T91" fmla="*/ 126 h 236"/>
                <a:gd name="T92" fmla="*/ 36 w 224"/>
                <a:gd name="T93" fmla="*/ 147 h 236"/>
                <a:gd name="T94" fmla="*/ 47 w 224"/>
                <a:gd name="T95" fmla="*/ 183 h 236"/>
                <a:gd name="T96" fmla="*/ 63 w 224"/>
                <a:gd name="T97" fmla="*/ 220 h 236"/>
                <a:gd name="T98" fmla="*/ 78 w 224"/>
                <a:gd name="T99" fmla="*/ 230 h 236"/>
                <a:gd name="T100" fmla="*/ 89 w 224"/>
                <a:gd name="T101" fmla="*/ 217 h 236"/>
                <a:gd name="T102" fmla="*/ 93 w 224"/>
                <a:gd name="T103" fmla="*/ 201 h 236"/>
                <a:gd name="T104" fmla="*/ 95 w 224"/>
                <a:gd name="T105" fmla="*/ 178 h 236"/>
                <a:gd name="T106" fmla="*/ 106 w 224"/>
                <a:gd name="T107" fmla="*/ 165 h 236"/>
                <a:gd name="T108" fmla="*/ 131 w 224"/>
                <a:gd name="T109" fmla="*/ 143 h 236"/>
                <a:gd name="T110" fmla="*/ 146 w 224"/>
                <a:gd name="T111" fmla="*/ 126 h 236"/>
                <a:gd name="T112" fmla="*/ 162 w 224"/>
                <a:gd name="T113" fmla="*/ 12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4" h="236">
                  <a:moveTo>
                    <a:pt x="160" y="106"/>
                  </a:moveTo>
                  <a:cubicBezTo>
                    <a:pt x="158" y="103"/>
                    <a:pt x="157" y="96"/>
                    <a:pt x="158" y="94"/>
                  </a:cubicBezTo>
                  <a:cubicBezTo>
                    <a:pt x="158" y="92"/>
                    <a:pt x="161" y="94"/>
                    <a:pt x="162" y="91"/>
                  </a:cubicBezTo>
                  <a:cubicBezTo>
                    <a:pt x="163" y="88"/>
                    <a:pt x="154" y="88"/>
                    <a:pt x="157" y="84"/>
                  </a:cubicBezTo>
                  <a:cubicBezTo>
                    <a:pt x="160" y="80"/>
                    <a:pt x="160" y="84"/>
                    <a:pt x="163" y="84"/>
                  </a:cubicBezTo>
                  <a:cubicBezTo>
                    <a:pt x="167" y="84"/>
                    <a:pt x="169" y="86"/>
                    <a:pt x="169" y="88"/>
                  </a:cubicBezTo>
                  <a:cubicBezTo>
                    <a:pt x="169" y="91"/>
                    <a:pt x="173" y="92"/>
                    <a:pt x="173" y="92"/>
                  </a:cubicBezTo>
                  <a:cubicBezTo>
                    <a:pt x="173" y="92"/>
                    <a:pt x="179" y="92"/>
                    <a:pt x="182" y="92"/>
                  </a:cubicBezTo>
                  <a:cubicBezTo>
                    <a:pt x="185" y="92"/>
                    <a:pt x="187" y="92"/>
                    <a:pt x="187" y="94"/>
                  </a:cubicBezTo>
                  <a:cubicBezTo>
                    <a:pt x="187" y="96"/>
                    <a:pt x="184" y="102"/>
                    <a:pt x="181" y="102"/>
                  </a:cubicBezTo>
                  <a:cubicBezTo>
                    <a:pt x="178" y="102"/>
                    <a:pt x="178" y="110"/>
                    <a:pt x="181" y="110"/>
                  </a:cubicBezTo>
                  <a:cubicBezTo>
                    <a:pt x="183" y="111"/>
                    <a:pt x="185" y="104"/>
                    <a:pt x="187" y="104"/>
                  </a:cubicBezTo>
                  <a:cubicBezTo>
                    <a:pt x="188" y="104"/>
                    <a:pt x="188" y="112"/>
                    <a:pt x="190" y="120"/>
                  </a:cubicBezTo>
                  <a:cubicBezTo>
                    <a:pt x="190" y="119"/>
                    <a:pt x="191" y="119"/>
                    <a:pt x="191" y="119"/>
                  </a:cubicBezTo>
                  <a:cubicBezTo>
                    <a:pt x="193" y="119"/>
                    <a:pt x="192" y="112"/>
                    <a:pt x="193" y="110"/>
                  </a:cubicBezTo>
                  <a:cubicBezTo>
                    <a:pt x="194" y="108"/>
                    <a:pt x="194" y="102"/>
                    <a:pt x="195" y="102"/>
                  </a:cubicBezTo>
                  <a:cubicBezTo>
                    <a:pt x="196" y="102"/>
                    <a:pt x="201" y="104"/>
                    <a:pt x="201" y="103"/>
                  </a:cubicBezTo>
                  <a:cubicBezTo>
                    <a:pt x="201" y="101"/>
                    <a:pt x="205" y="96"/>
                    <a:pt x="204" y="93"/>
                  </a:cubicBezTo>
                  <a:cubicBezTo>
                    <a:pt x="203" y="90"/>
                    <a:pt x="206" y="87"/>
                    <a:pt x="206" y="83"/>
                  </a:cubicBezTo>
                  <a:cubicBezTo>
                    <a:pt x="206" y="80"/>
                    <a:pt x="209" y="79"/>
                    <a:pt x="212" y="77"/>
                  </a:cubicBezTo>
                  <a:cubicBezTo>
                    <a:pt x="214" y="75"/>
                    <a:pt x="218" y="72"/>
                    <a:pt x="218" y="74"/>
                  </a:cubicBezTo>
                  <a:cubicBezTo>
                    <a:pt x="219" y="75"/>
                    <a:pt x="224" y="77"/>
                    <a:pt x="222" y="74"/>
                  </a:cubicBezTo>
                  <a:cubicBezTo>
                    <a:pt x="220" y="71"/>
                    <a:pt x="220" y="69"/>
                    <a:pt x="221" y="68"/>
                  </a:cubicBezTo>
                  <a:cubicBezTo>
                    <a:pt x="222" y="68"/>
                    <a:pt x="223" y="65"/>
                    <a:pt x="223" y="65"/>
                  </a:cubicBezTo>
                  <a:cubicBezTo>
                    <a:pt x="223" y="65"/>
                    <a:pt x="219" y="64"/>
                    <a:pt x="218" y="62"/>
                  </a:cubicBezTo>
                  <a:cubicBezTo>
                    <a:pt x="218" y="60"/>
                    <a:pt x="215" y="58"/>
                    <a:pt x="215" y="57"/>
                  </a:cubicBezTo>
                  <a:cubicBezTo>
                    <a:pt x="215" y="55"/>
                    <a:pt x="213" y="56"/>
                    <a:pt x="211" y="57"/>
                  </a:cubicBezTo>
                  <a:cubicBezTo>
                    <a:pt x="209" y="59"/>
                    <a:pt x="206" y="55"/>
                    <a:pt x="201" y="58"/>
                  </a:cubicBezTo>
                  <a:cubicBezTo>
                    <a:pt x="197" y="60"/>
                    <a:pt x="196" y="62"/>
                    <a:pt x="194" y="62"/>
                  </a:cubicBezTo>
                  <a:cubicBezTo>
                    <a:pt x="193" y="62"/>
                    <a:pt x="193" y="64"/>
                    <a:pt x="191" y="65"/>
                  </a:cubicBezTo>
                  <a:cubicBezTo>
                    <a:pt x="190" y="67"/>
                    <a:pt x="188" y="69"/>
                    <a:pt x="187" y="69"/>
                  </a:cubicBezTo>
                  <a:cubicBezTo>
                    <a:pt x="186" y="69"/>
                    <a:pt x="183" y="70"/>
                    <a:pt x="183" y="70"/>
                  </a:cubicBezTo>
                  <a:cubicBezTo>
                    <a:pt x="183" y="70"/>
                    <a:pt x="186" y="75"/>
                    <a:pt x="184" y="77"/>
                  </a:cubicBezTo>
                  <a:cubicBezTo>
                    <a:pt x="183" y="80"/>
                    <a:pt x="180" y="77"/>
                    <a:pt x="176" y="78"/>
                  </a:cubicBezTo>
                  <a:cubicBezTo>
                    <a:pt x="173" y="79"/>
                    <a:pt x="171" y="77"/>
                    <a:pt x="169" y="78"/>
                  </a:cubicBezTo>
                  <a:cubicBezTo>
                    <a:pt x="166" y="78"/>
                    <a:pt x="165" y="76"/>
                    <a:pt x="163" y="76"/>
                  </a:cubicBezTo>
                  <a:cubicBezTo>
                    <a:pt x="162" y="77"/>
                    <a:pt x="160" y="74"/>
                    <a:pt x="161" y="71"/>
                  </a:cubicBezTo>
                  <a:cubicBezTo>
                    <a:pt x="161" y="68"/>
                    <a:pt x="160" y="65"/>
                    <a:pt x="158" y="67"/>
                  </a:cubicBezTo>
                  <a:cubicBezTo>
                    <a:pt x="157" y="69"/>
                    <a:pt x="155" y="68"/>
                    <a:pt x="155" y="71"/>
                  </a:cubicBezTo>
                  <a:cubicBezTo>
                    <a:pt x="155" y="74"/>
                    <a:pt x="157" y="77"/>
                    <a:pt x="155" y="79"/>
                  </a:cubicBezTo>
                  <a:cubicBezTo>
                    <a:pt x="153" y="81"/>
                    <a:pt x="143" y="82"/>
                    <a:pt x="141" y="80"/>
                  </a:cubicBezTo>
                  <a:cubicBezTo>
                    <a:pt x="139" y="79"/>
                    <a:pt x="131" y="78"/>
                    <a:pt x="130" y="76"/>
                  </a:cubicBezTo>
                  <a:cubicBezTo>
                    <a:pt x="130" y="75"/>
                    <a:pt x="127" y="72"/>
                    <a:pt x="126" y="72"/>
                  </a:cubicBezTo>
                  <a:cubicBezTo>
                    <a:pt x="124" y="72"/>
                    <a:pt x="119" y="74"/>
                    <a:pt x="118" y="73"/>
                  </a:cubicBezTo>
                  <a:cubicBezTo>
                    <a:pt x="117" y="72"/>
                    <a:pt x="114" y="69"/>
                    <a:pt x="112" y="69"/>
                  </a:cubicBezTo>
                  <a:cubicBezTo>
                    <a:pt x="109" y="69"/>
                    <a:pt x="106" y="67"/>
                    <a:pt x="106" y="66"/>
                  </a:cubicBezTo>
                  <a:cubicBezTo>
                    <a:pt x="105" y="65"/>
                    <a:pt x="100" y="64"/>
                    <a:pt x="99" y="63"/>
                  </a:cubicBezTo>
                  <a:cubicBezTo>
                    <a:pt x="98" y="61"/>
                    <a:pt x="95" y="61"/>
                    <a:pt x="95" y="60"/>
                  </a:cubicBezTo>
                  <a:cubicBezTo>
                    <a:pt x="95" y="58"/>
                    <a:pt x="96" y="55"/>
                    <a:pt x="96" y="54"/>
                  </a:cubicBezTo>
                  <a:cubicBezTo>
                    <a:pt x="96" y="52"/>
                    <a:pt x="100" y="50"/>
                    <a:pt x="100" y="48"/>
                  </a:cubicBezTo>
                  <a:cubicBezTo>
                    <a:pt x="100" y="47"/>
                    <a:pt x="97" y="45"/>
                    <a:pt x="97" y="45"/>
                  </a:cubicBezTo>
                  <a:cubicBezTo>
                    <a:pt x="97" y="45"/>
                    <a:pt x="94" y="41"/>
                    <a:pt x="92" y="41"/>
                  </a:cubicBezTo>
                  <a:cubicBezTo>
                    <a:pt x="89" y="41"/>
                    <a:pt x="87" y="36"/>
                    <a:pt x="85" y="36"/>
                  </a:cubicBezTo>
                  <a:cubicBezTo>
                    <a:pt x="83" y="36"/>
                    <a:pt x="84" y="31"/>
                    <a:pt x="82" y="30"/>
                  </a:cubicBezTo>
                  <a:cubicBezTo>
                    <a:pt x="81" y="28"/>
                    <a:pt x="82" y="24"/>
                    <a:pt x="84" y="26"/>
                  </a:cubicBezTo>
                  <a:cubicBezTo>
                    <a:pt x="86" y="28"/>
                    <a:pt x="91" y="26"/>
                    <a:pt x="89" y="23"/>
                  </a:cubicBezTo>
                  <a:cubicBezTo>
                    <a:pt x="87" y="21"/>
                    <a:pt x="85" y="18"/>
                    <a:pt x="85" y="16"/>
                  </a:cubicBezTo>
                  <a:cubicBezTo>
                    <a:pt x="85" y="15"/>
                    <a:pt x="86" y="10"/>
                    <a:pt x="84" y="9"/>
                  </a:cubicBezTo>
                  <a:cubicBezTo>
                    <a:pt x="82" y="8"/>
                    <a:pt x="80" y="6"/>
                    <a:pt x="79" y="3"/>
                  </a:cubicBezTo>
                  <a:cubicBezTo>
                    <a:pt x="79" y="1"/>
                    <a:pt x="76" y="0"/>
                    <a:pt x="76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0"/>
                    <a:pt x="71" y="5"/>
                    <a:pt x="70" y="6"/>
                  </a:cubicBezTo>
                  <a:cubicBezTo>
                    <a:pt x="69" y="6"/>
                    <a:pt x="64" y="7"/>
                    <a:pt x="62" y="9"/>
                  </a:cubicBezTo>
                  <a:cubicBezTo>
                    <a:pt x="60" y="10"/>
                    <a:pt x="53" y="7"/>
                    <a:pt x="50" y="7"/>
                  </a:cubicBezTo>
                  <a:cubicBezTo>
                    <a:pt x="46" y="7"/>
                    <a:pt x="44" y="10"/>
                    <a:pt x="46" y="11"/>
                  </a:cubicBezTo>
                  <a:cubicBezTo>
                    <a:pt x="47" y="12"/>
                    <a:pt x="47" y="19"/>
                    <a:pt x="47" y="19"/>
                  </a:cubicBezTo>
                  <a:cubicBezTo>
                    <a:pt x="47" y="19"/>
                    <a:pt x="49" y="27"/>
                    <a:pt x="52" y="26"/>
                  </a:cubicBezTo>
                  <a:cubicBezTo>
                    <a:pt x="55" y="26"/>
                    <a:pt x="58" y="29"/>
                    <a:pt x="56" y="30"/>
                  </a:cubicBezTo>
                  <a:cubicBezTo>
                    <a:pt x="53" y="30"/>
                    <a:pt x="52" y="33"/>
                    <a:pt x="52" y="36"/>
                  </a:cubicBezTo>
                  <a:cubicBezTo>
                    <a:pt x="51" y="38"/>
                    <a:pt x="52" y="41"/>
                    <a:pt x="50" y="42"/>
                  </a:cubicBezTo>
                  <a:cubicBezTo>
                    <a:pt x="48" y="42"/>
                    <a:pt x="46" y="43"/>
                    <a:pt x="46" y="46"/>
                  </a:cubicBezTo>
                  <a:cubicBezTo>
                    <a:pt x="46" y="50"/>
                    <a:pt x="42" y="49"/>
                    <a:pt x="41" y="50"/>
                  </a:cubicBezTo>
                  <a:cubicBezTo>
                    <a:pt x="41" y="51"/>
                    <a:pt x="39" y="58"/>
                    <a:pt x="38" y="59"/>
                  </a:cubicBezTo>
                  <a:cubicBezTo>
                    <a:pt x="37" y="60"/>
                    <a:pt x="32" y="60"/>
                    <a:pt x="32" y="63"/>
                  </a:cubicBezTo>
                  <a:cubicBezTo>
                    <a:pt x="31" y="66"/>
                    <a:pt x="29" y="69"/>
                    <a:pt x="27" y="69"/>
                  </a:cubicBezTo>
                  <a:cubicBezTo>
                    <a:pt x="26" y="68"/>
                    <a:pt x="23" y="67"/>
                    <a:pt x="22" y="69"/>
                  </a:cubicBezTo>
                  <a:cubicBezTo>
                    <a:pt x="21" y="71"/>
                    <a:pt x="17" y="68"/>
                    <a:pt x="16" y="68"/>
                  </a:cubicBezTo>
                  <a:cubicBezTo>
                    <a:pt x="15" y="69"/>
                    <a:pt x="10" y="74"/>
                    <a:pt x="10" y="76"/>
                  </a:cubicBezTo>
                  <a:cubicBezTo>
                    <a:pt x="10" y="79"/>
                    <a:pt x="15" y="79"/>
                    <a:pt x="15" y="82"/>
                  </a:cubicBezTo>
                  <a:cubicBezTo>
                    <a:pt x="14" y="85"/>
                    <a:pt x="17" y="88"/>
                    <a:pt x="18" y="90"/>
                  </a:cubicBezTo>
                  <a:cubicBezTo>
                    <a:pt x="20" y="92"/>
                    <a:pt x="22" y="95"/>
                    <a:pt x="21" y="97"/>
                  </a:cubicBezTo>
                  <a:cubicBezTo>
                    <a:pt x="20" y="99"/>
                    <a:pt x="18" y="100"/>
                    <a:pt x="15" y="99"/>
                  </a:cubicBezTo>
                  <a:cubicBezTo>
                    <a:pt x="12" y="98"/>
                    <a:pt x="12" y="100"/>
                    <a:pt x="7" y="99"/>
                  </a:cubicBezTo>
                  <a:cubicBezTo>
                    <a:pt x="2" y="98"/>
                    <a:pt x="2" y="102"/>
                    <a:pt x="0" y="104"/>
                  </a:cubicBezTo>
                  <a:cubicBezTo>
                    <a:pt x="0" y="104"/>
                    <a:pt x="0" y="105"/>
                    <a:pt x="0" y="105"/>
                  </a:cubicBezTo>
                  <a:cubicBezTo>
                    <a:pt x="2" y="107"/>
                    <a:pt x="3" y="110"/>
                    <a:pt x="7" y="112"/>
                  </a:cubicBezTo>
                  <a:cubicBezTo>
                    <a:pt x="12" y="114"/>
                    <a:pt x="16" y="109"/>
                    <a:pt x="16" y="112"/>
                  </a:cubicBezTo>
                  <a:cubicBezTo>
                    <a:pt x="16" y="116"/>
                    <a:pt x="5" y="115"/>
                    <a:pt x="5" y="116"/>
                  </a:cubicBezTo>
                  <a:cubicBezTo>
                    <a:pt x="4" y="117"/>
                    <a:pt x="16" y="131"/>
                    <a:pt x="22" y="130"/>
                  </a:cubicBezTo>
                  <a:cubicBezTo>
                    <a:pt x="28" y="129"/>
                    <a:pt x="32" y="123"/>
                    <a:pt x="30" y="122"/>
                  </a:cubicBezTo>
                  <a:cubicBezTo>
                    <a:pt x="29" y="121"/>
                    <a:pt x="31" y="117"/>
                    <a:pt x="33" y="117"/>
                  </a:cubicBezTo>
                  <a:cubicBezTo>
                    <a:pt x="34" y="118"/>
                    <a:pt x="33" y="124"/>
                    <a:pt x="35" y="126"/>
                  </a:cubicBezTo>
                  <a:cubicBezTo>
                    <a:pt x="36" y="127"/>
                    <a:pt x="36" y="130"/>
                    <a:pt x="35" y="133"/>
                  </a:cubicBezTo>
                  <a:cubicBezTo>
                    <a:pt x="34" y="136"/>
                    <a:pt x="36" y="143"/>
                    <a:pt x="36" y="147"/>
                  </a:cubicBezTo>
                  <a:cubicBezTo>
                    <a:pt x="37" y="150"/>
                    <a:pt x="39" y="156"/>
                    <a:pt x="40" y="161"/>
                  </a:cubicBezTo>
                  <a:cubicBezTo>
                    <a:pt x="41" y="167"/>
                    <a:pt x="44" y="177"/>
                    <a:pt x="47" y="183"/>
                  </a:cubicBezTo>
                  <a:cubicBezTo>
                    <a:pt x="51" y="189"/>
                    <a:pt x="53" y="201"/>
                    <a:pt x="55" y="204"/>
                  </a:cubicBezTo>
                  <a:cubicBezTo>
                    <a:pt x="57" y="206"/>
                    <a:pt x="63" y="215"/>
                    <a:pt x="63" y="220"/>
                  </a:cubicBezTo>
                  <a:cubicBezTo>
                    <a:pt x="63" y="226"/>
                    <a:pt x="69" y="233"/>
                    <a:pt x="71" y="235"/>
                  </a:cubicBezTo>
                  <a:cubicBezTo>
                    <a:pt x="73" y="236"/>
                    <a:pt x="77" y="233"/>
                    <a:pt x="78" y="230"/>
                  </a:cubicBezTo>
                  <a:cubicBezTo>
                    <a:pt x="79" y="226"/>
                    <a:pt x="85" y="225"/>
                    <a:pt x="86" y="222"/>
                  </a:cubicBezTo>
                  <a:cubicBezTo>
                    <a:pt x="86" y="219"/>
                    <a:pt x="87" y="217"/>
                    <a:pt x="89" y="217"/>
                  </a:cubicBezTo>
                  <a:cubicBezTo>
                    <a:pt x="91" y="216"/>
                    <a:pt x="91" y="214"/>
                    <a:pt x="91" y="211"/>
                  </a:cubicBezTo>
                  <a:cubicBezTo>
                    <a:pt x="91" y="208"/>
                    <a:pt x="91" y="204"/>
                    <a:pt x="93" y="201"/>
                  </a:cubicBezTo>
                  <a:cubicBezTo>
                    <a:pt x="95" y="198"/>
                    <a:pt x="96" y="191"/>
                    <a:pt x="95" y="188"/>
                  </a:cubicBezTo>
                  <a:cubicBezTo>
                    <a:pt x="93" y="185"/>
                    <a:pt x="94" y="181"/>
                    <a:pt x="95" y="178"/>
                  </a:cubicBezTo>
                  <a:cubicBezTo>
                    <a:pt x="96" y="175"/>
                    <a:pt x="96" y="171"/>
                    <a:pt x="98" y="171"/>
                  </a:cubicBezTo>
                  <a:cubicBezTo>
                    <a:pt x="100" y="171"/>
                    <a:pt x="104" y="169"/>
                    <a:pt x="106" y="165"/>
                  </a:cubicBezTo>
                  <a:cubicBezTo>
                    <a:pt x="108" y="162"/>
                    <a:pt x="116" y="158"/>
                    <a:pt x="118" y="156"/>
                  </a:cubicBezTo>
                  <a:cubicBezTo>
                    <a:pt x="121" y="154"/>
                    <a:pt x="129" y="147"/>
                    <a:pt x="131" y="143"/>
                  </a:cubicBezTo>
                  <a:cubicBezTo>
                    <a:pt x="134" y="139"/>
                    <a:pt x="140" y="137"/>
                    <a:pt x="143" y="134"/>
                  </a:cubicBezTo>
                  <a:cubicBezTo>
                    <a:pt x="147" y="131"/>
                    <a:pt x="145" y="129"/>
                    <a:pt x="146" y="126"/>
                  </a:cubicBezTo>
                  <a:cubicBezTo>
                    <a:pt x="147" y="122"/>
                    <a:pt x="157" y="121"/>
                    <a:pt x="160" y="121"/>
                  </a:cubicBezTo>
                  <a:cubicBezTo>
                    <a:pt x="161" y="121"/>
                    <a:pt x="162" y="121"/>
                    <a:pt x="162" y="121"/>
                  </a:cubicBezTo>
                  <a:cubicBezTo>
                    <a:pt x="162" y="115"/>
                    <a:pt x="161" y="109"/>
                    <a:pt x="160" y="10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7" name="Freeform 234">
              <a:extLst>
                <a:ext uri="{FF2B5EF4-FFF2-40B4-BE49-F238E27FC236}">
                  <a16:creationId xmlns:a16="http://schemas.microsoft.com/office/drawing/2014/main" id="{13F7A46A-3CD3-CD77-46CC-761B7E1D0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6638" y="3250019"/>
              <a:ext cx="15873" cy="41270"/>
            </a:xfrm>
            <a:custGeom>
              <a:avLst/>
              <a:gdLst>
                <a:gd name="T0" fmla="*/ 2 w 4"/>
                <a:gd name="T1" fmla="*/ 0 h 11"/>
                <a:gd name="T2" fmla="*/ 0 w 4"/>
                <a:gd name="T3" fmla="*/ 6 h 11"/>
                <a:gd name="T4" fmla="*/ 3 w 4"/>
                <a:gd name="T5" fmla="*/ 11 h 11"/>
                <a:gd name="T6" fmla="*/ 4 w 4"/>
                <a:gd name="T7" fmla="*/ 2 h 11"/>
                <a:gd name="T8" fmla="*/ 4 w 4"/>
                <a:gd name="T9" fmla="*/ 0 h 11"/>
                <a:gd name="T10" fmla="*/ 2 w 4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1">
                  <a:moveTo>
                    <a:pt x="2" y="0"/>
                  </a:moveTo>
                  <a:cubicBezTo>
                    <a:pt x="1" y="1"/>
                    <a:pt x="0" y="5"/>
                    <a:pt x="0" y="6"/>
                  </a:cubicBezTo>
                  <a:cubicBezTo>
                    <a:pt x="0" y="7"/>
                    <a:pt x="1" y="9"/>
                    <a:pt x="3" y="11"/>
                  </a:cubicBezTo>
                  <a:cubicBezTo>
                    <a:pt x="4" y="8"/>
                    <a:pt x="4" y="3"/>
                    <a:pt x="4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8" name="Freeform 235">
              <a:extLst>
                <a:ext uri="{FF2B5EF4-FFF2-40B4-BE49-F238E27FC236}">
                  <a16:creationId xmlns:a16="http://schemas.microsoft.com/office/drawing/2014/main" id="{EE14C057-D543-064D-128C-0B2D210C96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238" y="3223030"/>
              <a:ext cx="44445" cy="128571"/>
            </a:xfrm>
            <a:custGeom>
              <a:avLst/>
              <a:gdLst>
                <a:gd name="T0" fmla="*/ 6 w 12"/>
                <a:gd name="T1" fmla="*/ 33 h 34"/>
                <a:gd name="T2" fmla="*/ 7 w 12"/>
                <a:gd name="T3" fmla="*/ 34 h 34"/>
                <a:gd name="T4" fmla="*/ 9 w 12"/>
                <a:gd name="T5" fmla="*/ 22 h 34"/>
                <a:gd name="T6" fmla="*/ 10 w 12"/>
                <a:gd name="T7" fmla="*/ 18 h 34"/>
                <a:gd name="T8" fmla="*/ 7 w 12"/>
                <a:gd name="T9" fmla="*/ 13 h 34"/>
                <a:gd name="T10" fmla="*/ 9 w 12"/>
                <a:gd name="T11" fmla="*/ 7 h 34"/>
                <a:gd name="T12" fmla="*/ 11 w 12"/>
                <a:gd name="T13" fmla="*/ 7 h 34"/>
                <a:gd name="T14" fmla="*/ 12 w 12"/>
                <a:gd name="T15" fmla="*/ 2 h 34"/>
                <a:gd name="T16" fmla="*/ 8 w 12"/>
                <a:gd name="T17" fmla="*/ 0 h 34"/>
                <a:gd name="T18" fmla="*/ 7 w 12"/>
                <a:gd name="T19" fmla="*/ 4 h 34"/>
                <a:gd name="T20" fmla="*/ 0 w 12"/>
                <a:gd name="T21" fmla="*/ 18 h 34"/>
                <a:gd name="T22" fmla="*/ 6 w 12"/>
                <a:gd name="T23" fmla="*/ 32 h 34"/>
                <a:gd name="T24" fmla="*/ 6 w 12"/>
                <a:gd name="T25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34">
                  <a:moveTo>
                    <a:pt x="6" y="33"/>
                  </a:moveTo>
                  <a:cubicBezTo>
                    <a:pt x="6" y="33"/>
                    <a:pt x="6" y="34"/>
                    <a:pt x="7" y="34"/>
                  </a:cubicBezTo>
                  <a:cubicBezTo>
                    <a:pt x="7" y="29"/>
                    <a:pt x="8" y="23"/>
                    <a:pt x="9" y="22"/>
                  </a:cubicBezTo>
                  <a:cubicBezTo>
                    <a:pt x="10" y="21"/>
                    <a:pt x="10" y="20"/>
                    <a:pt x="10" y="18"/>
                  </a:cubicBezTo>
                  <a:cubicBezTo>
                    <a:pt x="8" y="16"/>
                    <a:pt x="7" y="14"/>
                    <a:pt x="7" y="13"/>
                  </a:cubicBezTo>
                  <a:cubicBezTo>
                    <a:pt x="7" y="12"/>
                    <a:pt x="8" y="8"/>
                    <a:pt x="9" y="7"/>
                  </a:cubicBezTo>
                  <a:cubicBezTo>
                    <a:pt x="9" y="7"/>
                    <a:pt x="10" y="7"/>
                    <a:pt x="11" y="7"/>
                  </a:cubicBezTo>
                  <a:cubicBezTo>
                    <a:pt x="11" y="6"/>
                    <a:pt x="12" y="4"/>
                    <a:pt x="12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1"/>
                    <a:pt x="7" y="3"/>
                    <a:pt x="7" y="4"/>
                  </a:cubicBezTo>
                  <a:cubicBezTo>
                    <a:pt x="6" y="8"/>
                    <a:pt x="2" y="15"/>
                    <a:pt x="0" y="18"/>
                  </a:cubicBezTo>
                  <a:cubicBezTo>
                    <a:pt x="6" y="32"/>
                    <a:pt x="6" y="32"/>
                    <a:pt x="6" y="32"/>
                  </a:cubicBezTo>
                  <a:lnTo>
                    <a:pt x="6" y="33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69" name="Freeform 236">
              <a:extLst>
                <a:ext uri="{FF2B5EF4-FFF2-40B4-BE49-F238E27FC236}">
                  <a16:creationId xmlns:a16="http://schemas.microsoft.com/office/drawing/2014/main" id="{6E87F933-3449-C00D-52E3-147BE5459B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6639" y="3230968"/>
              <a:ext cx="123809" cy="139682"/>
            </a:xfrm>
            <a:custGeom>
              <a:avLst/>
              <a:gdLst>
                <a:gd name="T0" fmla="*/ 31 w 33"/>
                <a:gd name="T1" fmla="*/ 0 h 37"/>
                <a:gd name="T2" fmla="*/ 21 w 33"/>
                <a:gd name="T3" fmla="*/ 4 h 37"/>
                <a:gd name="T4" fmla="*/ 13 w 33"/>
                <a:gd name="T5" fmla="*/ 9 h 37"/>
                <a:gd name="T6" fmla="*/ 6 w 33"/>
                <a:gd name="T7" fmla="*/ 5 h 37"/>
                <a:gd name="T8" fmla="*/ 5 w 33"/>
                <a:gd name="T9" fmla="*/ 2 h 37"/>
                <a:gd name="T10" fmla="*/ 5 w 33"/>
                <a:gd name="T11" fmla="*/ 2 h 37"/>
                <a:gd name="T12" fmla="*/ 4 w 33"/>
                <a:gd name="T13" fmla="*/ 9 h 37"/>
                <a:gd name="T14" fmla="*/ 2 w 33"/>
                <a:gd name="T15" fmla="*/ 22 h 37"/>
                <a:gd name="T16" fmla="*/ 0 w 33"/>
                <a:gd name="T17" fmla="*/ 34 h 37"/>
                <a:gd name="T18" fmla="*/ 7 w 33"/>
                <a:gd name="T19" fmla="*/ 37 h 37"/>
                <a:gd name="T20" fmla="*/ 13 w 33"/>
                <a:gd name="T21" fmla="*/ 32 h 37"/>
                <a:gd name="T22" fmla="*/ 18 w 33"/>
                <a:gd name="T23" fmla="*/ 30 h 37"/>
                <a:gd name="T24" fmla="*/ 23 w 33"/>
                <a:gd name="T25" fmla="*/ 26 h 37"/>
                <a:gd name="T26" fmla="*/ 17 w 33"/>
                <a:gd name="T27" fmla="*/ 19 h 37"/>
                <a:gd name="T28" fmla="*/ 25 w 33"/>
                <a:gd name="T29" fmla="*/ 14 h 37"/>
                <a:gd name="T30" fmla="*/ 33 w 33"/>
                <a:gd name="T31" fmla="*/ 11 h 37"/>
                <a:gd name="T32" fmla="*/ 33 w 33"/>
                <a:gd name="T33" fmla="*/ 11 h 37"/>
                <a:gd name="T34" fmla="*/ 32 w 33"/>
                <a:gd name="T35" fmla="*/ 4 h 37"/>
                <a:gd name="T36" fmla="*/ 31 w 33"/>
                <a:gd name="T3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" h="37">
                  <a:moveTo>
                    <a:pt x="31" y="0"/>
                  </a:moveTo>
                  <a:cubicBezTo>
                    <a:pt x="26" y="2"/>
                    <a:pt x="21" y="4"/>
                    <a:pt x="21" y="4"/>
                  </a:cubicBezTo>
                  <a:cubicBezTo>
                    <a:pt x="18" y="5"/>
                    <a:pt x="13" y="9"/>
                    <a:pt x="13" y="9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5"/>
                    <a:pt x="4" y="8"/>
                    <a:pt x="4" y="9"/>
                  </a:cubicBezTo>
                  <a:cubicBezTo>
                    <a:pt x="4" y="11"/>
                    <a:pt x="4" y="20"/>
                    <a:pt x="2" y="22"/>
                  </a:cubicBezTo>
                  <a:cubicBezTo>
                    <a:pt x="1" y="23"/>
                    <a:pt x="0" y="29"/>
                    <a:pt x="0" y="34"/>
                  </a:cubicBezTo>
                  <a:cubicBezTo>
                    <a:pt x="2" y="35"/>
                    <a:pt x="5" y="37"/>
                    <a:pt x="7" y="37"/>
                  </a:cubicBezTo>
                  <a:cubicBezTo>
                    <a:pt x="10" y="37"/>
                    <a:pt x="13" y="34"/>
                    <a:pt x="13" y="32"/>
                  </a:cubicBezTo>
                  <a:cubicBezTo>
                    <a:pt x="13" y="30"/>
                    <a:pt x="16" y="30"/>
                    <a:pt x="18" y="30"/>
                  </a:cubicBezTo>
                  <a:cubicBezTo>
                    <a:pt x="21" y="30"/>
                    <a:pt x="21" y="27"/>
                    <a:pt x="23" y="26"/>
                  </a:cubicBezTo>
                  <a:cubicBezTo>
                    <a:pt x="25" y="25"/>
                    <a:pt x="19" y="20"/>
                    <a:pt x="17" y="19"/>
                  </a:cubicBezTo>
                  <a:cubicBezTo>
                    <a:pt x="15" y="18"/>
                    <a:pt x="18" y="14"/>
                    <a:pt x="25" y="14"/>
                  </a:cubicBezTo>
                  <a:cubicBezTo>
                    <a:pt x="31" y="14"/>
                    <a:pt x="30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9"/>
                    <a:pt x="32" y="5"/>
                    <a:pt x="32" y="4"/>
                  </a:cubicBezTo>
                  <a:cubicBezTo>
                    <a:pt x="31" y="2"/>
                    <a:pt x="31" y="1"/>
                    <a:pt x="31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0" name="Freeform 237">
              <a:extLst>
                <a:ext uri="{FF2B5EF4-FFF2-40B4-BE49-F238E27FC236}">
                  <a16:creationId xmlns:a16="http://schemas.microsoft.com/office/drawing/2014/main" id="{A6E61C1B-BA21-C82E-13B2-E94F52F86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7420" y="2884943"/>
              <a:ext cx="330157" cy="142856"/>
            </a:xfrm>
            <a:custGeom>
              <a:avLst/>
              <a:gdLst>
                <a:gd name="T0" fmla="*/ 82 w 88"/>
                <a:gd name="T1" fmla="*/ 7 h 38"/>
                <a:gd name="T2" fmla="*/ 74 w 88"/>
                <a:gd name="T3" fmla="*/ 5 h 38"/>
                <a:gd name="T4" fmla="*/ 53 w 88"/>
                <a:gd name="T5" fmla="*/ 4 h 38"/>
                <a:gd name="T6" fmla="*/ 43 w 88"/>
                <a:gd name="T7" fmla="*/ 1 h 38"/>
                <a:gd name="T8" fmla="*/ 34 w 88"/>
                <a:gd name="T9" fmla="*/ 4 h 38"/>
                <a:gd name="T10" fmla="*/ 27 w 88"/>
                <a:gd name="T11" fmla="*/ 5 h 38"/>
                <a:gd name="T12" fmla="*/ 16 w 88"/>
                <a:gd name="T13" fmla="*/ 5 h 38"/>
                <a:gd name="T14" fmla="*/ 11 w 88"/>
                <a:gd name="T15" fmla="*/ 11 h 38"/>
                <a:gd name="T16" fmla="*/ 9 w 88"/>
                <a:gd name="T17" fmla="*/ 15 h 38"/>
                <a:gd name="T18" fmla="*/ 12 w 88"/>
                <a:gd name="T19" fmla="*/ 18 h 38"/>
                <a:gd name="T20" fmla="*/ 18 w 88"/>
                <a:gd name="T21" fmla="*/ 18 h 38"/>
                <a:gd name="T22" fmla="*/ 29 w 88"/>
                <a:gd name="T23" fmla="*/ 23 h 38"/>
                <a:gd name="T24" fmla="*/ 26 w 88"/>
                <a:gd name="T25" fmla="*/ 27 h 38"/>
                <a:gd name="T26" fmla="*/ 18 w 88"/>
                <a:gd name="T27" fmla="*/ 28 h 38"/>
                <a:gd name="T28" fmla="*/ 6 w 88"/>
                <a:gd name="T29" fmla="*/ 30 h 38"/>
                <a:gd name="T30" fmla="*/ 1 w 88"/>
                <a:gd name="T31" fmla="*/ 35 h 38"/>
                <a:gd name="T32" fmla="*/ 12 w 88"/>
                <a:gd name="T33" fmla="*/ 35 h 38"/>
                <a:gd name="T34" fmla="*/ 19 w 88"/>
                <a:gd name="T35" fmla="*/ 36 h 38"/>
                <a:gd name="T36" fmla="*/ 26 w 88"/>
                <a:gd name="T37" fmla="*/ 37 h 38"/>
                <a:gd name="T38" fmla="*/ 37 w 88"/>
                <a:gd name="T39" fmla="*/ 36 h 38"/>
                <a:gd name="T40" fmla="*/ 38 w 88"/>
                <a:gd name="T41" fmla="*/ 32 h 38"/>
                <a:gd name="T42" fmla="*/ 41 w 88"/>
                <a:gd name="T43" fmla="*/ 30 h 38"/>
                <a:gd name="T44" fmla="*/ 46 w 88"/>
                <a:gd name="T45" fmla="*/ 27 h 38"/>
                <a:gd name="T46" fmla="*/ 51 w 88"/>
                <a:gd name="T47" fmla="*/ 26 h 38"/>
                <a:gd name="T48" fmla="*/ 56 w 88"/>
                <a:gd name="T49" fmla="*/ 27 h 38"/>
                <a:gd name="T50" fmla="*/ 61 w 88"/>
                <a:gd name="T51" fmla="*/ 24 h 38"/>
                <a:gd name="T52" fmla="*/ 68 w 88"/>
                <a:gd name="T53" fmla="*/ 22 h 38"/>
                <a:gd name="T54" fmla="*/ 74 w 88"/>
                <a:gd name="T55" fmla="*/ 19 h 38"/>
                <a:gd name="T56" fmla="*/ 80 w 88"/>
                <a:gd name="T57" fmla="*/ 15 h 38"/>
                <a:gd name="T58" fmla="*/ 88 w 88"/>
                <a:gd name="T59" fmla="*/ 11 h 38"/>
                <a:gd name="T60" fmla="*/ 88 w 88"/>
                <a:gd name="T61" fmla="*/ 10 h 38"/>
                <a:gd name="T62" fmla="*/ 82 w 88"/>
                <a:gd name="T63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8" h="38">
                  <a:moveTo>
                    <a:pt x="82" y="7"/>
                  </a:moveTo>
                  <a:cubicBezTo>
                    <a:pt x="79" y="3"/>
                    <a:pt x="78" y="6"/>
                    <a:pt x="74" y="5"/>
                  </a:cubicBezTo>
                  <a:cubicBezTo>
                    <a:pt x="70" y="4"/>
                    <a:pt x="56" y="3"/>
                    <a:pt x="53" y="4"/>
                  </a:cubicBezTo>
                  <a:cubicBezTo>
                    <a:pt x="50" y="5"/>
                    <a:pt x="45" y="2"/>
                    <a:pt x="43" y="1"/>
                  </a:cubicBezTo>
                  <a:cubicBezTo>
                    <a:pt x="41" y="0"/>
                    <a:pt x="35" y="1"/>
                    <a:pt x="34" y="4"/>
                  </a:cubicBezTo>
                  <a:cubicBezTo>
                    <a:pt x="34" y="7"/>
                    <a:pt x="31" y="7"/>
                    <a:pt x="27" y="5"/>
                  </a:cubicBezTo>
                  <a:cubicBezTo>
                    <a:pt x="23" y="3"/>
                    <a:pt x="16" y="3"/>
                    <a:pt x="16" y="5"/>
                  </a:cubicBezTo>
                  <a:cubicBezTo>
                    <a:pt x="16" y="8"/>
                    <a:pt x="13" y="10"/>
                    <a:pt x="11" y="11"/>
                  </a:cubicBezTo>
                  <a:cubicBezTo>
                    <a:pt x="11" y="11"/>
                    <a:pt x="10" y="13"/>
                    <a:pt x="9" y="15"/>
                  </a:cubicBezTo>
                  <a:cubicBezTo>
                    <a:pt x="10" y="16"/>
                    <a:pt x="11" y="17"/>
                    <a:pt x="12" y="18"/>
                  </a:cubicBezTo>
                  <a:cubicBezTo>
                    <a:pt x="13" y="20"/>
                    <a:pt x="18" y="20"/>
                    <a:pt x="18" y="18"/>
                  </a:cubicBezTo>
                  <a:cubicBezTo>
                    <a:pt x="19" y="16"/>
                    <a:pt x="25" y="20"/>
                    <a:pt x="29" y="23"/>
                  </a:cubicBezTo>
                  <a:cubicBezTo>
                    <a:pt x="33" y="26"/>
                    <a:pt x="27" y="24"/>
                    <a:pt x="26" y="27"/>
                  </a:cubicBezTo>
                  <a:cubicBezTo>
                    <a:pt x="24" y="30"/>
                    <a:pt x="19" y="27"/>
                    <a:pt x="18" y="28"/>
                  </a:cubicBezTo>
                  <a:cubicBezTo>
                    <a:pt x="17" y="29"/>
                    <a:pt x="9" y="30"/>
                    <a:pt x="6" y="30"/>
                  </a:cubicBezTo>
                  <a:cubicBezTo>
                    <a:pt x="4" y="29"/>
                    <a:pt x="0" y="33"/>
                    <a:pt x="1" y="35"/>
                  </a:cubicBezTo>
                  <a:cubicBezTo>
                    <a:pt x="1" y="36"/>
                    <a:pt x="9" y="34"/>
                    <a:pt x="12" y="35"/>
                  </a:cubicBezTo>
                  <a:cubicBezTo>
                    <a:pt x="15" y="37"/>
                    <a:pt x="18" y="34"/>
                    <a:pt x="19" y="36"/>
                  </a:cubicBezTo>
                  <a:cubicBezTo>
                    <a:pt x="21" y="38"/>
                    <a:pt x="24" y="36"/>
                    <a:pt x="26" y="37"/>
                  </a:cubicBezTo>
                  <a:cubicBezTo>
                    <a:pt x="28" y="38"/>
                    <a:pt x="36" y="36"/>
                    <a:pt x="37" y="36"/>
                  </a:cubicBezTo>
                  <a:cubicBezTo>
                    <a:pt x="38" y="35"/>
                    <a:pt x="38" y="34"/>
                    <a:pt x="38" y="32"/>
                  </a:cubicBezTo>
                  <a:cubicBezTo>
                    <a:pt x="38" y="30"/>
                    <a:pt x="40" y="31"/>
                    <a:pt x="41" y="30"/>
                  </a:cubicBezTo>
                  <a:cubicBezTo>
                    <a:pt x="43" y="30"/>
                    <a:pt x="44" y="27"/>
                    <a:pt x="46" y="27"/>
                  </a:cubicBezTo>
                  <a:cubicBezTo>
                    <a:pt x="47" y="27"/>
                    <a:pt x="49" y="25"/>
                    <a:pt x="51" y="26"/>
                  </a:cubicBezTo>
                  <a:cubicBezTo>
                    <a:pt x="52" y="26"/>
                    <a:pt x="54" y="29"/>
                    <a:pt x="56" y="27"/>
                  </a:cubicBezTo>
                  <a:cubicBezTo>
                    <a:pt x="57" y="26"/>
                    <a:pt x="58" y="27"/>
                    <a:pt x="61" y="24"/>
                  </a:cubicBezTo>
                  <a:cubicBezTo>
                    <a:pt x="63" y="21"/>
                    <a:pt x="65" y="22"/>
                    <a:pt x="68" y="22"/>
                  </a:cubicBezTo>
                  <a:cubicBezTo>
                    <a:pt x="72" y="23"/>
                    <a:pt x="73" y="21"/>
                    <a:pt x="74" y="19"/>
                  </a:cubicBezTo>
                  <a:cubicBezTo>
                    <a:pt x="75" y="16"/>
                    <a:pt x="79" y="16"/>
                    <a:pt x="80" y="15"/>
                  </a:cubicBezTo>
                  <a:cubicBezTo>
                    <a:pt x="82" y="14"/>
                    <a:pt x="86" y="12"/>
                    <a:pt x="88" y="11"/>
                  </a:cubicBezTo>
                  <a:cubicBezTo>
                    <a:pt x="88" y="11"/>
                    <a:pt x="88" y="11"/>
                    <a:pt x="88" y="10"/>
                  </a:cubicBezTo>
                  <a:cubicBezTo>
                    <a:pt x="85" y="7"/>
                    <a:pt x="84" y="10"/>
                    <a:pt x="82" y="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1" name="Freeform 238">
              <a:extLst>
                <a:ext uri="{FF2B5EF4-FFF2-40B4-BE49-F238E27FC236}">
                  <a16:creationId xmlns:a16="http://schemas.microsoft.com/office/drawing/2014/main" id="{5356B427-F189-42B3-CDB8-0097FA166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664" y="2865892"/>
              <a:ext cx="211112" cy="95239"/>
            </a:xfrm>
            <a:custGeom>
              <a:avLst/>
              <a:gdLst>
                <a:gd name="T0" fmla="*/ 23 w 56"/>
                <a:gd name="T1" fmla="*/ 20 h 25"/>
                <a:gd name="T2" fmla="*/ 28 w 56"/>
                <a:gd name="T3" fmla="*/ 24 h 25"/>
                <a:gd name="T4" fmla="*/ 29 w 56"/>
                <a:gd name="T5" fmla="*/ 25 h 25"/>
                <a:gd name="T6" fmla="*/ 37 w 56"/>
                <a:gd name="T7" fmla="*/ 23 h 25"/>
                <a:gd name="T8" fmla="*/ 44 w 56"/>
                <a:gd name="T9" fmla="*/ 24 h 25"/>
                <a:gd name="T10" fmla="*/ 43 w 56"/>
                <a:gd name="T11" fmla="*/ 22 h 25"/>
                <a:gd name="T12" fmla="*/ 49 w 56"/>
                <a:gd name="T13" fmla="*/ 24 h 25"/>
                <a:gd name="T14" fmla="*/ 55 w 56"/>
                <a:gd name="T15" fmla="*/ 24 h 25"/>
                <a:gd name="T16" fmla="*/ 52 w 56"/>
                <a:gd name="T17" fmla="*/ 21 h 25"/>
                <a:gd name="T18" fmla="*/ 54 w 56"/>
                <a:gd name="T19" fmla="*/ 18 h 25"/>
                <a:gd name="T20" fmla="*/ 49 w 56"/>
                <a:gd name="T21" fmla="*/ 15 h 25"/>
                <a:gd name="T22" fmla="*/ 47 w 56"/>
                <a:gd name="T23" fmla="*/ 10 h 25"/>
                <a:gd name="T24" fmla="*/ 44 w 56"/>
                <a:gd name="T25" fmla="*/ 9 h 25"/>
                <a:gd name="T26" fmla="*/ 36 w 56"/>
                <a:gd name="T27" fmla="*/ 10 h 25"/>
                <a:gd name="T28" fmla="*/ 31 w 56"/>
                <a:gd name="T29" fmla="*/ 8 h 25"/>
                <a:gd name="T30" fmla="*/ 26 w 56"/>
                <a:gd name="T31" fmla="*/ 4 h 25"/>
                <a:gd name="T32" fmla="*/ 13 w 56"/>
                <a:gd name="T33" fmla="*/ 3 h 25"/>
                <a:gd name="T34" fmla="*/ 4 w 56"/>
                <a:gd name="T35" fmla="*/ 1 h 25"/>
                <a:gd name="T36" fmla="*/ 0 w 56"/>
                <a:gd name="T37" fmla="*/ 2 h 25"/>
                <a:gd name="T38" fmla="*/ 13 w 56"/>
                <a:gd name="T39" fmla="*/ 9 h 25"/>
                <a:gd name="T40" fmla="*/ 16 w 56"/>
                <a:gd name="T41" fmla="*/ 17 h 25"/>
                <a:gd name="T42" fmla="*/ 14 w 56"/>
                <a:gd name="T43" fmla="*/ 20 h 25"/>
                <a:gd name="T44" fmla="*/ 23 w 56"/>
                <a:gd name="T45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" h="25">
                  <a:moveTo>
                    <a:pt x="23" y="20"/>
                  </a:moveTo>
                  <a:cubicBezTo>
                    <a:pt x="25" y="18"/>
                    <a:pt x="26" y="21"/>
                    <a:pt x="28" y="24"/>
                  </a:cubicBezTo>
                  <a:cubicBezTo>
                    <a:pt x="28" y="24"/>
                    <a:pt x="28" y="25"/>
                    <a:pt x="29" y="25"/>
                  </a:cubicBezTo>
                  <a:cubicBezTo>
                    <a:pt x="32" y="24"/>
                    <a:pt x="34" y="23"/>
                    <a:pt x="37" y="23"/>
                  </a:cubicBezTo>
                  <a:cubicBezTo>
                    <a:pt x="39" y="23"/>
                    <a:pt x="42" y="23"/>
                    <a:pt x="44" y="24"/>
                  </a:cubicBezTo>
                  <a:cubicBezTo>
                    <a:pt x="43" y="23"/>
                    <a:pt x="43" y="22"/>
                    <a:pt x="43" y="22"/>
                  </a:cubicBezTo>
                  <a:cubicBezTo>
                    <a:pt x="44" y="21"/>
                    <a:pt x="48" y="23"/>
                    <a:pt x="49" y="24"/>
                  </a:cubicBezTo>
                  <a:cubicBezTo>
                    <a:pt x="50" y="25"/>
                    <a:pt x="54" y="25"/>
                    <a:pt x="55" y="24"/>
                  </a:cubicBezTo>
                  <a:cubicBezTo>
                    <a:pt x="56" y="23"/>
                    <a:pt x="53" y="22"/>
                    <a:pt x="52" y="21"/>
                  </a:cubicBezTo>
                  <a:cubicBezTo>
                    <a:pt x="52" y="20"/>
                    <a:pt x="53" y="19"/>
                    <a:pt x="54" y="18"/>
                  </a:cubicBezTo>
                  <a:cubicBezTo>
                    <a:pt x="52" y="17"/>
                    <a:pt x="50" y="15"/>
                    <a:pt x="49" y="15"/>
                  </a:cubicBezTo>
                  <a:cubicBezTo>
                    <a:pt x="48" y="15"/>
                    <a:pt x="48" y="10"/>
                    <a:pt x="47" y="10"/>
                  </a:cubicBezTo>
                  <a:cubicBezTo>
                    <a:pt x="45" y="10"/>
                    <a:pt x="45" y="9"/>
                    <a:pt x="44" y="9"/>
                  </a:cubicBezTo>
                  <a:cubicBezTo>
                    <a:pt x="42" y="9"/>
                    <a:pt x="37" y="9"/>
                    <a:pt x="36" y="10"/>
                  </a:cubicBezTo>
                  <a:cubicBezTo>
                    <a:pt x="34" y="11"/>
                    <a:pt x="32" y="8"/>
                    <a:pt x="31" y="8"/>
                  </a:cubicBezTo>
                  <a:cubicBezTo>
                    <a:pt x="29" y="8"/>
                    <a:pt x="27" y="6"/>
                    <a:pt x="26" y="4"/>
                  </a:cubicBezTo>
                  <a:cubicBezTo>
                    <a:pt x="25" y="3"/>
                    <a:pt x="16" y="5"/>
                    <a:pt x="13" y="3"/>
                  </a:cubicBezTo>
                  <a:cubicBezTo>
                    <a:pt x="11" y="2"/>
                    <a:pt x="6" y="0"/>
                    <a:pt x="4" y="1"/>
                  </a:cubicBezTo>
                  <a:cubicBezTo>
                    <a:pt x="3" y="1"/>
                    <a:pt x="2" y="1"/>
                    <a:pt x="0" y="2"/>
                  </a:cubicBezTo>
                  <a:cubicBezTo>
                    <a:pt x="5" y="5"/>
                    <a:pt x="12" y="4"/>
                    <a:pt x="13" y="9"/>
                  </a:cubicBezTo>
                  <a:cubicBezTo>
                    <a:pt x="14" y="15"/>
                    <a:pt x="17" y="12"/>
                    <a:pt x="16" y="17"/>
                  </a:cubicBezTo>
                  <a:cubicBezTo>
                    <a:pt x="16" y="18"/>
                    <a:pt x="15" y="19"/>
                    <a:pt x="14" y="20"/>
                  </a:cubicBezTo>
                  <a:cubicBezTo>
                    <a:pt x="18" y="20"/>
                    <a:pt x="21" y="20"/>
                    <a:pt x="23" y="2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2" name="Freeform 239">
              <a:extLst>
                <a:ext uri="{FF2B5EF4-FFF2-40B4-BE49-F238E27FC236}">
                  <a16:creationId xmlns:a16="http://schemas.microsoft.com/office/drawing/2014/main" id="{33665C67-4387-A67F-5EB7-CF6EC42E4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6795" y="2919863"/>
              <a:ext cx="566665" cy="225396"/>
            </a:xfrm>
            <a:custGeom>
              <a:avLst/>
              <a:gdLst>
                <a:gd name="T0" fmla="*/ 147 w 151"/>
                <a:gd name="T1" fmla="*/ 42 h 60"/>
                <a:gd name="T2" fmla="*/ 147 w 151"/>
                <a:gd name="T3" fmla="*/ 33 h 60"/>
                <a:gd name="T4" fmla="*/ 147 w 151"/>
                <a:gd name="T5" fmla="*/ 27 h 60"/>
                <a:gd name="T6" fmla="*/ 149 w 151"/>
                <a:gd name="T7" fmla="*/ 23 h 60"/>
                <a:gd name="T8" fmla="*/ 148 w 151"/>
                <a:gd name="T9" fmla="*/ 20 h 60"/>
                <a:gd name="T10" fmla="*/ 141 w 151"/>
                <a:gd name="T11" fmla="*/ 17 h 60"/>
                <a:gd name="T12" fmla="*/ 139 w 151"/>
                <a:gd name="T13" fmla="*/ 10 h 60"/>
                <a:gd name="T14" fmla="*/ 134 w 151"/>
                <a:gd name="T15" fmla="*/ 6 h 60"/>
                <a:gd name="T16" fmla="*/ 125 w 151"/>
                <a:gd name="T17" fmla="*/ 6 h 60"/>
                <a:gd name="T18" fmla="*/ 110 w 151"/>
                <a:gd name="T19" fmla="*/ 11 h 60"/>
                <a:gd name="T20" fmla="*/ 96 w 151"/>
                <a:gd name="T21" fmla="*/ 11 h 60"/>
                <a:gd name="T22" fmla="*/ 87 w 151"/>
                <a:gd name="T23" fmla="*/ 8 h 60"/>
                <a:gd name="T24" fmla="*/ 80 w 151"/>
                <a:gd name="T25" fmla="*/ 5 h 60"/>
                <a:gd name="T26" fmla="*/ 68 w 151"/>
                <a:gd name="T27" fmla="*/ 2 h 60"/>
                <a:gd name="T28" fmla="*/ 43 w 151"/>
                <a:gd name="T29" fmla="*/ 9 h 60"/>
                <a:gd name="T30" fmla="*/ 26 w 151"/>
                <a:gd name="T31" fmla="*/ 10 h 60"/>
                <a:gd name="T32" fmla="*/ 22 w 151"/>
                <a:gd name="T33" fmla="*/ 16 h 60"/>
                <a:gd name="T34" fmla="*/ 5 w 151"/>
                <a:gd name="T35" fmla="*/ 18 h 60"/>
                <a:gd name="T36" fmla="*/ 3 w 151"/>
                <a:gd name="T37" fmla="*/ 24 h 60"/>
                <a:gd name="T38" fmla="*/ 6 w 151"/>
                <a:gd name="T39" fmla="*/ 26 h 60"/>
                <a:gd name="T40" fmla="*/ 7 w 151"/>
                <a:gd name="T41" fmla="*/ 32 h 60"/>
                <a:gd name="T42" fmla="*/ 7 w 151"/>
                <a:gd name="T43" fmla="*/ 38 h 60"/>
                <a:gd name="T44" fmla="*/ 7 w 151"/>
                <a:gd name="T45" fmla="*/ 42 h 60"/>
                <a:gd name="T46" fmla="*/ 11 w 151"/>
                <a:gd name="T47" fmla="*/ 46 h 60"/>
                <a:gd name="T48" fmla="*/ 17 w 151"/>
                <a:gd name="T49" fmla="*/ 49 h 60"/>
                <a:gd name="T50" fmla="*/ 21 w 151"/>
                <a:gd name="T51" fmla="*/ 50 h 60"/>
                <a:gd name="T52" fmla="*/ 26 w 151"/>
                <a:gd name="T53" fmla="*/ 56 h 60"/>
                <a:gd name="T54" fmla="*/ 36 w 151"/>
                <a:gd name="T55" fmla="*/ 54 h 60"/>
                <a:gd name="T56" fmla="*/ 42 w 151"/>
                <a:gd name="T57" fmla="*/ 51 h 60"/>
                <a:gd name="T58" fmla="*/ 53 w 151"/>
                <a:gd name="T59" fmla="*/ 57 h 60"/>
                <a:gd name="T60" fmla="*/ 62 w 151"/>
                <a:gd name="T61" fmla="*/ 56 h 60"/>
                <a:gd name="T62" fmla="*/ 69 w 151"/>
                <a:gd name="T63" fmla="*/ 51 h 60"/>
                <a:gd name="T64" fmla="*/ 75 w 151"/>
                <a:gd name="T65" fmla="*/ 53 h 60"/>
                <a:gd name="T66" fmla="*/ 82 w 151"/>
                <a:gd name="T67" fmla="*/ 51 h 60"/>
                <a:gd name="T68" fmla="*/ 79 w 151"/>
                <a:gd name="T69" fmla="*/ 57 h 60"/>
                <a:gd name="T70" fmla="*/ 80 w 151"/>
                <a:gd name="T71" fmla="*/ 60 h 60"/>
                <a:gd name="T72" fmla="*/ 84 w 151"/>
                <a:gd name="T73" fmla="*/ 54 h 60"/>
                <a:gd name="T74" fmla="*/ 88 w 151"/>
                <a:gd name="T75" fmla="*/ 53 h 60"/>
                <a:gd name="T76" fmla="*/ 95 w 151"/>
                <a:gd name="T77" fmla="*/ 53 h 60"/>
                <a:gd name="T78" fmla="*/ 100 w 151"/>
                <a:gd name="T79" fmla="*/ 52 h 60"/>
                <a:gd name="T80" fmla="*/ 109 w 151"/>
                <a:gd name="T81" fmla="*/ 52 h 60"/>
                <a:gd name="T82" fmla="*/ 120 w 151"/>
                <a:gd name="T83" fmla="*/ 49 h 60"/>
                <a:gd name="T84" fmla="*/ 129 w 151"/>
                <a:gd name="T85" fmla="*/ 47 h 60"/>
                <a:gd name="T86" fmla="*/ 132 w 151"/>
                <a:gd name="T87" fmla="*/ 48 h 60"/>
                <a:gd name="T88" fmla="*/ 135 w 151"/>
                <a:gd name="T89" fmla="*/ 46 h 60"/>
                <a:gd name="T90" fmla="*/ 143 w 151"/>
                <a:gd name="T91" fmla="*/ 47 h 60"/>
                <a:gd name="T92" fmla="*/ 151 w 151"/>
                <a:gd name="T93" fmla="*/ 48 h 60"/>
                <a:gd name="T94" fmla="*/ 147 w 151"/>
                <a:gd name="T95" fmla="*/ 42 h 60"/>
                <a:gd name="T96" fmla="*/ 13 w 151"/>
                <a:gd name="T97" fmla="*/ 11 h 60"/>
                <a:gd name="T98" fmla="*/ 24 w 151"/>
                <a:gd name="T99" fmla="*/ 10 h 60"/>
                <a:gd name="T100" fmla="*/ 18 w 151"/>
                <a:gd name="T101" fmla="*/ 5 h 60"/>
                <a:gd name="T102" fmla="*/ 16 w 151"/>
                <a:gd name="T103" fmla="*/ 1 h 60"/>
                <a:gd name="T104" fmla="*/ 13 w 151"/>
                <a:gd name="T105" fmla="*/ 2 h 60"/>
                <a:gd name="T106" fmla="*/ 5 w 151"/>
                <a:gd name="T107" fmla="*/ 2 h 60"/>
                <a:gd name="T108" fmla="*/ 5 w 151"/>
                <a:gd name="T109" fmla="*/ 7 h 60"/>
                <a:gd name="T110" fmla="*/ 3 w 151"/>
                <a:gd name="T111" fmla="*/ 11 h 60"/>
                <a:gd name="T112" fmla="*/ 1 w 151"/>
                <a:gd name="T113" fmla="*/ 14 h 60"/>
                <a:gd name="T114" fmla="*/ 6 w 151"/>
                <a:gd name="T115" fmla="*/ 16 h 60"/>
                <a:gd name="T116" fmla="*/ 13 w 151"/>
                <a:gd name="T117" fmla="*/ 11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1" h="60">
                  <a:moveTo>
                    <a:pt x="147" y="42"/>
                  </a:moveTo>
                  <a:cubicBezTo>
                    <a:pt x="146" y="42"/>
                    <a:pt x="148" y="35"/>
                    <a:pt x="147" y="33"/>
                  </a:cubicBezTo>
                  <a:cubicBezTo>
                    <a:pt x="147" y="32"/>
                    <a:pt x="145" y="27"/>
                    <a:pt x="147" y="27"/>
                  </a:cubicBezTo>
                  <a:cubicBezTo>
                    <a:pt x="149" y="27"/>
                    <a:pt x="147" y="23"/>
                    <a:pt x="149" y="23"/>
                  </a:cubicBezTo>
                  <a:cubicBezTo>
                    <a:pt x="149" y="21"/>
                    <a:pt x="148" y="20"/>
                    <a:pt x="148" y="20"/>
                  </a:cubicBezTo>
                  <a:cubicBezTo>
                    <a:pt x="146" y="19"/>
                    <a:pt x="143" y="21"/>
                    <a:pt x="141" y="17"/>
                  </a:cubicBezTo>
                  <a:cubicBezTo>
                    <a:pt x="140" y="14"/>
                    <a:pt x="141" y="13"/>
                    <a:pt x="139" y="10"/>
                  </a:cubicBezTo>
                  <a:cubicBezTo>
                    <a:pt x="137" y="7"/>
                    <a:pt x="136" y="4"/>
                    <a:pt x="134" y="6"/>
                  </a:cubicBezTo>
                  <a:cubicBezTo>
                    <a:pt x="132" y="6"/>
                    <a:pt x="129" y="6"/>
                    <a:pt x="125" y="6"/>
                  </a:cubicBezTo>
                  <a:cubicBezTo>
                    <a:pt x="121" y="9"/>
                    <a:pt x="113" y="12"/>
                    <a:pt x="110" y="11"/>
                  </a:cubicBezTo>
                  <a:cubicBezTo>
                    <a:pt x="107" y="10"/>
                    <a:pt x="101" y="11"/>
                    <a:pt x="96" y="11"/>
                  </a:cubicBezTo>
                  <a:cubicBezTo>
                    <a:pt x="92" y="11"/>
                    <a:pt x="90" y="8"/>
                    <a:pt x="87" y="8"/>
                  </a:cubicBezTo>
                  <a:cubicBezTo>
                    <a:pt x="83" y="8"/>
                    <a:pt x="83" y="5"/>
                    <a:pt x="80" y="5"/>
                  </a:cubicBezTo>
                  <a:cubicBezTo>
                    <a:pt x="76" y="5"/>
                    <a:pt x="79" y="3"/>
                    <a:pt x="68" y="2"/>
                  </a:cubicBezTo>
                  <a:cubicBezTo>
                    <a:pt x="56" y="0"/>
                    <a:pt x="47" y="6"/>
                    <a:pt x="43" y="9"/>
                  </a:cubicBezTo>
                  <a:cubicBezTo>
                    <a:pt x="40" y="12"/>
                    <a:pt x="27" y="9"/>
                    <a:pt x="26" y="10"/>
                  </a:cubicBezTo>
                  <a:cubicBezTo>
                    <a:pt x="24" y="11"/>
                    <a:pt x="26" y="15"/>
                    <a:pt x="22" y="16"/>
                  </a:cubicBezTo>
                  <a:cubicBezTo>
                    <a:pt x="17" y="18"/>
                    <a:pt x="8" y="16"/>
                    <a:pt x="5" y="18"/>
                  </a:cubicBezTo>
                  <a:cubicBezTo>
                    <a:pt x="1" y="19"/>
                    <a:pt x="0" y="24"/>
                    <a:pt x="3" y="24"/>
                  </a:cubicBezTo>
                  <a:cubicBezTo>
                    <a:pt x="6" y="23"/>
                    <a:pt x="7" y="25"/>
                    <a:pt x="6" y="26"/>
                  </a:cubicBezTo>
                  <a:cubicBezTo>
                    <a:pt x="5" y="27"/>
                    <a:pt x="9" y="31"/>
                    <a:pt x="7" y="32"/>
                  </a:cubicBezTo>
                  <a:cubicBezTo>
                    <a:pt x="5" y="33"/>
                    <a:pt x="5" y="36"/>
                    <a:pt x="7" y="38"/>
                  </a:cubicBezTo>
                  <a:cubicBezTo>
                    <a:pt x="9" y="39"/>
                    <a:pt x="10" y="42"/>
                    <a:pt x="7" y="42"/>
                  </a:cubicBezTo>
                  <a:cubicBezTo>
                    <a:pt x="5" y="42"/>
                    <a:pt x="11" y="45"/>
                    <a:pt x="11" y="46"/>
                  </a:cubicBezTo>
                  <a:cubicBezTo>
                    <a:pt x="11" y="47"/>
                    <a:pt x="17" y="48"/>
                    <a:pt x="17" y="49"/>
                  </a:cubicBezTo>
                  <a:cubicBezTo>
                    <a:pt x="17" y="51"/>
                    <a:pt x="18" y="51"/>
                    <a:pt x="21" y="50"/>
                  </a:cubicBezTo>
                  <a:cubicBezTo>
                    <a:pt x="23" y="50"/>
                    <a:pt x="24" y="53"/>
                    <a:pt x="26" y="56"/>
                  </a:cubicBezTo>
                  <a:cubicBezTo>
                    <a:pt x="27" y="58"/>
                    <a:pt x="36" y="56"/>
                    <a:pt x="36" y="54"/>
                  </a:cubicBezTo>
                  <a:cubicBezTo>
                    <a:pt x="36" y="51"/>
                    <a:pt x="39" y="50"/>
                    <a:pt x="42" y="51"/>
                  </a:cubicBezTo>
                  <a:cubicBezTo>
                    <a:pt x="46" y="51"/>
                    <a:pt x="51" y="56"/>
                    <a:pt x="53" y="57"/>
                  </a:cubicBezTo>
                  <a:cubicBezTo>
                    <a:pt x="55" y="58"/>
                    <a:pt x="59" y="56"/>
                    <a:pt x="62" y="56"/>
                  </a:cubicBezTo>
                  <a:cubicBezTo>
                    <a:pt x="64" y="56"/>
                    <a:pt x="68" y="52"/>
                    <a:pt x="69" y="51"/>
                  </a:cubicBezTo>
                  <a:cubicBezTo>
                    <a:pt x="71" y="50"/>
                    <a:pt x="73" y="54"/>
                    <a:pt x="75" y="53"/>
                  </a:cubicBezTo>
                  <a:cubicBezTo>
                    <a:pt x="78" y="51"/>
                    <a:pt x="80" y="50"/>
                    <a:pt x="82" y="51"/>
                  </a:cubicBezTo>
                  <a:cubicBezTo>
                    <a:pt x="83" y="52"/>
                    <a:pt x="78" y="55"/>
                    <a:pt x="79" y="57"/>
                  </a:cubicBezTo>
                  <a:cubicBezTo>
                    <a:pt x="80" y="58"/>
                    <a:pt x="80" y="59"/>
                    <a:pt x="80" y="60"/>
                  </a:cubicBezTo>
                  <a:cubicBezTo>
                    <a:pt x="85" y="59"/>
                    <a:pt x="84" y="56"/>
                    <a:pt x="84" y="54"/>
                  </a:cubicBezTo>
                  <a:cubicBezTo>
                    <a:pt x="85" y="53"/>
                    <a:pt x="86" y="51"/>
                    <a:pt x="88" y="53"/>
                  </a:cubicBezTo>
                  <a:cubicBezTo>
                    <a:pt x="89" y="54"/>
                    <a:pt x="91" y="54"/>
                    <a:pt x="95" y="53"/>
                  </a:cubicBezTo>
                  <a:cubicBezTo>
                    <a:pt x="98" y="51"/>
                    <a:pt x="99" y="50"/>
                    <a:pt x="100" y="52"/>
                  </a:cubicBezTo>
                  <a:cubicBezTo>
                    <a:pt x="101" y="53"/>
                    <a:pt x="104" y="52"/>
                    <a:pt x="109" y="52"/>
                  </a:cubicBezTo>
                  <a:cubicBezTo>
                    <a:pt x="114" y="52"/>
                    <a:pt x="115" y="48"/>
                    <a:pt x="120" y="49"/>
                  </a:cubicBezTo>
                  <a:cubicBezTo>
                    <a:pt x="125" y="49"/>
                    <a:pt x="129" y="47"/>
                    <a:pt x="129" y="47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3" y="47"/>
                    <a:pt x="133" y="46"/>
                    <a:pt x="135" y="46"/>
                  </a:cubicBezTo>
                  <a:cubicBezTo>
                    <a:pt x="139" y="45"/>
                    <a:pt x="141" y="48"/>
                    <a:pt x="143" y="47"/>
                  </a:cubicBezTo>
                  <a:cubicBezTo>
                    <a:pt x="144" y="46"/>
                    <a:pt x="151" y="53"/>
                    <a:pt x="151" y="48"/>
                  </a:cubicBezTo>
                  <a:cubicBezTo>
                    <a:pt x="151" y="47"/>
                    <a:pt x="149" y="42"/>
                    <a:pt x="147" y="42"/>
                  </a:cubicBezTo>
                  <a:close/>
                  <a:moveTo>
                    <a:pt x="13" y="11"/>
                  </a:moveTo>
                  <a:cubicBezTo>
                    <a:pt x="16" y="10"/>
                    <a:pt x="23" y="12"/>
                    <a:pt x="24" y="10"/>
                  </a:cubicBezTo>
                  <a:cubicBezTo>
                    <a:pt x="26" y="9"/>
                    <a:pt x="20" y="7"/>
                    <a:pt x="18" y="5"/>
                  </a:cubicBezTo>
                  <a:cubicBezTo>
                    <a:pt x="17" y="4"/>
                    <a:pt x="16" y="3"/>
                    <a:pt x="16" y="1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1" y="1"/>
                    <a:pt x="6" y="1"/>
                    <a:pt x="5" y="2"/>
                  </a:cubicBezTo>
                  <a:cubicBezTo>
                    <a:pt x="4" y="2"/>
                    <a:pt x="5" y="5"/>
                    <a:pt x="5" y="7"/>
                  </a:cubicBezTo>
                  <a:cubicBezTo>
                    <a:pt x="5" y="9"/>
                    <a:pt x="3" y="10"/>
                    <a:pt x="3" y="11"/>
                  </a:cubicBezTo>
                  <a:cubicBezTo>
                    <a:pt x="3" y="12"/>
                    <a:pt x="2" y="13"/>
                    <a:pt x="1" y="14"/>
                  </a:cubicBezTo>
                  <a:cubicBezTo>
                    <a:pt x="3" y="15"/>
                    <a:pt x="4" y="16"/>
                    <a:pt x="6" y="16"/>
                  </a:cubicBezTo>
                  <a:cubicBezTo>
                    <a:pt x="9" y="16"/>
                    <a:pt x="10" y="12"/>
                    <a:pt x="13" y="1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3" name="Freeform 240">
              <a:extLst>
                <a:ext uri="{FF2B5EF4-FFF2-40B4-BE49-F238E27FC236}">
                  <a16:creationId xmlns:a16="http://schemas.microsoft.com/office/drawing/2014/main" id="{7C4254A0-40BE-F9EE-F191-979EF0294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0913" y="3140497"/>
              <a:ext cx="71430" cy="68254"/>
            </a:xfrm>
            <a:custGeom>
              <a:avLst/>
              <a:gdLst>
                <a:gd name="T0" fmla="*/ 9 w 19"/>
                <a:gd name="T1" fmla="*/ 0 h 18"/>
                <a:gd name="T2" fmla="*/ 0 w 19"/>
                <a:gd name="T3" fmla="*/ 5 h 18"/>
                <a:gd name="T4" fmla="*/ 1 w 19"/>
                <a:gd name="T5" fmla="*/ 7 h 18"/>
                <a:gd name="T6" fmla="*/ 6 w 19"/>
                <a:gd name="T7" fmla="*/ 13 h 18"/>
                <a:gd name="T8" fmla="*/ 7 w 19"/>
                <a:gd name="T9" fmla="*/ 18 h 18"/>
                <a:gd name="T10" fmla="*/ 10 w 19"/>
                <a:gd name="T11" fmla="*/ 17 h 18"/>
                <a:gd name="T12" fmla="*/ 19 w 19"/>
                <a:gd name="T13" fmla="*/ 8 h 18"/>
                <a:gd name="T14" fmla="*/ 9 w 19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8">
                  <a:moveTo>
                    <a:pt x="9" y="0"/>
                  </a:moveTo>
                  <a:cubicBezTo>
                    <a:pt x="6" y="0"/>
                    <a:pt x="1" y="3"/>
                    <a:pt x="0" y="5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2" y="10"/>
                    <a:pt x="4" y="12"/>
                    <a:pt x="6" y="13"/>
                  </a:cubicBezTo>
                  <a:cubicBezTo>
                    <a:pt x="8" y="14"/>
                    <a:pt x="7" y="16"/>
                    <a:pt x="7" y="18"/>
                  </a:cubicBezTo>
                  <a:cubicBezTo>
                    <a:pt x="8" y="17"/>
                    <a:pt x="10" y="17"/>
                    <a:pt x="10" y="17"/>
                  </a:cubicBezTo>
                  <a:cubicBezTo>
                    <a:pt x="13" y="17"/>
                    <a:pt x="18" y="10"/>
                    <a:pt x="19" y="8"/>
                  </a:cubicBezTo>
                  <a:cubicBezTo>
                    <a:pt x="19" y="6"/>
                    <a:pt x="12" y="0"/>
                    <a:pt x="9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4" name="Freeform 241">
              <a:extLst>
                <a:ext uri="{FF2B5EF4-FFF2-40B4-BE49-F238E27FC236}">
                  <a16:creationId xmlns:a16="http://schemas.microsoft.com/office/drawing/2014/main" id="{A5C73D74-6897-E206-4E61-86D858B6E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92812" y="2896054"/>
              <a:ext cx="209524" cy="195238"/>
            </a:xfrm>
            <a:custGeom>
              <a:avLst/>
              <a:gdLst>
                <a:gd name="T0" fmla="*/ 53 w 56"/>
                <a:gd name="T1" fmla="*/ 2 h 52"/>
                <a:gd name="T2" fmla="*/ 47 w 56"/>
                <a:gd name="T3" fmla="*/ 0 h 52"/>
                <a:gd name="T4" fmla="*/ 42 w 56"/>
                <a:gd name="T5" fmla="*/ 6 h 52"/>
                <a:gd name="T6" fmla="*/ 36 w 56"/>
                <a:gd name="T7" fmla="*/ 10 h 52"/>
                <a:gd name="T8" fmla="*/ 33 w 56"/>
                <a:gd name="T9" fmla="*/ 13 h 52"/>
                <a:gd name="T10" fmla="*/ 28 w 56"/>
                <a:gd name="T11" fmla="*/ 15 h 52"/>
                <a:gd name="T12" fmla="*/ 23 w 56"/>
                <a:gd name="T13" fmla="*/ 13 h 52"/>
                <a:gd name="T14" fmla="*/ 18 w 56"/>
                <a:gd name="T15" fmla="*/ 18 h 52"/>
                <a:gd name="T16" fmla="*/ 3 w 56"/>
                <a:gd name="T17" fmla="*/ 27 h 52"/>
                <a:gd name="T18" fmla="*/ 0 w 56"/>
                <a:gd name="T19" fmla="*/ 30 h 52"/>
                <a:gd name="T20" fmla="*/ 9 w 56"/>
                <a:gd name="T21" fmla="*/ 35 h 52"/>
                <a:gd name="T22" fmla="*/ 5 w 56"/>
                <a:gd name="T23" fmla="*/ 44 h 52"/>
                <a:gd name="T24" fmla="*/ 6 w 56"/>
                <a:gd name="T25" fmla="*/ 48 h 52"/>
                <a:gd name="T26" fmla="*/ 10 w 56"/>
                <a:gd name="T27" fmla="*/ 50 h 52"/>
                <a:gd name="T28" fmla="*/ 16 w 56"/>
                <a:gd name="T29" fmla="*/ 49 h 52"/>
                <a:gd name="T30" fmla="*/ 18 w 56"/>
                <a:gd name="T31" fmla="*/ 50 h 52"/>
                <a:gd name="T32" fmla="*/ 23 w 56"/>
                <a:gd name="T33" fmla="*/ 47 h 52"/>
                <a:gd name="T34" fmla="*/ 30 w 56"/>
                <a:gd name="T35" fmla="*/ 45 h 52"/>
                <a:gd name="T36" fmla="*/ 35 w 56"/>
                <a:gd name="T37" fmla="*/ 44 h 52"/>
                <a:gd name="T38" fmla="*/ 27 w 56"/>
                <a:gd name="T39" fmla="*/ 37 h 52"/>
                <a:gd name="T40" fmla="*/ 30 w 56"/>
                <a:gd name="T41" fmla="*/ 30 h 52"/>
                <a:gd name="T42" fmla="*/ 44 w 56"/>
                <a:gd name="T43" fmla="*/ 21 h 52"/>
                <a:gd name="T44" fmla="*/ 47 w 56"/>
                <a:gd name="T45" fmla="*/ 11 h 52"/>
                <a:gd name="T46" fmla="*/ 56 w 56"/>
                <a:gd name="T47" fmla="*/ 3 h 52"/>
                <a:gd name="T48" fmla="*/ 53 w 56"/>
                <a:gd name="T49" fmla="*/ 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6" h="52">
                  <a:moveTo>
                    <a:pt x="53" y="2"/>
                  </a:moveTo>
                  <a:cubicBezTo>
                    <a:pt x="50" y="3"/>
                    <a:pt x="49" y="0"/>
                    <a:pt x="47" y="0"/>
                  </a:cubicBezTo>
                  <a:cubicBezTo>
                    <a:pt x="44" y="0"/>
                    <a:pt x="45" y="6"/>
                    <a:pt x="42" y="6"/>
                  </a:cubicBezTo>
                  <a:cubicBezTo>
                    <a:pt x="39" y="6"/>
                    <a:pt x="40" y="10"/>
                    <a:pt x="36" y="10"/>
                  </a:cubicBezTo>
                  <a:cubicBezTo>
                    <a:pt x="33" y="11"/>
                    <a:pt x="32" y="11"/>
                    <a:pt x="33" y="13"/>
                  </a:cubicBezTo>
                  <a:cubicBezTo>
                    <a:pt x="35" y="16"/>
                    <a:pt x="31" y="15"/>
                    <a:pt x="28" y="15"/>
                  </a:cubicBezTo>
                  <a:cubicBezTo>
                    <a:pt x="25" y="15"/>
                    <a:pt x="25" y="13"/>
                    <a:pt x="23" y="13"/>
                  </a:cubicBezTo>
                  <a:cubicBezTo>
                    <a:pt x="21" y="13"/>
                    <a:pt x="19" y="16"/>
                    <a:pt x="18" y="18"/>
                  </a:cubicBezTo>
                  <a:cubicBezTo>
                    <a:pt x="16" y="21"/>
                    <a:pt x="6" y="25"/>
                    <a:pt x="3" y="27"/>
                  </a:cubicBezTo>
                  <a:cubicBezTo>
                    <a:pt x="2" y="27"/>
                    <a:pt x="1" y="29"/>
                    <a:pt x="0" y="30"/>
                  </a:cubicBezTo>
                  <a:cubicBezTo>
                    <a:pt x="4" y="31"/>
                    <a:pt x="8" y="33"/>
                    <a:pt x="9" y="35"/>
                  </a:cubicBezTo>
                  <a:cubicBezTo>
                    <a:pt x="12" y="38"/>
                    <a:pt x="7" y="41"/>
                    <a:pt x="5" y="44"/>
                  </a:cubicBezTo>
                  <a:cubicBezTo>
                    <a:pt x="3" y="46"/>
                    <a:pt x="6" y="46"/>
                    <a:pt x="6" y="48"/>
                  </a:cubicBezTo>
                  <a:cubicBezTo>
                    <a:pt x="6" y="51"/>
                    <a:pt x="9" y="52"/>
                    <a:pt x="10" y="50"/>
                  </a:cubicBezTo>
                  <a:cubicBezTo>
                    <a:pt x="11" y="49"/>
                    <a:pt x="13" y="49"/>
                    <a:pt x="16" y="49"/>
                  </a:cubicBezTo>
                  <a:cubicBezTo>
                    <a:pt x="17" y="49"/>
                    <a:pt x="18" y="50"/>
                    <a:pt x="18" y="50"/>
                  </a:cubicBezTo>
                  <a:cubicBezTo>
                    <a:pt x="20" y="49"/>
                    <a:pt x="22" y="47"/>
                    <a:pt x="23" y="47"/>
                  </a:cubicBezTo>
                  <a:cubicBezTo>
                    <a:pt x="24" y="45"/>
                    <a:pt x="27" y="45"/>
                    <a:pt x="30" y="45"/>
                  </a:cubicBezTo>
                  <a:cubicBezTo>
                    <a:pt x="32" y="45"/>
                    <a:pt x="33" y="45"/>
                    <a:pt x="35" y="44"/>
                  </a:cubicBezTo>
                  <a:cubicBezTo>
                    <a:pt x="32" y="40"/>
                    <a:pt x="29" y="38"/>
                    <a:pt x="27" y="37"/>
                  </a:cubicBezTo>
                  <a:cubicBezTo>
                    <a:pt x="25" y="35"/>
                    <a:pt x="26" y="31"/>
                    <a:pt x="30" y="30"/>
                  </a:cubicBezTo>
                  <a:cubicBezTo>
                    <a:pt x="33" y="29"/>
                    <a:pt x="41" y="23"/>
                    <a:pt x="44" y="21"/>
                  </a:cubicBezTo>
                  <a:cubicBezTo>
                    <a:pt x="46" y="20"/>
                    <a:pt x="45" y="15"/>
                    <a:pt x="47" y="11"/>
                  </a:cubicBezTo>
                  <a:cubicBezTo>
                    <a:pt x="48" y="9"/>
                    <a:pt x="52" y="6"/>
                    <a:pt x="56" y="3"/>
                  </a:cubicBezTo>
                  <a:cubicBezTo>
                    <a:pt x="55" y="2"/>
                    <a:pt x="54" y="2"/>
                    <a:pt x="53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5" name="Freeform 242">
              <a:extLst>
                <a:ext uri="{FF2B5EF4-FFF2-40B4-BE49-F238E27FC236}">
                  <a16:creationId xmlns:a16="http://schemas.microsoft.com/office/drawing/2014/main" id="{1227FDFF-9FB4-C596-AECE-B767F1A4B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94408" y="3335734"/>
              <a:ext cx="233333" cy="136507"/>
            </a:xfrm>
            <a:custGeom>
              <a:avLst/>
              <a:gdLst>
                <a:gd name="T0" fmla="*/ 61 w 62"/>
                <a:gd name="T1" fmla="*/ 23 h 36"/>
                <a:gd name="T2" fmla="*/ 59 w 62"/>
                <a:gd name="T3" fmla="*/ 23 h 36"/>
                <a:gd name="T4" fmla="*/ 48 w 62"/>
                <a:gd name="T5" fmla="*/ 21 h 36"/>
                <a:gd name="T6" fmla="*/ 33 w 62"/>
                <a:gd name="T7" fmla="*/ 15 h 36"/>
                <a:gd name="T8" fmla="*/ 16 w 62"/>
                <a:gd name="T9" fmla="*/ 3 h 36"/>
                <a:gd name="T10" fmla="*/ 10 w 62"/>
                <a:gd name="T11" fmla="*/ 1 h 36"/>
                <a:gd name="T12" fmla="*/ 5 w 62"/>
                <a:gd name="T13" fmla="*/ 3 h 36"/>
                <a:gd name="T14" fmla="*/ 1 w 62"/>
                <a:gd name="T15" fmla="*/ 8 h 36"/>
                <a:gd name="T16" fmla="*/ 0 w 62"/>
                <a:gd name="T17" fmla="*/ 14 h 36"/>
                <a:gd name="T18" fmla="*/ 4 w 62"/>
                <a:gd name="T19" fmla="*/ 17 h 36"/>
                <a:gd name="T20" fmla="*/ 11 w 62"/>
                <a:gd name="T21" fmla="*/ 20 h 36"/>
                <a:gd name="T22" fmla="*/ 17 w 62"/>
                <a:gd name="T23" fmla="*/ 23 h 36"/>
                <a:gd name="T24" fmla="*/ 23 w 62"/>
                <a:gd name="T25" fmla="*/ 27 h 36"/>
                <a:gd name="T26" fmla="*/ 31 w 62"/>
                <a:gd name="T27" fmla="*/ 26 h 36"/>
                <a:gd name="T28" fmla="*/ 35 w 62"/>
                <a:gd name="T29" fmla="*/ 30 h 36"/>
                <a:gd name="T30" fmla="*/ 46 w 62"/>
                <a:gd name="T31" fmla="*/ 34 h 36"/>
                <a:gd name="T32" fmla="*/ 60 w 62"/>
                <a:gd name="T33" fmla="*/ 33 h 36"/>
                <a:gd name="T34" fmla="*/ 60 w 62"/>
                <a:gd name="T35" fmla="*/ 25 h 36"/>
                <a:gd name="T36" fmla="*/ 61 w 62"/>
                <a:gd name="T37" fmla="*/ 2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36">
                  <a:moveTo>
                    <a:pt x="61" y="23"/>
                  </a:moveTo>
                  <a:cubicBezTo>
                    <a:pt x="60" y="23"/>
                    <a:pt x="59" y="23"/>
                    <a:pt x="59" y="23"/>
                  </a:cubicBezTo>
                  <a:cubicBezTo>
                    <a:pt x="54" y="23"/>
                    <a:pt x="51" y="21"/>
                    <a:pt x="48" y="21"/>
                  </a:cubicBezTo>
                  <a:cubicBezTo>
                    <a:pt x="45" y="21"/>
                    <a:pt x="36" y="18"/>
                    <a:pt x="33" y="15"/>
                  </a:cubicBezTo>
                  <a:cubicBezTo>
                    <a:pt x="29" y="12"/>
                    <a:pt x="19" y="5"/>
                    <a:pt x="16" y="3"/>
                  </a:cubicBezTo>
                  <a:cubicBezTo>
                    <a:pt x="14" y="0"/>
                    <a:pt x="10" y="0"/>
                    <a:pt x="10" y="1"/>
                  </a:cubicBezTo>
                  <a:cubicBezTo>
                    <a:pt x="10" y="3"/>
                    <a:pt x="8" y="3"/>
                    <a:pt x="5" y="3"/>
                  </a:cubicBezTo>
                  <a:cubicBezTo>
                    <a:pt x="4" y="4"/>
                    <a:pt x="1" y="6"/>
                    <a:pt x="1" y="8"/>
                  </a:cubicBezTo>
                  <a:cubicBezTo>
                    <a:pt x="1" y="9"/>
                    <a:pt x="0" y="12"/>
                    <a:pt x="0" y="14"/>
                  </a:cubicBezTo>
                  <a:cubicBezTo>
                    <a:pt x="0" y="15"/>
                    <a:pt x="3" y="15"/>
                    <a:pt x="4" y="17"/>
                  </a:cubicBezTo>
                  <a:cubicBezTo>
                    <a:pt x="5" y="18"/>
                    <a:pt x="10" y="19"/>
                    <a:pt x="11" y="20"/>
                  </a:cubicBezTo>
                  <a:cubicBezTo>
                    <a:pt x="11" y="21"/>
                    <a:pt x="14" y="23"/>
                    <a:pt x="17" y="23"/>
                  </a:cubicBezTo>
                  <a:cubicBezTo>
                    <a:pt x="19" y="23"/>
                    <a:pt x="22" y="26"/>
                    <a:pt x="23" y="27"/>
                  </a:cubicBezTo>
                  <a:cubicBezTo>
                    <a:pt x="24" y="28"/>
                    <a:pt x="29" y="26"/>
                    <a:pt x="31" y="26"/>
                  </a:cubicBezTo>
                  <a:cubicBezTo>
                    <a:pt x="32" y="26"/>
                    <a:pt x="35" y="29"/>
                    <a:pt x="35" y="30"/>
                  </a:cubicBezTo>
                  <a:cubicBezTo>
                    <a:pt x="36" y="32"/>
                    <a:pt x="44" y="33"/>
                    <a:pt x="46" y="34"/>
                  </a:cubicBezTo>
                  <a:cubicBezTo>
                    <a:pt x="48" y="36"/>
                    <a:pt x="58" y="35"/>
                    <a:pt x="60" y="33"/>
                  </a:cubicBezTo>
                  <a:cubicBezTo>
                    <a:pt x="62" y="31"/>
                    <a:pt x="60" y="28"/>
                    <a:pt x="60" y="25"/>
                  </a:cubicBezTo>
                  <a:cubicBezTo>
                    <a:pt x="60" y="24"/>
                    <a:pt x="60" y="23"/>
                    <a:pt x="61" y="2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6" name="Freeform 243">
              <a:extLst>
                <a:ext uri="{FF2B5EF4-FFF2-40B4-BE49-F238E27FC236}">
                  <a16:creationId xmlns:a16="http://schemas.microsoft.com/office/drawing/2014/main" id="{6DB7A614-9333-9024-F91F-3339E4BFEE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2498" y="3396046"/>
              <a:ext cx="255555" cy="571426"/>
            </a:xfrm>
            <a:custGeom>
              <a:avLst/>
              <a:gdLst>
                <a:gd name="T0" fmla="*/ 55 w 68"/>
                <a:gd name="T1" fmla="*/ 139 h 152"/>
                <a:gd name="T2" fmla="*/ 53 w 68"/>
                <a:gd name="T3" fmla="*/ 133 h 152"/>
                <a:gd name="T4" fmla="*/ 49 w 68"/>
                <a:gd name="T5" fmla="*/ 123 h 152"/>
                <a:gd name="T6" fmla="*/ 47 w 68"/>
                <a:gd name="T7" fmla="*/ 114 h 152"/>
                <a:gd name="T8" fmla="*/ 48 w 68"/>
                <a:gd name="T9" fmla="*/ 108 h 152"/>
                <a:gd name="T10" fmla="*/ 48 w 68"/>
                <a:gd name="T11" fmla="*/ 105 h 152"/>
                <a:gd name="T12" fmla="*/ 47 w 68"/>
                <a:gd name="T13" fmla="*/ 99 h 152"/>
                <a:gd name="T14" fmla="*/ 41 w 68"/>
                <a:gd name="T15" fmla="*/ 92 h 152"/>
                <a:gd name="T16" fmla="*/ 42 w 68"/>
                <a:gd name="T17" fmla="*/ 79 h 152"/>
                <a:gd name="T18" fmla="*/ 47 w 68"/>
                <a:gd name="T19" fmla="*/ 77 h 152"/>
                <a:gd name="T20" fmla="*/ 53 w 68"/>
                <a:gd name="T21" fmla="*/ 75 h 152"/>
                <a:gd name="T22" fmla="*/ 60 w 68"/>
                <a:gd name="T23" fmla="*/ 71 h 152"/>
                <a:gd name="T24" fmla="*/ 64 w 68"/>
                <a:gd name="T25" fmla="*/ 67 h 152"/>
                <a:gd name="T26" fmla="*/ 68 w 68"/>
                <a:gd name="T27" fmla="*/ 60 h 152"/>
                <a:gd name="T28" fmla="*/ 68 w 68"/>
                <a:gd name="T29" fmla="*/ 60 h 152"/>
                <a:gd name="T30" fmla="*/ 65 w 68"/>
                <a:gd name="T31" fmla="*/ 61 h 152"/>
                <a:gd name="T32" fmla="*/ 60 w 68"/>
                <a:gd name="T33" fmla="*/ 59 h 152"/>
                <a:gd name="T34" fmla="*/ 55 w 68"/>
                <a:gd name="T35" fmla="*/ 56 h 152"/>
                <a:gd name="T36" fmla="*/ 55 w 68"/>
                <a:gd name="T37" fmla="*/ 51 h 152"/>
                <a:gd name="T38" fmla="*/ 52 w 68"/>
                <a:gd name="T39" fmla="*/ 47 h 152"/>
                <a:gd name="T40" fmla="*/ 50 w 68"/>
                <a:gd name="T41" fmla="*/ 41 h 152"/>
                <a:gd name="T42" fmla="*/ 42 w 68"/>
                <a:gd name="T43" fmla="*/ 39 h 152"/>
                <a:gd name="T44" fmla="*/ 41 w 68"/>
                <a:gd name="T45" fmla="*/ 36 h 152"/>
                <a:gd name="T46" fmla="*/ 48 w 68"/>
                <a:gd name="T47" fmla="*/ 24 h 152"/>
                <a:gd name="T48" fmla="*/ 50 w 68"/>
                <a:gd name="T49" fmla="*/ 13 h 152"/>
                <a:gd name="T50" fmla="*/ 46 w 68"/>
                <a:gd name="T51" fmla="*/ 9 h 152"/>
                <a:gd name="T52" fmla="*/ 45 w 68"/>
                <a:gd name="T53" fmla="*/ 4 h 152"/>
                <a:gd name="T54" fmla="*/ 39 w 68"/>
                <a:gd name="T55" fmla="*/ 2 h 152"/>
                <a:gd name="T56" fmla="*/ 38 w 68"/>
                <a:gd name="T57" fmla="*/ 3 h 152"/>
                <a:gd name="T58" fmla="*/ 38 w 68"/>
                <a:gd name="T59" fmla="*/ 3 h 152"/>
                <a:gd name="T60" fmla="*/ 36 w 68"/>
                <a:gd name="T61" fmla="*/ 6 h 152"/>
                <a:gd name="T62" fmla="*/ 37 w 68"/>
                <a:gd name="T63" fmla="*/ 12 h 152"/>
                <a:gd name="T64" fmla="*/ 33 w 68"/>
                <a:gd name="T65" fmla="*/ 12 h 152"/>
                <a:gd name="T66" fmla="*/ 27 w 68"/>
                <a:gd name="T67" fmla="*/ 15 h 152"/>
                <a:gd name="T68" fmla="*/ 21 w 68"/>
                <a:gd name="T69" fmla="*/ 21 h 152"/>
                <a:gd name="T70" fmla="*/ 19 w 68"/>
                <a:gd name="T71" fmla="*/ 31 h 152"/>
                <a:gd name="T72" fmla="*/ 16 w 68"/>
                <a:gd name="T73" fmla="*/ 41 h 152"/>
                <a:gd name="T74" fmla="*/ 10 w 68"/>
                <a:gd name="T75" fmla="*/ 40 h 152"/>
                <a:gd name="T76" fmla="*/ 8 w 68"/>
                <a:gd name="T77" fmla="*/ 48 h 152"/>
                <a:gd name="T78" fmla="*/ 6 w 68"/>
                <a:gd name="T79" fmla="*/ 57 h 152"/>
                <a:gd name="T80" fmla="*/ 2 w 68"/>
                <a:gd name="T81" fmla="*/ 63 h 152"/>
                <a:gd name="T82" fmla="*/ 0 w 68"/>
                <a:gd name="T83" fmla="*/ 65 h 152"/>
                <a:gd name="T84" fmla="*/ 7 w 68"/>
                <a:gd name="T85" fmla="*/ 73 h 152"/>
                <a:gd name="T86" fmla="*/ 16 w 68"/>
                <a:gd name="T87" fmla="*/ 90 h 152"/>
                <a:gd name="T88" fmla="*/ 15 w 68"/>
                <a:gd name="T89" fmla="*/ 103 h 152"/>
                <a:gd name="T90" fmla="*/ 18 w 68"/>
                <a:gd name="T91" fmla="*/ 107 h 152"/>
                <a:gd name="T92" fmla="*/ 26 w 68"/>
                <a:gd name="T93" fmla="*/ 106 h 152"/>
                <a:gd name="T94" fmla="*/ 33 w 68"/>
                <a:gd name="T95" fmla="*/ 98 h 152"/>
                <a:gd name="T96" fmla="*/ 37 w 68"/>
                <a:gd name="T97" fmla="*/ 101 h 152"/>
                <a:gd name="T98" fmla="*/ 40 w 68"/>
                <a:gd name="T99" fmla="*/ 110 h 152"/>
                <a:gd name="T100" fmla="*/ 45 w 68"/>
                <a:gd name="T101" fmla="*/ 127 h 152"/>
                <a:gd name="T102" fmla="*/ 48 w 68"/>
                <a:gd name="T103" fmla="*/ 140 h 152"/>
                <a:gd name="T104" fmla="*/ 49 w 68"/>
                <a:gd name="T105" fmla="*/ 150 h 152"/>
                <a:gd name="T106" fmla="*/ 48 w 68"/>
                <a:gd name="T107" fmla="*/ 152 h 152"/>
                <a:gd name="T108" fmla="*/ 55 w 68"/>
                <a:gd name="T109" fmla="*/ 13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8" h="152">
                  <a:moveTo>
                    <a:pt x="55" y="139"/>
                  </a:moveTo>
                  <a:cubicBezTo>
                    <a:pt x="55" y="135"/>
                    <a:pt x="53" y="135"/>
                    <a:pt x="53" y="133"/>
                  </a:cubicBezTo>
                  <a:cubicBezTo>
                    <a:pt x="53" y="130"/>
                    <a:pt x="53" y="126"/>
                    <a:pt x="49" y="123"/>
                  </a:cubicBezTo>
                  <a:cubicBezTo>
                    <a:pt x="46" y="120"/>
                    <a:pt x="45" y="116"/>
                    <a:pt x="47" y="114"/>
                  </a:cubicBezTo>
                  <a:cubicBezTo>
                    <a:pt x="48" y="113"/>
                    <a:pt x="47" y="108"/>
                    <a:pt x="48" y="108"/>
                  </a:cubicBezTo>
                  <a:cubicBezTo>
                    <a:pt x="49" y="109"/>
                    <a:pt x="50" y="106"/>
                    <a:pt x="48" y="105"/>
                  </a:cubicBezTo>
                  <a:cubicBezTo>
                    <a:pt x="46" y="104"/>
                    <a:pt x="48" y="100"/>
                    <a:pt x="47" y="99"/>
                  </a:cubicBezTo>
                  <a:cubicBezTo>
                    <a:pt x="45" y="99"/>
                    <a:pt x="41" y="93"/>
                    <a:pt x="41" y="92"/>
                  </a:cubicBezTo>
                  <a:cubicBezTo>
                    <a:pt x="41" y="90"/>
                    <a:pt x="42" y="81"/>
                    <a:pt x="42" y="79"/>
                  </a:cubicBezTo>
                  <a:cubicBezTo>
                    <a:pt x="42" y="77"/>
                    <a:pt x="46" y="77"/>
                    <a:pt x="47" y="77"/>
                  </a:cubicBezTo>
                  <a:cubicBezTo>
                    <a:pt x="48" y="77"/>
                    <a:pt x="51" y="77"/>
                    <a:pt x="53" y="75"/>
                  </a:cubicBezTo>
                  <a:cubicBezTo>
                    <a:pt x="54" y="73"/>
                    <a:pt x="59" y="72"/>
                    <a:pt x="60" y="71"/>
                  </a:cubicBezTo>
                  <a:cubicBezTo>
                    <a:pt x="61" y="69"/>
                    <a:pt x="64" y="69"/>
                    <a:pt x="64" y="67"/>
                  </a:cubicBezTo>
                  <a:cubicBezTo>
                    <a:pt x="64" y="65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7" y="60"/>
                    <a:pt x="65" y="61"/>
                  </a:cubicBezTo>
                  <a:cubicBezTo>
                    <a:pt x="61" y="63"/>
                    <a:pt x="59" y="61"/>
                    <a:pt x="60" y="59"/>
                  </a:cubicBezTo>
                  <a:cubicBezTo>
                    <a:pt x="60" y="56"/>
                    <a:pt x="57" y="56"/>
                    <a:pt x="55" y="56"/>
                  </a:cubicBezTo>
                  <a:cubicBezTo>
                    <a:pt x="53" y="56"/>
                    <a:pt x="55" y="53"/>
                    <a:pt x="55" y="51"/>
                  </a:cubicBezTo>
                  <a:cubicBezTo>
                    <a:pt x="56" y="49"/>
                    <a:pt x="55" y="48"/>
                    <a:pt x="52" y="47"/>
                  </a:cubicBezTo>
                  <a:cubicBezTo>
                    <a:pt x="50" y="47"/>
                    <a:pt x="49" y="42"/>
                    <a:pt x="50" y="41"/>
                  </a:cubicBezTo>
                  <a:cubicBezTo>
                    <a:pt x="51" y="39"/>
                    <a:pt x="45" y="38"/>
                    <a:pt x="42" y="39"/>
                  </a:cubicBezTo>
                  <a:cubicBezTo>
                    <a:pt x="40" y="41"/>
                    <a:pt x="42" y="37"/>
                    <a:pt x="41" y="36"/>
                  </a:cubicBezTo>
                  <a:cubicBezTo>
                    <a:pt x="40" y="34"/>
                    <a:pt x="44" y="28"/>
                    <a:pt x="48" y="24"/>
                  </a:cubicBezTo>
                  <a:cubicBezTo>
                    <a:pt x="51" y="21"/>
                    <a:pt x="50" y="16"/>
                    <a:pt x="50" y="13"/>
                  </a:cubicBezTo>
                  <a:cubicBezTo>
                    <a:pt x="50" y="9"/>
                    <a:pt x="48" y="9"/>
                    <a:pt x="46" y="9"/>
                  </a:cubicBezTo>
                  <a:cubicBezTo>
                    <a:pt x="45" y="9"/>
                    <a:pt x="45" y="6"/>
                    <a:pt x="45" y="4"/>
                  </a:cubicBezTo>
                  <a:cubicBezTo>
                    <a:pt x="45" y="2"/>
                    <a:pt x="41" y="0"/>
                    <a:pt x="39" y="2"/>
                  </a:cubicBezTo>
                  <a:cubicBezTo>
                    <a:pt x="39" y="2"/>
                    <a:pt x="38" y="2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7" y="6"/>
                    <a:pt x="36" y="6"/>
                  </a:cubicBezTo>
                  <a:cubicBezTo>
                    <a:pt x="35" y="7"/>
                    <a:pt x="35" y="9"/>
                    <a:pt x="37" y="12"/>
                  </a:cubicBezTo>
                  <a:cubicBezTo>
                    <a:pt x="39" y="15"/>
                    <a:pt x="34" y="13"/>
                    <a:pt x="33" y="12"/>
                  </a:cubicBezTo>
                  <a:cubicBezTo>
                    <a:pt x="33" y="10"/>
                    <a:pt x="29" y="13"/>
                    <a:pt x="27" y="15"/>
                  </a:cubicBezTo>
                  <a:cubicBezTo>
                    <a:pt x="24" y="17"/>
                    <a:pt x="21" y="18"/>
                    <a:pt x="21" y="21"/>
                  </a:cubicBezTo>
                  <a:cubicBezTo>
                    <a:pt x="21" y="25"/>
                    <a:pt x="18" y="28"/>
                    <a:pt x="19" y="31"/>
                  </a:cubicBezTo>
                  <a:cubicBezTo>
                    <a:pt x="20" y="34"/>
                    <a:pt x="16" y="39"/>
                    <a:pt x="16" y="41"/>
                  </a:cubicBezTo>
                  <a:cubicBezTo>
                    <a:pt x="16" y="42"/>
                    <a:pt x="11" y="40"/>
                    <a:pt x="10" y="40"/>
                  </a:cubicBezTo>
                  <a:cubicBezTo>
                    <a:pt x="9" y="40"/>
                    <a:pt x="9" y="46"/>
                    <a:pt x="8" y="48"/>
                  </a:cubicBezTo>
                  <a:cubicBezTo>
                    <a:pt x="7" y="50"/>
                    <a:pt x="8" y="57"/>
                    <a:pt x="6" y="57"/>
                  </a:cubicBezTo>
                  <a:cubicBezTo>
                    <a:pt x="4" y="57"/>
                    <a:pt x="2" y="63"/>
                    <a:pt x="2" y="63"/>
                  </a:cubicBezTo>
                  <a:cubicBezTo>
                    <a:pt x="2" y="63"/>
                    <a:pt x="1" y="64"/>
                    <a:pt x="0" y="65"/>
                  </a:cubicBezTo>
                  <a:cubicBezTo>
                    <a:pt x="1" y="69"/>
                    <a:pt x="4" y="72"/>
                    <a:pt x="7" y="73"/>
                  </a:cubicBezTo>
                  <a:cubicBezTo>
                    <a:pt x="12" y="75"/>
                    <a:pt x="15" y="85"/>
                    <a:pt x="16" y="90"/>
                  </a:cubicBezTo>
                  <a:cubicBezTo>
                    <a:pt x="18" y="95"/>
                    <a:pt x="17" y="100"/>
                    <a:pt x="15" y="103"/>
                  </a:cubicBezTo>
                  <a:cubicBezTo>
                    <a:pt x="13" y="105"/>
                    <a:pt x="16" y="106"/>
                    <a:pt x="18" y="107"/>
                  </a:cubicBezTo>
                  <a:cubicBezTo>
                    <a:pt x="21" y="108"/>
                    <a:pt x="24" y="109"/>
                    <a:pt x="26" y="106"/>
                  </a:cubicBezTo>
                  <a:cubicBezTo>
                    <a:pt x="28" y="103"/>
                    <a:pt x="32" y="101"/>
                    <a:pt x="33" y="98"/>
                  </a:cubicBezTo>
                  <a:cubicBezTo>
                    <a:pt x="34" y="95"/>
                    <a:pt x="36" y="99"/>
                    <a:pt x="37" y="101"/>
                  </a:cubicBezTo>
                  <a:cubicBezTo>
                    <a:pt x="39" y="103"/>
                    <a:pt x="40" y="106"/>
                    <a:pt x="40" y="110"/>
                  </a:cubicBezTo>
                  <a:cubicBezTo>
                    <a:pt x="41" y="114"/>
                    <a:pt x="41" y="124"/>
                    <a:pt x="45" y="127"/>
                  </a:cubicBezTo>
                  <a:cubicBezTo>
                    <a:pt x="48" y="131"/>
                    <a:pt x="49" y="138"/>
                    <a:pt x="48" y="140"/>
                  </a:cubicBezTo>
                  <a:cubicBezTo>
                    <a:pt x="47" y="143"/>
                    <a:pt x="49" y="147"/>
                    <a:pt x="49" y="150"/>
                  </a:cubicBezTo>
                  <a:cubicBezTo>
                    <a:pt x="49" y="150"/>
                    <a:pt x="48" y="151"/>
                    <a:pt x="48" y="152"/>
                  </a:cubicBezTo>
                  <a:cubicBezTo>
                    <a:pt x="51" y="152"/>
                    <a:pt x="55" y="139"/>
                    <a:pt x="55" y="13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7" name="Freeform 244">
              <a:extLst>
                <a:ext uri="{FF2B5EF4-FFF2-40B4-BE49-F238E27FC236}">
                  <a16:creationId xmlns:a16="http://schemas.microsoft.com/office/drawing/2014/main" id="{97B13946-1E76-4FFD-7B0E-742833A4F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2026" y="3407159"/>
              <a:ext cx="93651" cy="57144"/>
            </a:xfrm>
            <a:custGeom>
              <a:avLst/>
              <a:gdLst>
                <a:gd name="T0" fmla="*/ 24 w 25"/>
                <a:gd name="T1" fmla="*/ 5 h 15"/>
                <a:gd name="T2" fmla="*/ 14 w 25"/>
                <a:gd name="T3" fmla="*/ 2 h 15"/>
                <a:gd name="T4" fmla="*/ 8 w 25"/>
                <a:gd name="T5" fmla="*/ 1 h 15"/>
                <a:gd name="T6" fmla="*/ 2 w 25"/>
                <a:gd name="T7" fmla="*/ 6 h 15"/>
                <a:gd name="T8" fmla="*/ 0 w 25"/>
                <a:gd name="T9" fmla="*/ 10 h 15"/>
                <a:gd name="T10" fmla="*/ 2 w 25"/>
                <a:gd name="T11" fmla="*/ 11 h 15"/>
                <a:gd name="T12" fmla="*/ 8 w 25"/>
                <a:gd name="T13" fmla="*/ 13 h 15"/>
                <a:gd name="T14" fmla="*/ 15 w 25"/>
                <a:gd name="T15" fmla="*/ 13 h 15"/>
                <a:gd name="T16" fmla="*/ 23 w 25"/>
                <a:gd name="T17" fmla="*/ 12 h 15"/>
                <a:gd name="T18" fmla="*/ 22 w 25"/>
                <a:gd name="T19" fmla="*/ 5 h 15"/>
                <a:gd name="T20" fmla="*/ 24 w 25"/>
                <a:gd name="T21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15">
                  <a:moveTo>
                    <a:pt x="24" y="5"/>
                  </a:moveTo>
                  <a:cubicBezTo>
                    <a:pt x="19" y="0"/>
                    <a:pt x="18" y="4"/>
                    <a:pt x="14" y="2"/>
                  </a:cubicBezTo>
                  <a:cubicBezTo>
                    <a:pt x="11" y="0"/>
                    <a:pt x="9" y="0"/>
                    <a:pt x="8" y="1"/>
                  </a:cubicBezTo>
                  <a:cubicBezTo>
                    <a:pt x="6" y="2"/>
                    <a:pt x="4" y="2"/>
                    <a:pt x="2" y="6"/>
                  </a:cubicBezTo>
                  <a:cubicBezTo>
                    <a:pt x="2" y="7"/>
                    <a:pt x="1" y="9"/>
                    <a:pt x="0" y="10"/>
                  </a:cubicBezTo>
                  <a:cubicBezTo>
                    <a:pt x="1" y="11"/>
                    <a:pt x="2" y="12"/>
                    <a:pt x="2" y="11"/>
                  </a:cubicBezTo>
                  <a:cubicBezTo>
                    <a:pt x="4" y="11"/>
                    <a:pt x="5" y="13"/>
                    <a:pt x="8" y="13"/>
                  </a:cubicBezTo>
                  <a:cubicBezTo>
                    <a:pt x="10" y="12"/>
                    <a:pt x="12" y="14"/>
                    <a:pt x="15" y="13"/>
                  </a:cubicBezTo>
                  <a:cubicBezTo>
                    <a:pt x="19" y="12"/>
                    <a:pt x="22" y="15"/>
                    <a:pt x="23" y="12"/>
                  </a:cubicBezTo>
                  <a:cubicBezTo>
                    <a:pt x="25" y="10"/>
                    <a:pt x="22" y="5"/>
                    <a:pt x="22" y="5"/>
                  </a:cubicBezTo>
                  <a:cubicBezTo>
                    <a:pt x="22" y="5"/>
                    <a:pt x="23" y="5"/>
                    <a:pt x="24" y="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8" name="Freeform 245">
              <a:extLst>
                <a:ext uri="{FF2B5EF4-FFF2-40B4-BE49-F238E27FC236}">
                  <a16:creationId xmlns:a16="http://schemas.microsoft.com/office/drawing/2014/main" id="{2B4705C8-4580-0E94-6EA4-3B2B63DE3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1391" y="3565888"/>
              <a:ext cx="220634" cy="465078"/>
            </a:xfrm>
            <a:custGeom>
              <a:avLst/>
              <a:gdLst>
                <a:gd name="T0" fmla="*/ 44 w 59"/>
                <a:gd name="T1" fmla="*/ 15 h 124"/>
                <a:gd name="T2" fmla="*/ 36 w 59"/>
                <a:gd name="T3" fmla="*/ 9 h 124"/>
                <a:gd name="T4" fmla="*/ 34 w 59"/>
                <a:gd name="T5" fmla="*/ 5 h 124"/>
                <a:gd name="T6" fmla="*/ 27 w 59"/>
                <a:gd name="T7" fmla="*/ 1 h 124"/>
                <a:gd name="T8" fmla="*/ 21 w 59"/>
                <a:gd name="T9" fmla="*/ 5 h 124"/>
                <a:gd name="T10" fmla="*/ 15 w 59"/>
                <a:gd name="T11" fmla="*/ 6 h 124"/>
                <a:gd name="T12" fmla="*/ 8 w 59"/>
                <a:gd name="T13" fmla="*/ 6 h 124"/>
                <a:gd name="T14" fmla="*/ 2 w 59"/>
                <a:gd name="T15" fmla="*/ 7 h 124"/>
                <a:gd name="T16" fmla="*/ 0 w 59"/>
                <a:gd name="T17" fmla="*/ 9 h 124"/>
                <a:gd name="T18" fmla="*/ 3 w 59"/>
                <a:gd name="T19" fmla="*/ 13 h 124"/>
                <a:gd name="T20" fmla="*/ 7 w 59"/>
                <a:gd name="T21" fmla="*/ 19 h 124"/>
                <a:gd name="T22" fmla="*/ 14 w 59"/>
                <a:gd name="T23" fmla="*/ 23 h 124"/>
                <a:gd name="T24" fmla="*/ 19 w 59"/>
                <a:gd name="T25" fmla="*/ 24 h 124"/>
                <a:gd name="T26" fmla="*/ 22 w 59"/>
                <a:gd name="T27" fmla="*/ 30 h 124"/>
                <a:gd name="T28" fmla="*/ 16 w 59"/>
                <a:gd name="T29" fmla="*/ 34 h 124"/>
                <a:gd name="T30" fmla="*/ 24 w 59"/>
                <a:gd name="T31" fmla="*/ 41 h 124"/>
                <a:gd name="T32" fmla="*/ 28 w 59"/>
                <a:gd name="T33" fmla="*/ 48 h 124"/>
                <a:gd name="T34" fmla="*/ 35 w 59"/>
                <a:gd name="T35" fmla="*/ 57 h 124"/>
                <a:gd name="T36" fmla="*/ 42 w 59"/>
                <a:gd name="T37" fmla="*/ 63 h 124"/>
                <a:gd name="T38" fmla="*/ 43 w 59"/>
                <a:gd name="T39" fmla="*/ 71 h 124"/>
                <a:gd name="T40" fmla="*/ 46 w 59"/>
                <a:gd name="T41" fmla="*/ 85 h 124"/>
                <a:gd name="T42" fmla="*/ 40 w 59"/>
                <a:gd name="T43" fmla="*/ 94 h 124"/>
                <a:gd name="T44" fmla="*/ 33 w 59"/>
                <a:gd name="T45" fmla="*/ 98 h 124"/>
                <a:gd name="T46" fmla="*/ 33 w 59"/>
                <a:gd name="T47" fmla="*/ 106 h 124"/>
                <a:gd name="T48" fmla="*/ 24 w 59"/>
                <a:gd name="T49" fmla="*/ 106 h 124"/>
                <a:gd name="T50" fmla="*/ 19 w 59"/>
                <a:gd name="T51" fmla="*/ 109 h 124"/>
                <a:gd name="T52" fmla="*/ 22 w 59"/>
                <a:gd name="T53" fmla="*/ 112 h 124"/>
                <a:gd name="T54" fmla="*/ 20 w 59"/>
                <a:gd name="T55" fmla="*/ 119 h 124"/>
                <a:gd name="T56" fmla="*/ 24 w 59"/>
                <a:gd name="T57" fmla="*/ 122 h 124"/>
                <a:gd name="T58" fmla="*/ 32 w 59"/>
                <a:gd name="T59" fmla="*/ 117 h 124"/>
                <a:gd name="T60" fmla="*/ 33 w 59"/>
                <a:gd name="T61" fmla="*/ 114 h 124"/>
                <a:gd name="T62" fmla="*/ 36 w 59"/>
                <a:gd name="T63" fmla="*/ 109 h 124"/>
                <a:gd name="T64" fmla="*/ 41 w 59"/>
                <a:gd name="T65" fmla="*/ 109 h 124"/>
                <a:gd name="T66" fmla="*/ 52 w 59"/>
                <a:gd name="T67" fmla="*/ 103 h 124"/>
                <a:gd name="T68" fmla="*/ 58 w 59"/>
                <a:gd name="T69" fmla="*/ 93 h 124"/>
                <a:gd name="T70" fmla="*/ 56 w 59"/>
                <a:gd name="T71" fmla="*/ 74 h 124"/>
                <a:gd name="T72" fmla="*/ 48 w 59"/>
                <a:gd name="T73" fmla="*/ 61 h 124"/>
                <a:gd name="T74" fmla="*/ 35 w 59"/>
                <a:gd name="T75" fmla="*/ 50 h 124"/>
                <a:gd name="T76" fmla="*/ 32 w 59"/>
                <a:gd name="T77" fmla="*/ 44 h 124"/>
                <a:gd name="T78" fmla="*/ 30 w 59"/>
                <a:gd name="T79" fmla="*/ 33 h 124"/>
                <a:gd name="T80" fmla="*/ 35 w 59"/>
                <a:gd name="T81" fmla="*/ 26 h 124"/>
                <a:gd name="T82" fmla="*/ 39 w 59"/>
                <a:gd name="T83" fmla="*/ 22 h 124"/>
                <a:gd name="T84" fmla="*/ 45 w 59"/>
                <a:gd name="T85" fmla="*/ 17 h 124"/>
                <a:gd name="T86" fmla="*/ 46 w 59"/>
                <a:gd name="T87" fmla="*/ 17 h 124"/>
                <a:gd name="T88" fmla="*/ 44 w 59"/>
                <a:gd name="T89" fmla="*/ 1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9" h="124">
                  <a:moveTo>
                    <a:pt x="44" y="15"/>
                  </a:moveTo>
                  <a:cubicBezTo>
                    <a:pt x="42" y="15"/>
                    <a:pt x="36" y="11"/>
                    <a:pt x="36" y="9"/>
                  </a:cubicBezTo>
                  <a:cubicBezTo>
                    <a:pt x="36" y="8"/>
                    <a:pt x="39" y="5"/>
                    <a:pt x="34" y="5"/>
                  </a:cubicBezTo>
                  <a:cubicBezTo>
                    <a:pt x="29" y="4"/>
                    <a:pt x="28" y="2"/>
                    <a:pt x="27" y="1"/>
                  </a:cubicBezTo>
                  <a:cubicBezTo>
                    <a:pt x="26" y="0"/>
                    <a:pt x="22" y="3"/>
                    <a:pt x="21" y="5"/>
                  </a:cubicBezTo>
                  <a:cubicBezTo>
                    <a:pt x="19" y="8"/>
                    <a:pt x="18" y="5"/>
                    <a:pt x="15" y="6"/>
                  </a:cubicBezTo>
                  <a:cubicBezTo>
                    <a:pt x="12" y="8"/>
                    <a:pt x="10" y="4"/>
                    <a:pt x="8" y="6"/>
                  </a:cubicBezTo>
                  <a:cubicBezTo>
                    <a:pt x="7" y="8"/>
                    <a:pt x="4" y="5"/>
                    <a:pt x="2" y="7"/>
                  </a:cubicBezTo>
                  <a:cubicBezTo>
                    <a:pt x="2" y="8"/>
                    <a:pt x="1" y="8"/>
                    <a:pt x="0" y="9"/>
                  </a:cubicBezTo>
                  <a:cubicBezTo>
                    <a:pt x="1" y="10"/>
                    <a:pt x="3" y="12"/>
                    <a:pt x="3" y="13"/>
                  </a:cubicBezTo>
                  <a:cubicBezTo>
                    <a:pt x="3" y="15"/>
                    <a:pt x="7" y="16"/>
                    <a:pt x="7" y="19"/>
                  </a:cubicBezTo>
                  <a:cubicBezTo>
                    <a:pt x="7" y="21"/>
                    <a:pt x="12" y="24"/>
                    <a:pt x="14" y="23"/>
                  </a:cubicBezTo>
                  <a:cubicBezTo>
                    <a:pt x="15" y="21"/>
                    <a:pt x="19" y="20"/>
                    <a:pt x="19" y="24"/>
                  </a:cubicBezTo>
                  <a:cubicBezTo>
                    <a:pt x="20" y="28"/>
                    <a:pt x="22" y="28"/>
                    <a:pt x="22" y="30"/>
                  </a:cubicBezTo>
                  <a:cubicBezTo>
                    <a:pt x="22" y="33"/>
                    <a:pt x="17" y="31"/>
                    <a:pt x="16" y="34"/>
                  </a:cubicBezTo>
                  <a:cubicBezTo>
                    <a:pt x="15" y="36"/>
                    <a:pt x="24" y="39"/>
                    <a:pt x="24" y="41"/>
                  </a:cubicBezTo>
                  <a:cubicBezTo>
                    <a:pt x="24" y="43"/>
                    <a:pt x="27" y="46"/>
                    <a:pt x="28" y="48"/>
                  </a:cubicBezTo>
                  <a:cubicBezTo>
                    <a:pt x="29" y="51"/>
                    <a:pt x="34" y="54"/>
                    <a:pt x="35" y="57"/>
                  </a:cubicBezTo>
                  <a:cubicBezTo>
                    <a:pt x="36" y="60"/>
                    <a:pt x="40" y="62"/>
                    <a:pt x="42" y="63"/>
                  </a:cubicBezTo>
                  <a:cubicBezTo>
                    <a:pt x="43" y="65"/>
                    <a:pt x="44" y="68"/>
                    <a:pt x="43" y="71"/>
                  </a:cubicBezTo>
                  <a:cubicBezTo>
                    <a:pt x="43" y="74"/>
                    <a:pt x="43" y="80"/>
                    <a:pt x="46" y="85"/>
                  </a:cubicBezTo>
                  <a:cubicBezTo>
                    <a:pt x="49" y="89"/>
                    <a:pt x="42" y="91"/>
                    <a:pt x="40" y="94"/>
                  </a:cubicBezTo>
                  <a:cubicBezTo>
                    <a:pt x="38" y="96"/>
                    <a:pt x="39" y="100"/>
                    <a:pt x="33" y="98"/>
                  </a:cubicBezTo>
                  <a:cubicBezTo>
                    <a:pt x="27" y="97"/>
                    <a:pt x="34" y="104"/>
                    <a:pt x="33" y="106"/>
                  </a:cubicBezTo>
                  <a:cubicBezTo>
                    <a:pt x="32" y="108"/>
                    <a:pt x="24" y="104"/>
                    <a:pt x="24" y="106"/>
                  </a:cubicBezTo>
                  <a:cubicBezTo>
                    <a:pt x="24" y="107"/>
                    <a:pt x="21" y="108"/>
                    <a:pt x="19" y="109"/>
                  </a:cubicBezTo>
                  <a:cubicBezTo>
                    <a:pt x="20" y="111"/>
                    <a:pt x="21" y="111"/>
                    <a:pt x="22" y="112"/>
                  </a:cubicBezTo>
                  <a:cubicBezTo>
                    <a:pt x="24" y="113"/>
                    <a:pt x="20" y="115"/>
                    <a:pt x="20" y="119"/>
                  </a:cubicBezTo>
                  <a:cubicBezTo>
                    <a:pt x="20" y="123"/>
                    <a:pt x="23" y="124"/>
                    <a:pt x="24" y="122"/>
                  </a:cubicBezTo>
                  <a:cubicBezTo>
                    <a:pt x="25" y="121"/>
                    <a:pt x="30" y="117"/>
                    <a:pt x="32" y="117"/>
                  </a:cubicBezTo>
                  <a:cubicBezTo>
                    <a:pt x="33" y="116"/>
                    <a:pt x="32" y="114"/>
                    <a:pt x="33" y="114"/>
                  </a:cubicBezTo>
                  <a:cubicBezTo>
                    <a:pt x="35" y="114"/>
                    <a:pt x="35" y="111"/>
                    <a:pt x="36" y="109"/>
                  </a:cubicBezTo>
                  <a:cubicBezTo>
                    <a:pt x="36" y="108"/>
                    <a:pt x="38" y="108"/>
                    <a:pt x="41" y="109"/>
                  </a:cubicBezTo>
                  <a:cubicBezTo>
                    <a:pt x="43" y="109"/>
                    <a:pt x="47" y="106"/>
                    <a:pt x="52" y="103"/>
                  </a:cubicBezTo>
                  <a:cubicBezTo>
                    <a:pt x="56" y="101"/>
                    <a:pt x="56" y="100"/>
                    <a:pt x="58" y="93"/>
                  </a:cubicBezTo>
                  <a:cubicBezTo>
                    <a:pt x="59" y="85"/>
                    <a:pt x="56" y="76"/>
                    <a:pt x="56" y="74"/>
                  </a:cubicBezTo>
                  <a:cubicBezTo>
                    <a:pt x="56" y="72"/>
                    <a:pt x="50" y="61"/>
                    <a:pt x="48" y="61"/>
                  </a:cubicBezTo>
                  <a:cubicBezTo>
                    <a:pt x="46" y="61"/>
                    <a:pt x="37" y="52"/>
                    <a:pt x="35" y="50"/>
                  </a:cubicBezTo>
                  <a:cubicBezTo>
                    <a:pt x="34" y="49"/>
                    <a:pt x="34" y="46"/>
                    <a:pt x="32" y="44"/>
                  </a:cubicBezTo>
                  <a:cubicBezTo>
                    <a:pt x="29" y="42"/>
                    <a:pt x="29" y="37"/>
                    <a:pt x="30" y="33"/>
                  </a:cubicBezTo>
                  <a:cubicBezTo>
                    <a:pt x="30" y="30"/>
                    <a:pt x="36" y="29"/>
                    <a:pt x="35" y="26"/>
                  </a:cubicBezTo>
                  <a:cubicBezTo>
                    <a:pt x="35" y="24"/>
                    <a:pt x="36" y="22"/>
                    <a:pt x="39" y="22"/>
                  </a:cubicBezTo>
                  <a:cubicBezTo>
                    <a:pt x="41" y="21"/>
                    <a:pt x="44" y="19"/>
                    <a:pt x="45" y="17"/>
                  </a:cubicBezTo>
                  <a:cubicBezTo>
                    <a:pt x="45" y="17"/>
                    <a:pt x="45" y="17"/>
                    <a:pt x="46" y="17"/>
                  </a:cubicBezTo>
                  <a:cubicBezTo>
                    <a:pt x="45" y="16"/>
                    <a:pt x="44" y="16"/>
                    <a:pt x="44" y="1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79" name="Freeform 246">
              <a:extLst>
                <a:ext uri="{FF2B5EF4-FFF2-40B4-BE49-F238E27FC236}">
                  <a16:creationId xmlns:a16="http://schemas.microsoft.com/office/drawing/2014/main" id="{3C797A63-C15C-CCF8-6CDA-00E041C3D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1388" y="3843667"/>
              <a:ext cx="184127" cy="131746"/>
            </a:xfrm>
            <a:custGeom>
              <a:avLst/>
              <a:gdLst>
                <a:gd name="T0" fmla="*/ 24 w 49"/>
                <a:gd name="T1" fmla="*/ 32 h 35"/>
                <a:gd name="T2" fmla="*/ 33 w 49"/>
                <a:gd name="T3" fmla="*/ 32 h 35"/>
                <a:gd name="T4" fmla="*/ 33 w 49"/>
                <a:gd name="T5" fmla="*/ 24 h 35"/>
                <a:gd name="T6" fmla="*/ 40 w 49"/>
                <a:gd name="T7" fmla="*/ 20 h 35"/>
                <a:gd name="T8" fmla="*/ 46 w 49"/>
                <a:gd name="T9" fmla="*/ 11 h 35"/>
                <a:gd name="T10" fmla="*/ 43 w 49"/>
                <a:gd name="T11" fmla="*/ 1 h 35"/>
                <a:gd name="T12" fmla="*/ 37 w 49"/>
                <a:gd name="T13" fmla="*/ 2 h 35"/>
                <a:gd name="T14" fmla="*/ 32 w 49"/>
                <a:gd name="T15" fmla="*/ 4 h 35"/>
                <a:gd name="T16" fmla="*/ 29 w 49"/>
                <a:gd name="T17" fmla="*/ 6 h 35"/>
                <a:gd name="T18" fmla="*/ 25 w 49"/>
                <a:gd name="T19" fmla="*/ 2 h 35"/>
                <a:gd name="T20" fmla="*/ 14 w 49"/>
                <a:gd name="T21" fmla="*/ 2 h 35"/>
                <a:gd name="T22" fmla="*/ 3 w 49"/>
                <a:gd name="T23" fmla="*/ 8 h 35"/>
                <a:gd name="T24" fmla="*/ 3 w 49"/>
                <a:gd name="T25" fmla="*/ 15 h 35"/>
                <a:gd name="T26" fmla="*/ 4 w 49"/>
                <a:gd name="T27" fmla="*/ 21 h 35"/>
                <a:gd name="T28" fmla="*/ 4 w 49"/>
                <a:gd name="T29" fmla="*/ 21 h 35"/>
                <a:gd name="T30" fmla="*/ 6 w 49"/>
                <a:gd name="T31" fmla="*/ 28 h 35"/>
                <a:gd name="T32" fmla="*/ 11 w 49"/>
                <a:gd name="T33" fmla="*/ 29 h 35"/>
                <a:gd name="T34" fmla="*/ 12 w 49"/>
                <a:gd name="T35" fmla="*/ 34 h 35"/>
                <a:gd name="T36" fmla="*/ 18 w 49"/>
                <a:gd name="T37" fmla="*/ 34 h 35"/>
                <a:gd name="T38" fmla="*/ 19 w 49"/>
                <a:gd name="T39" fmla="*/ 35 h 35"/>
                <a:gd name="T40" fmla="*/ 24 w 49"/>
                <a:gd name="T41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9" h="35">
                  <a:moveTo>
                    <a:pt x="24" y="32"/>
                  </a:moveTo>
                  <a:cubicBezTo>
                    <a:pt x="24" y="30"/>
                    <a:pt x="32" y="34"/>
                    <a:pt x="33" y="32"/>
                  </a:cubicBezTo>
                  <a:cubicBezTo>
                    <a:pt x="34" y="30"/>
                    <a:pt x="27" y="23"/>
                    <a:pt x="33" y="24"/>
                  </a:cubicBezTo>
                  <a:cubicBezTo>
                    <a:pt x="39" y="26"/>
                    <a:pt x="38" y="22"/>
                    <a:pt x="40" y="20"/>
                  </a:cubicBezTo>
                  <a:cubicBezTo>
                    <a:pt x="42" y="17"/>
                    <a:pt x="49" y="15"/>
                    <a:pt x="46" y="11"/>
                  </a:cubicBezTo>
                  <a:cubicBezTo>
                    <a:pt x="44" y="7"/>
                    <a:pt x="43" y="4"/>
                    <a:pt x="43" y="1"/>
                  </a:cubicBezTo>
                  <a:cubicBezTo>
                    <a:pt x="41" y="2"/>
                    <a:pt x="39" y="2"/>
                    <a:pt x="37" y="2"/>
                  </a:cubicBezTo>
                  <a:cubicBezTo>
                    <a:pt x="36" y="1"/>
                    <a:pt x="32" y="1"/>
                    <a:pt x="32" y="4"/>
                  </a:cubicBezTo>
                  <a:cubicBezTo>
                    <a:pt x="32" y="6"/>
                    <a:pt x="29" y="7"/>
                    <a:pt x="29" y="6"/>
                  </a:cubicBezTo>
                  <a:cubicBezTo>
                    <a:pt x="30" y="4"/>
                    <a:pt x="27" y="5"/>
                    <a:pt x="25" y="2"/>
                  </a:cubicBezTo>
                  <a:cubicBezTo>
                    <a:pt x="23" y="0"/>
                    <a:pt x="17" y="3"/>
                    <a:pt x="14" y="2"/>
                  </a:cubicBezTo>
                  <a:cubicBezTo>
                    <a:pt x="11" y="1"/>
                    <a:pt x="6" y="4"/>
                    <a:pt x="3" y="8"/>
                  </a:cubicBezTo>
                  <a:cubicBezTo>
                    <a:pt x="0" y="11"/>
                    <a:pt x="3" y="11"/>
                    <a:pt x="3" y="15"/>
                  </a:cubicBezTo>
                  <a:cubicBezTo>
                    <a:pt x="3" y="18"/>
                    <a:pt x="5" y="18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7" y="23"/>
                    <a:pt x="6" y="26"/>
                    <a:pt x="6" y="28"/>
                  </a:cubicBezTo>
                  <a:cubicBezTo>
                    <a:pt x="7" y="31"/>
                    <a:pt x="10" y="29"/>
                    <a:pt x="11" y="29"/>
                  </a:cubicBezTo>
                  <a:cubicBezTo>
                    <a:pt x="13" y="29"/>
                    <a:pt x="10" y="32"/>
                    <a:pt x="12" y="34"/>
                  </a:cubicBezTo>
                  <a:cubicBezTo>
                    <a:pt x="13" y="35"/>
                    <a:pt x="17" y="32"/>
                    <a:pt x="18" y="34"/>
                  </a:cubicBezTo>
                  <a:cubicBezTo>
                    <a:pt x="18" y="35"/>
                    <a:pt x="19" y="35"/>
                    <a:pt x="19" y="35"/>
                  </a:cubicBezTo>
                  <a:cubicBezTo>
                    <a:pt x="21" y="34"/>
                    <a:pt x="24" y="33"/>
                    <a:pt x="24" y="3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0" name="Freeform 247">
              <a:extLst>
                <a:ext uri="{FF2B5EF4-FFF2-40B4-BE49-F238E27FC236}">
                  <a16:creationId xmlns:a16="http://schemas.microsoft.com/office/drawing/2014/main" id="{DB6760BC-15CC-AB5C-3BB4-904CDE06925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1073" y="3596046"/>
              <a:ext cx="225396" cy="273015"/>
            </a:xfrm>
            <a:custGeom>
              <a:avLst/>
              <a:gdLst>
                <a:gd name="T0" fmla="*/ 40 w 60"/>
                <a:gd name="T1" fmla="*/ 33 h 73"/>
                <a:gd name="T2" fmla="*/ 32 w 60"/>
                <a:gd name="T3" fmla="*/ 26 h 73"/>
                <a:gd name="T4" fmla="*/ 38 w 60"/>
                <a:gd name="T5" fmla="*/ 22 h 73"/>
                <a:gd name="T6" fmla="*/ 35 w 60"/>
                <a:gd name="T7" fmla="*/ 16 h 73"/>
                <a:gd name="T8" fmla="*/ 30 w 60"/>
                <a:gd name="T9" fmla="*/ 15 h 73"/>
                <a:gd name="T10" fmla="*/ 23 w 60"/>
                <a:gd name="T11" fmla="*/ 11 h 73"/>
                <a:gd name="T12" fmla="*/ 19 w 60"/>
                <a:gd name="T13" fmla="*/ 5 h 73"/>
                <a:gd name="T14" fmla="*/ 16 w 60"/>
                <a:gd name="T15" fmla="*/ 1 h 73"/>
                <a:gd name="T16" fmla="*/ 13 w 60"/>
                <a:gd name="T17" fmla="*/ 1 h 73"/>
                <a:gd name="T18" fmla="*/ 12 w 60"/>
                <a:gd name="T19" fmla="*/ 5 h 73"/>
                <a:gd name="T20" fmla="*/ 11 w 60"/>
                <a:gd name="T21" fmla="*/ 11 h 73"/>
                <a:gd name="T22" fmla="*/ 7 w 60"/>
                <a:gd name="T23" fmla="*/ 7 h 73"/>
                <a:gd name="T24" fmla="*/ 3 w 60"/>
                <a:gd name="T25" fmla="*/ 14 h 73"/>
                <a:gd name="T26" fmla="*/ 0 w 60"/>
                <a:gd name="T27" fmla="*/ 16 h 73"/>
                <a:gd name="T28" fmla="*/ 2 w 60"/>
                <a:gd name="T29" fmla="*/ 18 h 73"/>
                <a:gd name="T30" fmla="*/ 2 w 60"/>
                <a:gd name="T31" fmla="*/ 24 h 73"/>
                <a:gd name="T32" fmla="*/ 8 w 60"/>
                <a:gd name="T33" fmla="*/ 26 h 73"/>
                <a:gd name="T34" fmla="*/ 7 w 60"/>
                <a:gd name="T35" fmla="*/ 35 h 73"/>
                <a:gd name="T36" fmla="*/ 5 w 60"/>
                <a:gd name="T37" fmla="*/ 41 h 73"/>
                <a:gd name="T38" fmla="*/ 12 w 60"/>
                <a:gd name="T39" fmla="*/ 38 h 73"/>
                <a:gd name="T40" fmla="*/ 18 w 60"/>
                <a:gd name="T41" fmla="*/ 38 h 73"/>
                <a:gd name="T42" fmla="*/ 23 w 60"/>
                <a:gd name="T43" fmla="*/ 37 h 73"/>
                <a:gd name="T44" fmla="*/ 31 w 60"/>
                <a:gd name="T45" fmla="*/ 36 h 73"/>
                <a:gd name="T46" fmla="*/ 37 w 60"/>
                <a:gd name="T47" fmla="*/ 42 h 73"/>
                <a:gd name="T48" fmla="*/ 38 w 60"/>
                <a:gd name="T49" fmla="*/ 52 h 73"/>
                <a:gd name="T50" fmla="*/ 43 w 60"/>
                <a:gd name="T51" fmla="*/ 60 h 73"/>
                <a:gd name="T52" fmla="*/ 42 w 60"/>
                <a:gd name="T53" fmla="*/ 69 h 73"/>
                <a:gd name="T54" fmla="*/ 45 w 60"/>
                <a:gd name="T55" fmla="*/ 72 h 73"/>
                <a:gd name="T56" fmla="*/ 48 w 60"/>
                <a:gd name="T57" fmla="*/ 70 h 73"/>
                <a:gd name="T58" fmla="*/ 53 w 60"/>
                <a:gd name="T59" fmla="*/ 68 h 73"/>
                <a:gd name="T60" fmla="*/ 59 w 60"/>
                <a:gd name="T61" fmla="*/ 67 h 73"/>
                <a:gd name="T62" fmla="*/ 59 w 60"/>
                <a:gd name="T63" fmla="*/ 63 h 73"/>
                <a:gd name="T64" fmla="*/ 58 w 60"/>
                <a:gd name="T65" fmla="*/ 55 h 73"/>
                <a:gd name="T66" fmla="*/ 51 w 60"/>
                <a:gd name="T67" fmla="*/ 49 h 73"/>
                <a:gd name="T68" fmla="*/ 44 w 60"/>
                <a:gd name="T69" fmla="*/ 40 h 73"/>
                <a:gd name="T70" fmla="*/ 40 w 60"/>
                <a:gd name="T71" fmla="*/ 3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3">
                  <a:moveTo>
                    <a:pt x="40" y="33"/>
                  </a:moveTo>
                  <a:cubicBezTo>
                    <a:pt x="40" y="31"/>
                    <a:pt x="31" y="28"/>
                    <a:pt x="32" y="26"/>
                  </a:cubicBezTo>
                  <a:cubicBezTo>
                    <a:pt x="33" y="23"/>
                    <a:pt x="38" y="25"/>
                    <a:pt x="38" y="22"/>
                  </a:cubicBezTo>
                  <a:cubicBezTo>
                    <a:pt x="38" y="20"/>
                    <a:pt x="36" y="20"/>
                    <a:pt x="35" y="16"/>
                  </a:cubicBezTo>
                  <a:cubicBezTo>
                    <a:pt x="35" y="12"/>
                    <a:pt x="31" y="13"/>
                    <a:pt x="30" y="15"/>
                  </a:cubicBezTo>
                  <a:cubicBezTo>
                    <a:pt x="28" y="16"/>
                    <a:pt x="23" y="13"/>
                    <a:pt x="23" y="11"/>
                  </a:cubicBezTo>
                  <a:cubicBezTo>
                    <a:pt x="23" y="8"/>
                    <a:pt x="19" y="7"/>
                    <a:pt x="19" y="5"/>
                  </a:cubicBezTo>
                  <a:cubicBezTo>
                    <a:pt x="19" y="4"/>
                    <a:pt x="17" y="2"/>
                    <a:pt x="16" y="1"/>
                  </a:cubicBezTo>
                  <a:cubicBezTo>
                    <a:pt x="15" y="1"/>
                    <a:pt x="13" y="1"/>
                    <a:pt x="13" y="1"/>
                  </a:cubicBezTo>
                  <a:cubicBezTo>
                    <a:pt x="12" y="0"/>
                    <a:pt x="11" y="4"/>
                    <a:pt x="12" y="5"/>
                  </a:cubicBezTo>
                  <a:cubicBezTo>
                    <a:pt x="13" y="6"/>
                    <a:pt x="14" y="12"/>
                    <a:pt x="11" y="11"/>
                  </a:cubicBezTo>
                  <a:cubicBezTo>
                    <a:pt x="9" y="11"/>
                    <a:pt x="9" y="7"/>
                    <a:pt x="7" y="7"/>
                  </a:cubicBezTo>
                  <a:cubicBezTo>
                    <a:pt x="7" y="7"/>
                    <a:pt x="3" y="12"/>
                    <a:pt x="3" y="14"/>
                  </a:cubicBezTo>
                  <a:cubicBezTo>
                    <a:pt x="3" y="15"/>
                    <a:pt x="1" y="16"/>
                    <a:pt x="0" y="16"/>
                  </a:cubicBezTo>
                  <a:cubicBezTo>
                    <a:pt x="1" y="17"/>
                    <a:pt x="2" y="18"/>
                    <a:pt x="2" y="18"/>
                  </a:cubicBezTo>
                  <a:cubicBezTo>
                    <a:pt x="3" y="19"/>
                    <a:pt x="1" y="22"/>
                    <a:pt x="2" y="24"/>
                  </a:cubicBezTo>
                  <a:cubicBezTo>
                    <a:pt x="4" y="27"/>
                    <a:pt x="7" y="23"/>
                    <a:pt x="8" y="26"/>
                  </a:cubicBezTo>
                  <a:cubicBezTo>
                    <a:pt x="9" y="30"/>
                    <a:pt x="7" y="31"/>
                    <a:pt x="7" y="35"/>
                  </a:cubicBezTo>
                  <a:cubicBezTo>
                    <a:pt x="7" y="38"/>
                    <a:pt x="5" y="38"/>
                    <a:pt x="5" y="41"/>
                  </a:cubicBezTo>
                  <a:cubicBezTo>
                    <a:pt x="6" y="44"/>
                    <a:pt x="10" y="40"/>
                    <a:pt x="12" y="38"/>
                  </a:cubicBezTo>
                  <a:cubicBezTo>
                    <a:pt x="15" y="36"/>
                    <a:pt x="17" y="37"/>
                    <a:pt x="18" y="38"/>
                  </a:cubicBezTo>
                  <a:cubicBezTo>
                    <a:pt x="19" y="39"/>
                    <a:pt x="23" y="38"/>
                    <a:pt x="23" y="37"/>
                  </a:cubicBezTo>
                  <a:cubicBezTo>
                    <a:pt x="24" y="35"/>
                    <a:pt x="29" y="34"/>
                    <a:pt x="31" y="36"/>
                  </a:cubicBezTo>
                  <a:cubicBezTo>
                    <a:pt x="33" y="38"/>
                    <a:pt x="34" y="41"/>
                    <a:pt x="37" y="42"/>
                  </a:cubicBezTo>
                  <a:cubicBezTo>
                    <a:pt x="39" y="43"/>
                    <a:pt x="35" y="51"/>
                    <a:pt x="38" y="52"/>
                  </a:cubicBezTo>
                  <a:cubicBezTo>
                    <a:pt x="40" y="52"/>
                    <a:pt x="43" y="56"/>
                    <a:pt x="43" y="60"/>
                  </a:cubicBezTo>
                  <a:cubicBezTo>
                    <a:pt x="43" y="64"/>
                    <a:pt x="45" y="66"/>
                    <a:pt x="42" y="69"/>
                  </a:cubicBezTo>
                  <a:cubicBezTo>
                    <a:pt x="44" y="70"/>
                    <a:pt x="46" y="70"/>
                    <a:pt x="45" y="72"/>
                  </a:cubicBezTo>
                  <a:cubicBezTo>
                    <a:pt x="45" y="73"/>
                    <a:pt x="48" y="72"/>
                    <a:pt x="48" y="70"/>
                  </a:cubicBezTo>
                  <a:cubicBezTo>
                    <a:pt x="48" y="67"/>
                    <a:pt x="52" y="67"/>
                    <a:pt x="53" y="68"/>
                  </a:cubicBezTo>
                  <a:cubicBezTo>
                    <a:pt x="55" y="68"/>
                    <a:pt x="57" y="68"/>
                    <a:pt x="59" y="67"/>
                  </a:cubicBezTo>
                  <a:cubicBezTo>
                    <a:pt x="59" y="65"/>
                    <a:pt x="59" y="64"/>
                    <a:pt x="59" y="63"/>
                  </a:cubicBezTo>
                  <a:cubicBezTo>
                    <a:pt x="60" y="60"/>
                    <a:pt x="59" y="57"/>
                    <a:pt x="58" y="55"/>
                  </a:cubicBezTo>
                  <a:cubicBezTo>
                    <a:pt x="56" y="54"/>
                    <a:pt x="52" y="52"/>
                    <a:pt x="51" y="49"/>
                  </a:cubicBezTo>
                  <a:cubicBezTo>
                    <a:pt x="50" y="46"/>
                    <a:pt x="45" y="43"/>
                    <a:pt x="44" y="40"/>
                  </a:cubicBezTo>
                  <a:cubicBezTo>
                    <a:pt x="43" y="38"/>
                    <a:pt x="40" y="35"/>
                    <a:pt x="40" y="3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1" name="Freeform 248">
              <a:extLst>
                <a:ext uri="{FF2B5EF4-FFF2-40B4-BE49-F238E27FC236}">
                  <a16:creationId xmlns:a16="http://schemas.microsoft.com/office/drawing/2014/main" id="{04E0B474-D2B3-A90C-3E46-D3F1D0BBC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464" y="3654776"/>
              <a:ext cx="242856" cy="463491"/>
            </a:xfrm>
            <a:custGeom>
              <a:avLst/>
              <a:gdLst>
                <a:gd name="T0" fmla="*/ 39 w 65"/>
                <a:gd name="T1" fmla="*/ 65 h 123"/>
                <a:gd name="T2" fmla="*/ 39 w 65"/>
                <a:gd name="T3" fmla="*/ 58 h 123"/>
                <a:gd name="T4" fmla="*/ 50 w 65"/>
                <a:gd name="T5" fmla="*/ 52 h 123"/>
                <a:gd name="T6" fmla="*/ 61 w 65"/>
                <a:gd name="T7" fmla="*/ 52 h 123"/>
                <a:gd name="T8" fmla="*/ 62 w 65"/>
                <a:gd name="T9" fmla="*/ 53 h 123"/>
                <a:gd name="T10" fmla="*/ 63 w 65"/>
                <a:gd name="T11" fmla="*/ 44 h 123"/>
                <a:gd name="T12" fmla="*/ 58 w 65"/>
                <a:gd name="T13" fmla="*/ 36 h 123"/>
                <a:gd name="T14" fmla="*/ 57 w 65"/>
                <a:gd name="T15" fmla="*/ 26 h 123"/>
                <a:gd name="T16" fmla="*/ 51 w 65"/>
                <a:gd name="T17" fmla="*/ 20 h 123"/>
                <a:gd name="T18" fmla="*/ 43 w 65"/>
                <a:gd name="T19" fmla="*/ 21 h 123"/>
                <a:gd name="T20" fmla="*/ 38 w 65"/>
                <a:gd name="T21" fmla="*/ 22 h 123"/>
                <a:gd name="T22" fmla="*/ 32 w 65"/>
                <a:gd name="T23" fmla="*/ 22 h 123"/>
                <a:gd name="T24" fmla="*/ 25 w 65"/>
                <a:gd name="T25" fmla="*/ 25 h 123"/>
                <a:gd name="T26" fmla="*/ 27 w 65"/>
                <a:gd name="T27" fmla="*/ 19 h 123"/>
                <a:gd name="T28" fmla="*/ 28 w 65"/>
                <a:gd name="T29" fmla="*/ 10 h 123"/>
                <a:gd name="T30" fmla="*/ 22 w 65"/>
                <a:gd name="T31" fmla="*/ 8 h 123"/>
                <a:gd name="T32" fmla="*/ 22 w 65"/>
                <a:gd name="T33" fmla="*/ 2 h 123"/>
                <a:gd name="T34" fmla="*/ 20 w 65"/>
                <a:gd name="T35" fmla="*/ 0 h 123"/>
                <a:gd name="T36" fmla="*/ 19 w 65"/>
                <a:gd name="T37" fmla="*/ 2 h 123"/>
                <a:gd name="T38" fmla="*/ 12 w 65"/>
                <a:gd name="T39" fmla="*/ 6 h 123"/>
                <a:gd name="T40" fmla="*/ 6 w 65"/>
                <a:gd name="T41" fmla="*/ 8 h 123"/>
                <a:gd name="T42" fmla="*/ 1 w 65"/>
                <a:gd name="T43" fmla="*/ 10 h 123"/>
                <a:gd name="T44" fmla="*/ 0 w 65"/>
                <a:gd name="T45" fmla="*/ 23 h 123"/>
                <a:gd name="T46" fmla="*/ 6 w 65"/>
                <a:gd name="T47" fmla="*/ 30 h 123"/>
                <a:gd name="T48" fmla="*/ 7 w 65"/>
                <a:gd name="T49" fmla="*/ 36 h 123"/>
                <a:gd name="T50" fmla="*/ 7 w 65"/>
                <a:gd name="T51" fmla="*/ 39 h 123"/>
                <a:gd name="T52" fmla="*/ 6 w 65"/>
                <a:gd name="T53" fmla="*/ 45 h 123"/>
                <a:gd name="T54" fmla="*/ 8 w 65"/>
                <a:gd name="T55" fmla="*/ 54 h 123"/>
                <a:gd name="T56" fmla="*/ 12 w 65"/>
                <a:gd name="T57" fmla="*/ 64 h 123"/>
                <a:gd name="T58" fmla="*/ 14 w 65"/>
                <a:gd name="T59" fmla="*/ 70 h 123"/>
                <a:gd name="T60" fmla="*/ 7 w 65"/>
                <a:gd name="T61" fmla="*/ 83 h 123"/>
                <a:gd name="T62" fmla="*/ 5 w 65"/>
                <a:gd name="T63" fmla="*/ 95 h 123"/>
                <a:gd name="T64" fmla="*/ 5 w 65"/>
                <a:gd name="T65" fmla="*/ 102 h 123"/>
                <a:gd name="T66" fmla="*/ 16 w 65"/>
                <a:gd name="T67" fmla="*/ 112 h 123"/>
                <a:gd name="T68" fmla="*/ 18 w 65"/>
                <a:gd name="T69" fmla="*/ 116 h 123"/>
                <a:gd name="T70" fmla="*/ 23 w 65"/>
                <a:gd name="T71" fmla="*/ 116 h 123"/>
                <a:gd name="T72" fmla="*/ 27 w 65"/>
                <a:gd name="T73" fmla="*/ 121 h 123"/>
                <a:gd name="T74" fmla="*/ 33 w 65"/>
                <a:gd name="T75" fmla="*/ 122 h 123"/>
                <a:gd name="T76" fmla="*/ 36 w 65"/>
                <a:gd name="T77" fmla="*/ 119 h 123"/>
                <a:gd name="T78" fmla="*/ 27 w 65"/>
                <a:gd name="T79" fmla="*/ 113 h 123"/>
                <a:gd name="T80" fmla="*/ 21 w 65"/>
                <a:gd name="T81" fmla="*/ 104 h 123"/>
                <a:gd name="T82" fmla="*/ 18 w 65"/>
                <a:gd name="T83" fmla="*/ 97 h 123"/>
                <a:gd name="T84" fmla="*/ 13 w 65"/>
                <a:gd name="T85" fmla="*/ 93 h 123"/>
                <a:gd name="T86" fmla="*/ 14 w 65"/>
                <a:gd name="T87" fmla="*/ 80 h 123"/>
                <a:gd name="T88" fmla="*/ 18 w 65"/>
                <a:gd name="T89" fmla="*/ 64 h 123"/>
                <a:gd name="T90" fmla="*/ 25 w 65"/>
                <a:gd name="T91" fmla="*/ 62 h 123"/>
                <a:gd name="T92" fmla="*/ 31 w 65"/>
                <a:gd name="T93" fmla="*/ 66 h 123"/>
                <a:gd name="T94" fmla="*/ 40 w 65"/>
                <a:gd name="T95" fmla="*/ 71 h 123"/>
                <a:gd name="T96" fmla="*/ 40 w 65"/>
                <a:gd name="T97" fmla="*/ 71 h 123"/>
                <a:gd name="T98" fmla="*/ 40 w 65"/>
                <a:gd name="T99" fmla="*/ 71 h 123"/>
                <a:gd name="T100" fmla="*/ 39 w 65"/>
                <a:gd name="T101" fmla="*/ 6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5" h="123">
                  <a:moveTo>
                    <a:pt x="39" y="65"/>
                  </a:moveTo>
                  <a:cubicBezTo>
                    <a:pt x="39" y="61"/>
                    <a:pt x="36" y="61"/>
                    <a:pt x="39" y="58"/>
                  </a:cubicBezTo>
                  <a:cubicBezTo>
                    <a:pt x="42" y="54"/>
                    <a:pt x="47" y="51"/>
                    <a:pt x="50" y="52"/>
                  </a:cubicBezTo>
                  <a:cubicBezTo>
                    <a:pt x="53" y="53"/>
                    <a:pt x="59" y="50"/>
                    <a:pt x="61" y="52"/>
                  </a:cubicBezTo>
                  <a:cubicBezTo>
                    <a:pt x="61" y="53"/>
                    <a:pt x="62" y="53"/>
                    <a:pt x="62" y="53"/>
                  </a:cubicBezTo>
                  <a:cubicBezTo>
                    <a:pt x="65" y="50"/>
                    <a:pt x="63" y="48"/>
                    <a:pt x="63" y="44"/>
                  </a:cubicBezTo>
                  <a:cubicBezTo>
                    <a:pt x="63" y="40"/>
                    <a:pt x="60" y="36"/>
                    <a:pt x="58" y="36"/>
                  </a:cubicBezTo>
                  <a:cubicBezTo>
                    <a:pt x="55" y="35"/>
                    <a:pt x="59" y="27"/>
                    <a:pt x="57" y="26"/>
                  </a:cubicBezTo>
                  <a:cubicBezTo>
                    <a:pt x="54" y="25"/>
                    <a:pt x="53" y="22"/>
                    <a:pt x="51" y="20"/>
                  </a:cubicBezTo>
                  <a:cubicBezTo>
                    <a:pt x="49" y="18"/>
                    <a:pt x="44" y="19"/>
                    <a:pt x="43" y="21"/>
                  </a:cubicBezTo>
                  <a:cubicBezTo>
                    <a:pt x="43" y="22"/>
                    <a:pt x="39" y="23"/>
                    <a:pt x="38" y="22"/>
                  </a:cubicBezTo>
                  <a:cubicBezTo>
                    <a:pt x="37" y="21"/>
                    <a:pt x="35" y="20"/>
                    <a:pt x="32" y="22"/>
                  </a:cubicBezTo>
                  <a:cubicBezTo>
                    <a:pt x="30" y="24"/>
                    <a:pt x="26" y="28"/>
                    <a:pt x="25" y="25"/>
                  </a:cubicBezTo>
                  <a:cubicBezTo>
                    <a:pt x="25" y="22"/>
                    <a:pt x="27" y="22"/>
                    <a:pt x="27" y="19"/>
                  </a:cubicBezTo>
                  <a:cubicBezTo>
                    <a:pt x="27" y="15"/>
                    <a:pt x="29" y="14"/>
                    <a:pt x="28" y="10"/>
                  </a:cubicBezTo>
                  <a:cubicBezTo>
                    <a:pt x="27" y="7"/>
                    <a:pt x="24" y="11"/>
                    <a:pt x="22" y="8"/>
                  </a:cubicBezTo>
                  <a:cubicBezTo>
                    <a:pt x="21" y="6"/>
                    <a:pt x="23" y="3"/>
                    <a:pt x="22" y="2"/>
                  </a:cubicBezTo>
                  <a:cubicBezTo>
                    <a:pt x="22" y="2"/>
                    <a:pt x="21" y="1"/>
                    <a:pt x="20" y="0"/>
                  </a:cubicBezTo>
                  <a:cubicBezTo>
                    <a:pt x="20" y="1"/>
                    <a:pt x="19" y="1"/>
                    <a:pt x="19" y="2"/>
                  </a:cubicBezTo>
                  <a:cubicBezTo>
                    <a:pt x="18" y="3"/>
                    <a:pt x="13" y="4"/>
                    <a:pt x="12" y="6"/>
                  </a:cubicBezTo>
                  <a:cubicBezTo>
                    <a:pt x="10" y="8"/>
                    <a:pt x="7" y="8"/>
                    <a:pt x="6" y="8"/>
                  </a:cubicBezTo>
                  <a:cubicBezTo>
                    <a:pt x="5" y="8"/>
                    <a:pt x="1" y="8"/>
                    <a:pt x="1" y="10"/>
                  </a:cubicBezTo>
                  <a:cubicBezTo>
                    <a:pt x="1" y="12"/>
                    <a:pt x="0" y="21"/>
                    <a:pt x="0" y="23"/>
                  </a:cubicBezTo>
                  <a:cubicBezTo>
                    <a:pt x="0" y="24"/>
                    <a:pt x="4" y="30"/>
                    <a:pt x="6" y="30"/>
                  </a:cubicBezTo>
                  <a:cubicBezTo>
                    <a:pt x="7" y="31"/>
                    <a:pt x="5" y="35"/>
                    <a:pt x="7" y="36"/>
                  </a:cubicBezTo>
                  <a:cubicBezTo>
                    <a:pt x="9" y="37"/>
                    <a:pt x="8" y="40"/>
                    <a:pt x="7" y="39"/>
                  </a:cubicBezTo>
                  <a:cubicBezTo>
                    <a:pt x="6" y="39"/>
                    <a:pt x="7" y="44"/>
                    <a:pt x="6" y="45"/>
                  </a:cubicBezTo>
                  <a:cubicBezTo>
                    <a:pt x="4" y="47"/>
                    <a:pt x="5" y="51"/>
                    <a:pt x="8" y="54"/>
                  </a:cubicBezTo>
                  <a:cubicBezTo>
                    <a:pt x="12" y="57"/>
                    <a:pt x="12" y="61"/>
                    <a:pt x="12" y="64"/>
                  </a:cubicBezTo>
                  <a:cubicBezTo>
                    <a:pt x="12" y="66"/>
                    <a:pt x="14" y="66"/>
                    <a:pt x="14" y="70"/>
                  </a:cubicBezTo>
                  <a:cubicBezTo>
                    <a:pt x="14" y="70"/>
                    <a:pt x="10" y="83"/>
                    <a:pt x="7" y="83"/>
                  </a:cubicBezTo>
                  <a:cubicBezTo>
                    <a:pt x="7" y="86"/>
                    <a:pt x="6" y="92"/>
                    <a:pt x="5" y="95"/>
                  </a:cubicBezTo>
                  <a:cubicBezTo>
                    <a:pt x="4" y="98"/>
                    <a:pt x="3" y="102"/>
                    <a:pt x="5" y="102"/>
                  </a:cubicBezTo>
                  <a:cubicBezTo>
                    <a:pt x="8" y="102"/>
                    <a:pt x="12" y="107"/>
                    <a:pt x="16" y="112"/>
                  </a:cubicBezTo>
                  <a:cubicBezTo>
                    <a:pt x="17" y="113"/>
                    <a:pt x="18" y="115"/>
                    <a:pt x="18" y="116"/>
                  </a:cubicBezTo>
                  <a:cubicBezTo>
                    <a:pt x="20" y="116"/>
                    <a:pt x="22" y="116"/>
                    <a:pt x="23" y="116"/>
                  </a:cubicBezTo>
                  <a:cubicBezTo>
                    <a:pt x="26" y="117"/>
                    <a:pt x="27" y="120"/>
                    <a:pt x="27" y="121"/>
                  </a:cubicBezTo>
                  <a:cubicBezTo>
                    <a:pt x="27" y="123"/>
                    <a:pt x="32" y="122"/>
                    <a:pt x="33" y="122"/>
                  </a:cubicBezTo>
                  <a:cubicBezTo>
                    <a:pt x="34" y="122"/>
                    <a:pt x="33" y="120"/>
                    <a:pt x="36" y="119"/>
                  </a:cubicBezTo>
                  <a:cubicBezTo>
                    <a:pt x="34" y="116"/>
                    <a:pt x="30" y="114"/>
                    <a:pt x="27" y="113"/>
                  </a:cubicBezTo>
                  <a:cubicBezTo>
                    <a:pt x="23" y="113"/>
                    <a:pt x="21" y="107"/>
                    <a:pt x="21" y="104"/>
                  </a:cubicBezTo>
                  <a:cubicBezTo>
                    <a:pt x="21" y="101"/>
                    <a:pt x="18" y="99"/>
                    <a:pt x="18" y="97"/>
                  </a:cubicBezTo>
                  <a:cubicBezTo>
                    <a:pt x="18" y="94"/>
                    <a:pt x="16" y="94"/>
                    <a:pt x="13" y="93"/>
                  </a:cubicBezTo>
                  <a:cubicBezTo>
                    <a:pt x="10" y="92"/>
                    <a:pt x="14" y="83"/>
                    <a:pt x="14" y="80"/>
                  </a:cubicBezTo>
                  <a:cubicBezTo>
                    <a:pt x="14" y="77"/>
                    <a:pt x="20" y="67"/>
                    <a:pt x="18" y="64"/>
                  </a:cubicBezTo>
                  <a:cubicBezTo>
                    <a:pt x="17" y="61"/>
                    <a:pt x="24" y="58"/>
                    <a:pt x="25" y="62"/>
                  </a:cubicBezTo>
                  <a:cubicBezTo>
                    <a:pt x="26" y="65"/>
                    <a:pt x="26" y="67"/>
                    <a:pt x="31" y="66"/>
                  </a:cubicBezTo>
                  <a:cubicBezTo>
                    <a:pt x="36" y="66"/>
                    <a:pt x="36" y="70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1" y="68"/>
                    <a:pt x="39" y="68"/>
                    <a:pt x="39" y="6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2" name="Freeform 249">
              <a:extLst>
                <a:ext uri="{FF2B5EF4-FFF2-40B4-BE49-F238E27FC236}">
                  <a16:creationId xmlns:a16="http://schemas.microsoft.com/office/drawing/2014/main" id="{CEB585A0-E33F-9715-860F-963261D9C4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0763" y="2415099"/>
              <a:ext cx="293650" cy="241269"/>
            </a:xfrm>
            <a:custGeom>
              <a:avLst/>
              <a:gdLst>
                <a:gd name="T0" fmla="*/ 2 w 78"/>
                <a:gd name="T1" fmla="*/ 14 h 64"/>
                <a:gd name="T2" fmla="*/ 2 w 78"/>
                <a:gd name="T3" fmla="*/ 22 h 64"/>
                <a:gd name="T4" fmla="*/ 2 w 78"/>
                <a:gd name="T5" fmla="*/ 25 h 64"/>
                <a:gd name="T6" fmla="*/ 4 w 78"/>
                <a:gd name="T7" fmla="*/ 29 h 64"/>
                <a:gd name="T8" fmla="*/ 5 w 78"/>
                <a:gd name="T9" fmla="*/ 33 h 64"/>
                <a:gd name="T10" fmla="*/ 7 w 78"/>
                <a:gd name="T11" fmla="*/ 40 h 64"/>
                <a:gd name="T12" fmla="*/ 7 w 78"/>
                <a:gd name="T13" fmla="*/ 44 h 64"/>
                <a:gd name="T14" fmla="*/ 12 w 78"/>
                <a:gd name="T15" fmla="*/ 46 h 64"/>
                <a:gd name="T16" fmla="*/ 17 w 78"/>
                <a:gd name="T17" fmla="*/ 50 h 64"/>
                <a:gd name="T18" fmla="*/ 21 w 78"/>
                <a:gd name="T19" fmla="*/ 52 h 64"/>
                <a:gd name="T20" fmla="*/ 26 w 78"/>
                <a:gd name="T21" fmla="*/ 51 h 64"/>
                <a:gd name="T22" fmla="*/ 28 w 78"/>
                <a:gd name="T23" fmla="*/ 54 h 64"/>
                <a:gd name="T24" fmla="*/ 33 w 78"/>
                <a:gd name="T25" fmla="*/ 55 h 64"/>
                <a:gd name="T26" fmla="*/ 37 w 78"/>
                <a:gd name="T27" fmla="*/ 60 h 64"/>
                <a:gd name="T28" fmla="*/ 42 w 78"/>
                <a:gd name="T29" fmla="*/ 59 h 64"/>
                <a:gd name="T30" fmla="*/ 49 w 78"/>
                <a:gd name="T31" fmla="*/ 60 h 64"/>
                <a:gd name="T32" fmla="*/ 55 w 78"/>
                <a:gd name="T33" fmla="*/ 61 h 64"/>
                <a:gd name="T34" fmla="*/ 62 w 78"/>
                <a:gd name="T35" fmla="*/ 62 h 64"/>
                <a:gd name="T36" fmla="*/ 66 w 78"/>
                <a:gd name="T37" fmla="*/ 64 h 64"/>
                <a:gd name="T38" fmla="*/ 66 w 78"/>
                <a:gd name="T39" fmla="*/ 58 h 64"/>
                <a:gd name="T40" fmla="*/ 74 w 78"/>
                <a:gd name="T41" fmla="*/ 51 h 64"/>
                <a:gd name="T42" fmla="*/ 77 w 78"/>
                <a:gd name="T43" fmla="*/ 48 h 64"/>
                <a:gd name="T44" fmla="*/ 74 w 78"/>
                <a:gd name="T45" fmla="*/ 40 h 64"/>
                <a:gd name="T46" fmla="*/ 73 w 78"/>
                <a:gd name="T47" fmla="*/ 33 h 64"/>
                <a:gd name="T48" fmla="*/ 71 w 78"/>
                <a:gd name="T49" fmla="*/ 29 h 64"/>
                <a:gd name="T50" fmla="*/ 75 w 78"/>
                <a:gd name="T51" fmla="*/ 25 h 64"/>
                <a:gd name="T52" fmla="*/ 75 w 78"/>
                <a:gd name="T53" fmla="*/ 18 h 64"/>
                <a:gd name="T54" fmla="*/ 74 w 78"/>
                <a:gd name="T55" fmla="*/ 12 h 64"/>
                <a:gd name="T56" fmla="*/ 68 w 78"/>
                <a:gd name="T57" fmla="*/ 7 h 64"/>
                <a:gd name="T58" fmla="*/ 67 w 78"/>
                <a:gd name="T59" fmla="*/ 7 h 64"/>
                <a:gd name="T60" fmla="*/ 46 w 78"/>
                <a:gd name="T61" fmla="*/ 6 h 64"/>
                <a:gd name="T62" fmla="*/ 42 w 78"/>
                <a:gd name="T63" fmla="*/ 4 h 64"/>
                <a:gd name="T64" fmla="*/ 38 w 78"/>
                <a:gd name="T65" fmla="*/ 7 h 64"/>
                <a:gd name="T66" fmla="*/ 34 w 78"/>
                <a:gd name="T67" fmla="*/ 2 h 64"/>
                <a:gd name="T68" fmla="*/ 17 w 78"/>
                <a:gd name="T69" fmla="*/ 7 h 64"/>
                <a:gd name="T70" fmla="*/ 4 w 78"/>
                <a:gd name="T71" fmla="*/ 11 h 64"/>
                <a:gd name="T72" fmla="*/ 2 w 78"/>
                <a:gd name="T73" fmla="*/ 13 h 64"/>
                <a:gd name="T74" fmla="*/ 2 w 78"/>
                <a:gd name="T75" fmla="*/ 1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8" h="64">
                  <a:moveTo>
                    <a:pt x="2" y="14"/>
                  </a:moveTo>
                  <a:cubicBezTo>
                    <a:pt x="2" y="15"/>
                    <a:pt x="3" y="20"/>
                    <a:pt x="2" y="22"/>
                  </a:cubicBezTo>
                  <a:cubicBezTo>
                    <a:pt x="0" y="24"/>
                    <a:pt x="1" y="25"/>
                    <a:pt x="2" y="25"/>
                  </a:cubicBezTo>
                  <a:cubicBezTo>
                    <a:pt x="3" y="26"/>
                    <a:pt x="4" y="28"/>
                    <a:pt x="4" y="29"/>
                  </a:cubicBezTo>
                  <a:cubicBezTo>
                    <a:pt x="4" y="31"/>
                    <a:pt x="5" y="30"/>
                    <a:pt x="5" y="33"/>
                  </a:cubicBezTo>
                  <a:cubicBezTo>
                    <a:pt x="5" y="37"/>
                    <a:pt x="6" y="39"/>
                    <a:pt x="7" y="40"/>
                  </a:cubicBezTo>
                  <a:cubicBezTo>
                    <a:pt x="8" y="41"/>
                    <a:pt x="8" y="42"/>
                    <a:pt x="7" y="44"/>
                  </a:cubicBezTo>
                  <a:cubicBezTo>
                    <a:pt x="9" y="45"/>
                    <a:pt x="10" y="46"/>
                    <a:pt x="12" y="46"/>
                  </a:cubicBezTo>
                  <a:cubicBezTo>
                    <a:pt x="16" y="48"/>
                    <a:pt x="17" y="49"/>
                    <a:pt x="17" y="50"/>
                  </a:cubicBezTo>
                  <a:cubicBezTo>
                    <a:pt x="17" y="51"/>
                    <a:pt x="21" y="54"/>
                    <a:pt x="21" y="52"/>
                  </a:cubicBezTo>
                  <a:cubicBezTo>
                    <a:pt x="22" y="50"/>
                    <a:pt x="24" y="51"/>
                    <a:pt x="26" y="51"/>
                  </a:cubicBezTo>
                  <a:cubicBezTo>
                    <a:pt x="28" y="51"/>
                    <a:pt x="28" y="53"/>
                    <a:pt x="28" y="54"/>
                  </a:cubicBezTo>
                  <a:cubicBezTo>
                    <a:pt x="28" y="55"/>
                    <a:pt x="32" y="54"/>
                    <a:pt x="33" y="55"/>
                  </a:cubicBezTo>
                  <a:cubicBezTo>
                    <a:pt x="35" y="56"/>
                    <a:pt x="35" y="59"/>
                    <a:pt x="37" y="60"/>
                  </a:cubicBezTo>
                  <a:cubicBezTo>
                    <a:pt x="39" y="61"/>
                    <a:pt x="41" y="59"/>
                    <a:pt x="42" y="59"/>
                  </a:cubicBezTo>
                  <a:cubicBezTo>
                    <a:pt x="43" y="60"/>
                    <a:pt x="47" y="61"/>
                    <a:pt x="49" y="60"/>
                  </a:cubicBezTo>
                  <a:cubicBezTo>
                    <a:pt x="51" y="59"/>
                    <a:pt x="52" y="61"/>
                    <a:pt x="55" y="61"/>
                  </a:cubicBezTo>
                  <a:cubicBezTo>
                    <a:pt x="58" y="61"/>
                    <a:pt x="61" y="62"/>
                    <a:pt x="62" y="62"/>
                  </a:cubicBezTo>
                  <a:cubicBezTo>
                    <a:pt x="62" y="63"/>
                    <a:pt x="64" y="63"/>
                    <a:pt x="66" y="64"/>
                  </a:cubicBezTo>
                  <a:cubicBezTo>
                    <a:pt x="67" y="62"/>
                    <a:pt x="66" y="59"/>
                    <a:pt x="66" y="58"/>
                  </a:cubicBezTo>
                  <a:cubicBezTo>
                    <a:pt x="66" y="57"/>
                    <a:pt x="73" y="52"/>
                    <a:pt x="74" y="51"/>
                  </a:cubicBezTo>
                  <a:cubicBezTo>
                    <a:pt x="75" y="49"/>
                    <a:pt x="76" y="49"/>
                    <a:pt x="77" y="48"/>
                  </a:cubicBezTo>
                  <a:cubicBezTo>
                    <a:pt x="78" y="46"/>
                    <a:pt x="75" y="41"/>
                    <a:pt x="74" y="40"/>
                  </a:cubicBezTo>
                  <a:cubicBezTo>
                    <a:pt x="73" y="39"/>
                    <a:pt x="73" y="35"/>
                    <a:pt x="73" y="33"/>
                  </a:cubicBezTo>
                  <a:cubicBezTo>
                    <a:pt x="74" y="31"/>
                    <a:pt x="71" y="30"/>
                    <a:pt x="71" y="29"/>
                  </a:cubicBezTo>
                  <a:cubicBezTo>
                    <a:pt x="71" y="27"/>
                    <a:pt x="74" y="25"/>
                    <a:pt x="75" y="25"/>
                  </a:cubicBezTo>
                  <a:cubicBezTo>
                    <a:pt x="77" y="24"/>
                    <a:pt x="76" y="19"/>
                    <a:pt x="75" y="18"/>
                  </a:cubicBezTo>
                  <a:cubicBezTo>
                    <a:pt x="74" y="16"/>
                    <a:pt x="73" y="14"/>
                    <a:pt x="74" y="12"/>
                  </a:cubicBezTo>
                  <a:cubicBezTo>
                    <a:pt x="75" y="9"/>
                    <a:pt x="68" y="7"/>
                    <a:pt x="68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2" y="8"/>
                    <a:pt x="47" y="6"/>
                    <a:pt x="46" y="6"/>
                  </a:cubicBezTo>
                  <a:cubicBezTo>
                    <a:pt x="46" y="6"/>
                    <a:pt x="44" y="5"/>
                    <a:pt x="42" y="4"/>
                  </a:cubicBezTo>
                  <a:cubicBezTo>
                    <a:pt x="42" y="6"/>
                    <a:pt x="40" y="7"/>
                    <a:pt x="38" y="7"/>
                  </a:cubicBezTo>
                  <a:cubicBezTo>
                    <a:pt x="34" y="7"/>
                    <a:pt x="34" y="3"/>
                    <a:pt x="34" y="2"/>
                  </a:cubicBezTo>
                  <a:cubicBezTo>
                    <a:pt x="34" y="0"/>
                    <a:pt x="20" y="3"/>
                    <a:pt x="17" y="7"/>
                  </a:cubicBezTo>
                  <a:cubicBezTo>
                    <a:pt x="13" y="10"/>
                    <a:pt x="4" y="9"/>
                    <a:pt x="4" y="11"/>
                  </a:cubicBezTo>
                  <a:cubicBezTo>
                    <a:pt x="4" y="12"/>
                    <a:pt x="3" y="13"/>
                    <a:pt x="2" y="13"/>
                  </a:cubicBezTo>
                  <a:cubicBezTo>
                    <a:pt x="2" y="13"/>
                    <a:pt x="2" y="13"/>
                    <a:pt x="2" y="1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3" name="Freeform 250">
              <a:extLst>
                <a:ext uri="{FF2B5EF4-FFF2-40B4-BE49-F238E27FC236}">
                  <a16:creationId xmlns:a16="http://schemas.microsoft.com/office/drawing/2014/main" id="{D56A37A8-886F-06EA-1EE8-4DC1EC4F1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798" y="2802403"/>
              <a:ext cx="107937" cy="104761"/>
            </a:xfrm>
            <a:custGeom>
              <a:avLst/>
              <a:gdLst>
                <a:gd name="T0" fmla="*/ 21 w 29"/>
                <a:gd name="T1" fmla="*/ 25 h 28"/>
                <a:gd name="T2" fmla="*/ 27 w 29"/>
                <a:gd name="T3" fmla="*/ 16 h 28"/>
                <a:gd name="T4" fmla="*/ 28 w 29"/>
                <a:gd name="T5" fmla="*/ 6 h 28"/>
                <a:gd name="T6" fmla="*/ 21 w 29"/>
                <a:gd name="T7" fmla="*/ 2 h 28"/>
                <a:gd name="T8" fmla="*/ 9 w 29"/>
                <a:gd name="T9" fmla="*/ 1 h 28"/>
                <a:gd name="T10" fmla="*/ 4 w 29"/>
                <a:gd name="T11" fmla="*/ 2 h 28"/>
                <a:gd name="T12" fmla="*/ 0 w 29"/>
                <a:gd name="T13" fmla="*/ 4 h 28"/>
                <a:gd name="T14" fmla="*/ 4 w 29"/>
                <a:gd name="T15" fmla="*/ 10 h 28"/>
                <a:gd name="T16" fmla="*/ 10 w 29"/>
                <a:gd name="T17" fmla="*/ 18 h 28"/>
                <a:gd name="T18" fmla="*/ 17 w 29"/>
                <a:gd name="T19" fmla="*/ 25 h 28"/>
                <a:gd name="T20" fmla="*/ 21 w 29"/>
                <a:gd name="T21" fmla="*/ 28 h 28"/>
                <a:gd name="T22" fmla="*/ 21 w 29"/>
                <a:gd name="T23" fmla="*/ 2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8">
                  <a:moveTo>
                    <a:pt x="21" y="25"/>
                  </a:moveTo>
                  <a:cubicBezTo>
                    <a:pt x="21" y="24"/>
                    <a:pt x="26" y="16"/>
                    <a:pt x="27" y="16"/>
                  </a:cubicBezTo>
                  <a:cubicBezTo>
                    <a:pt x="28" y="16"/>
                    <a:pt x="29" y="9"/>
                    <a:pt x="28" y="6"/>
                  </a:cubicBezTo>
                  <a:cubicBezTo>
                    <a:pt x="24" y="3"/>
                    <a:pt x="21" y="2"/>
                    <a:pt x="21" y="2"/>
                  </a:cubicBezTo>
                  <a:cubicBezTo>
                    <a:pt x="21" y="2"/>
                    <a:pt x="10" y="2"/>
                    <a:pt x="9" y="1"/>
                  </a:cubicBezTo>
                  <a:cubicBezTo>
                    <a:pt x="7" y="0"/>
                    <a:pt x="5" y="3"/>
                    <a:pt x="4" y="2"/>
                  </a:cubicBezTo>
                  <a:cubicBezTo>
                    <a:pt x="2" y="1"/>
                    <a:pt x="0" y="2"/>
                    <a:pt x="0" y="4"/>
                  </a:cubicBezTo>
                  <a:cubicBezTo>
                    <a:pt x="0" y="6"/>
                    <a:pt x="4" y="7"/>
                    <a:pt x="4" y="10"/>
                  </a:cubicBezTo>
                  <a:cubicBezTo>
                    <a:pt x="4" y="12"/>
                    <a:pt x="10" y="16"/>
                    <a:pt x="10" y="18"/>
                  </a:cubicBezTo>
                  <a:cubicBezTo>
                    <a:pt x="10" y="19"/>
                    <a:pt x="14" y="21"/>
                    <a:pt x="17" y="25"/>
                  </a:cubicBezTo>
                  <a:cubicBezTo>
                    <a:pt x="18" y="26"/>
                    <a:pt x="20" y="27"/>
                    <a:pt x="21" y="28"/>
                  </a:cubicBezTo>
                  <a:cubicBezTo>
                    <a:pt x="21" y="27"/>
                    <a:pt x="21" y="26"/>
                    <a:pt x="21" y="2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4" name="Freeform 251">
              <a:extLst>
                <a:ext uri="{FF2B5EF4-FFF2-40B4-BE49-F238E27FC236}">
                  <a16:creationId xmlns:a16="http://schemas.microsoft.com/office/drawing/2014/main" id="{A6CC8618-89FF-826F-FEBE-D2ACF7F1D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656" y="2753196"/>
              <a:ext cx="161904" cy="142856"/>
            </a:xfrm>
            <a:custGeom>
              <a:avLst/>
              <a:gdLst>
                <a:gd name="T0" fmla="*/ 25 w 43"/>
                <a:gd name="T1" fmla="*/ 31 h 38"/>
                <a:gd name="T2" fmla="*/ 19 w 43"/>
                <a:gd name="T3" fmla="*/ 23 h 38"/>
                <a:gd name="T4" fmla="*/ 15 w 43"/>
                <a:gd name="T5" fmla="*/ 17 h 38"/>
                <a:gd name="T6" fmla="*/ 19 w 43"/>
                <a:gd name="T7" fmla="*/ 15 h 38"/>
                <a:gd name="T8" fmla="*/ 24 w 43"/>
                <a:gd name="T9" fmla="*/ 14 h 38"/>
                <a:gd name="T10" fmla="*/ 36 w 43"/>
                <a:gd name="T11" fmla="*/ 15 h 38"/>
                <a:gd name="T12" fmla="*/ 43 w 43"/>
                <a:gd name="T13" fmla="*/ 19 h 38"/>
                <a:gd name="T14" fmla="*/ 43 w 43"/>
                <a:gd name="T15" fmla="*/ 17 h 38"/>
                <a:gd name="T16" fmla="*/ 40 w 43"/>
                <a:gd name="T17" fmla="*/ 11 h 38"/>
                <a:gd name="T18" fmla="*/ 38 w 43"/>
                <a:gd name="T19" fmla="*/ 6 h 38"/>
                <a:gd name="T20" fmla="*/ 36 w 43"/>
                <a:gd name="T21" fmla="*/ 7 h 38"/>
                <a:gd name="T22" fmla="*/ 27 w 43"/>
                <a:gd name="T23" fmla="*/ 5 h 38"/>
                <a:gd name="T24" fmla="*/ 21 w 43"/>
                <a:gd name="T25" fmla="*/ 0 h 38"/>
                <a:gd name="T26" fmla="*/ 16 w 43"/>
                <a:gd name="T27" fmla="*/ 4 h 38"/>
                <a:gd name="T28" fmla="*/ 14 w 43"/>
                <a:gd name="T29" fmla="*/ 8 h 38"/>
                <a:gd name="T30" fmla="*/ 11 w 43"/>
                <a:gd name="T31" fmla="*/ 11 h 38"/>
                <a:gd name="T32" fmla="*/ 6 w 43"/>
                <a:gd name="T33" fmla="*/ 11 h 38"/>
                <a:gd name="T34" fmla="*/ 0 w 43"/>
                <a:gd name="T35" fmla="*/ 12 h 38"/>
                <a:gd name="T36" fmla="*/ 2 w 43"/>
                <a:gd name="T37" fmla="*/ 15 h 38"/>
                <a:gd name="T38" fmla="*/ 8 w 43"/>
                <a:gd name="T39" fmla="*/ 18 h 38"/>
                <a:gd name="T40" fmla="*/ 15 w 43"/>
                <a:gd name="T41" fmla="*/ 29 h 38"/>
                <a:gd name="T42" fmla="*/ 22 w 43"/>
                <a:gd name="T43" fmla="*/ 33 h 38"/>
                <a:gd name="T44" fmla="*/ 28 w 43"/>
                <a:gd name="T45" fmla="*/ 36 h 38"/>
                <a:gd name="T46" fmla="*/ 32 w 43"/>
                <a:gd name="T47" fmla="*/ 38 h 38"/>
                <a:gd name="T48" fmla="*/ 25 w 43"/>
                <a:gd name="T49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5" y="31"/>
                  </a:moveTo>
                  <a:cubicBezTo>
                    <a:pt x="25" y="29"/>
                    <a:pt x="19" y="25"/>
                    <a:pt x="19" y="23"/>
                  </a:cubicBezTo>
                  <a:cubicBezTo>
                    <a:pt x="19" y="20"/>
                    <a:pt x="15" y="19"/>
                    <a:pt x="15" y="17"/>
                  </a:cubicBezTo>
                  <a:cubicBezTo>
                    <a:pt x="15" y="15"/>
                    <a:pt x="17" y="14"/>
                    <a:pt x="19" y="15"/>
                  </a:cubicBezTo>
                  <a:cubicBezTo>
                    <a:pt x="20" y="16"/>
                    <a:pt x="22" y="13"/>
                    <a:pt x="24" y="14"/>
                  </a:cubicBezTo>
                  <a:cubicBezTo>
                    <a:pt x="25" y="15"/>
                    <a:pt x="36" y="15"/>
                    <a:pt x="36" y="15"/>
                  </a:cubicBezTo>
                  <a:cubicBezTo>
                    <a:pt x="36" y="15"/>
                    <a:pt x="39" y="16"/>
                    <a:pt x="43" y="19"/>
                  </a:cubicBezTo>
                  <a:cubicBezTo>
                    <a:pt x="43" y="18"/>
                    <a:pt x="43" y="17"/>
                    <a:pt x="43" y="17"/>
                  </a:cubicBezTo>
                  <a:cubicBezTo>
                    <a:pt x="42" y="15"/>
                    <a:pt x="43" y="12"/>
                    <a:pt x="40" y="11"/>
                  </a:cubicBezTo>
                  <a:cubicBezTo>
                    <a:pt x="39" y="11"/>
                    <a:pt x="39" y="8"/>
                    <a:pt x="38" y="6"/>
                  </a:cubicBezTo>
                  <a:cubicBezTo>
                    <a:pt x="37" y="7"/>
                    <a:pt x="36" y="7"/>
                    <a:pt x="36" y="7"/>
                  </a:cubicBezTo>
                  <a:cubicBezTo>
                    <a:pt x="33" y="8"/>
                    <a:pt x="29" y="7"/>
                    <a:pt x="27" y="5"/>
                  </a:cubicBezTo>
                  <a:cubicBezTo>
                    <a:pt x="26" y="4"/>
                    <a:pt x="22" y="1"/>
                    <a:pt x="21" y="0"/>
                  </a:cubicBezTo>
                  <a:cubicBezTo>
                    <a:pt x="20" y="1"/>
                    <a:pt x="17" y="3"/>
                    <a:pt x="16" y="4"/>
                  </a:cubicBezTo>
                  <a:cubicBezTo>
                    <a:pt x="14" y="4"/>
                    <a:pt x="15" y="8"/>
                    <a:pt x="14" y="8"/>
                  </a:cubicBezTo>
                  <a:cubicBezTo>
                    <a:pt x="12" y="8"/>
                    <a:pt x="11" y="10"/>
                    <a:pt x="11" y="11"/>
                  </a:cubicBezTo>
                  <a:cubicBezTo>
                    <a:pt x="11" y="12"/>
                    <a:pt x="7" y="10"/>
                    <a:pt x="6" y="11"/>
                  </a:cubicBezTo>
                  <a:cubicBezTo>
                    <a:pt x="5" y="11"/>
                    <a:pt x="2" y="12"/>
                    <a:pt x="0" y="12"/>
                  </a:cubicBezTo>
                  <a:cubicBezTo>
                    <a:pt x="1" y="14"/>
                    <a:pt x="0" y="15"/>
                    <a:pt x="2" y="15"/>
                  </a:cubicBezTo>
                  <a:cubicBezTo>
                    <a:pt x="4" y="15"/>
                    <a:pt x="8" y="15"/>
                    <a:pt x="8" y="18"/>
                  </a:cubicBezTo>
                  <a:cubicBezTo>
                    <a:pt x="8" y="21"/>
                    <a:pt x="13" y="27"/>
                    <a:pt x="15" y="29"/>
                  </a:cubicBezTo>
                  <a:cubicBezTo>
                    <a:pt x="17" y="31"/>
                    <a:pt x="21" y="31"/>
                    <a:pt x="22" y="33"/>
                  </a:cubicBezTo>
                  <a:cubicBezTo>
                    <a:pt x="22" y="35"/>
                    <a:pt x="25" y="36"/>
                    <a:pt x="28" y="36"/>
                  </a:cubicBezTo>
                  <a:cubicBezTo>
                    <a:pt x="29" y="37"/>
                    <a:pt x="31" y="37"/>
                    <a:pt x="32" y="38"/>
                  </a:cubicBezTo>
                  <a:cubicBezTo>
                    <a:pt x="29" y="34"/>
                    <a:pt x="25" y="32"/>
                    <a:pt x="25" y="3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5" name="Freeform 252">
              <a:extLst>
                <a:ext uri="{FF2B5EF4-FFF2-40B4-BE49-F238E27FC236}">
                  <a16:creationId xmlns:a16="http://schemas.microsoft.com/office/drawing/2014/main" id="{AB6A36BE-D6AD-DD47-D890-6DA649D09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8387" y="2903987"/>
              <a:ext cx="55556" cy="109525"/>
            </a:xfrm>
            <a:custGeom>
              <a:avLst/>
              <a:gdLst>
                <a:gd name="T0" fmla="*/ 10 w 15"/>
                <a:gd name="T1" fmla="*/ 25 h 29"/>
                <a:gd name="T2" fmla="*/ 12 w 15"/>
                <a:gd name="T3" fmla="*/ 22 h 29"/>
                <a:gd name="T4" fmla="*/ 14 w 15"/>
                <a:gd name="T5" fmla="*/ 17 h 29"/>
                <a:gd name="T6" fmla="*/ 15 w 15"/>
                <a:gd name="T7" fmla="*/ 17 h 29"/>
                <a:gd name="T8" fmla="*/ 10 w 15"/>
                <a:gd name="T9" fmla="*/ 12 h 29"/>
                <a:gd name="T10" fmla="*/ 11 w 15"/>
                <a:gd name="T11" fmla="*/ 4 h 29"/>
                <a:gd name="T12" fmla="*/ 4 w 15"/>
                <a:gd name="T13" fmla="*/ 0 h 29"/>
                <a:gd name="T14" fmla="*/ 0 w 15"/>
                <a:gd name="T15" fmla="*/ 5 h 29"/>
                <a:gd name="T16" fmla="*/ 2 w 15"/>
                <a:gd name="T17" fmla="*/ 10 h 29"/>
                <a:gd name="T18" fmla="*/ 2 w 15"/>
                <a:gd name="T19" fmla="*/ 22 h 29"/>
                <a:gd name="T20" fmla="*/ 7 w 15"/>
                <a:gd name="T21" fmla="*/ 29 h 29"/>
                <a:gd name="T22" fmla="*/ 10 w 15"/>
                <a:gd name="T23" fmla="*/ 2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29">
                  <a:moveTo>
                    <a:pt x="10" y="25"/>
                  </a:moveTo>
                  <a:cubicBezTo>
                    <a:pt x="11" y="24"/>
                    <a:pt x="10" y="23"/>
                    <a:pt x="12" y="22"/>
                  </a:cubicBezTo>
                  <a:cubicBezTo>
                    <a:pt x="13" y="20"/>
                    <a:pt x="14" y="18"/>
                    <a:pt x="14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2" y="15"/>
                    <a:pt x="11" y="14"/>
                    <a:pt x="10" y="12"/>
                  </a:cubicBezTo>
                  <a:cubicBezTo>
                    <a:pt x="9" y="10"/>
                    <a:pt x="10" y="6"/>
                    <a:pt x="11" y="4"/>
                  </a:cubicBezTo>
                  <a:cubicBezTo>
                    <a:pt x="9" y="3"/>
                    <a:pt x="5" y="0"/>
                    <a:pt x="4" y="0"/>
                  </a:cubicBezTo>
                  <a:cubicBezTo>
                    <a:pt x="3" y="0"/>
                    <a:pt x="1" y="3"/>
                    <a:pt x="0" y="5"/>
                  </a:cubicBezTo>
                  <a:cubicBezTo>
                    <a:pt x="3" y="7"/>
                    <a:pt x="4" y="8"/>
                    <a:pt x="2" y="10"/>
                  </a:cubicBezTo>
                  <a:cubicBezTo>
                    <a:pt x="0" y="13"/>
                    <a:pt x="0" y="20"/>
                    <a:pt x="2" y="22"/>
                  </a:cubicBezTo>
                  <a:cubicBezTo>
                    <a:pt x="4" y="24"/>
                    <a:pt x="5" y="28"/>
                    <a:pt x="7" y="29"/>
                  </a:cubicBezTo>
                  <a:cubicBezTo>
                    <a:pt x="8" y="27"/>
                    <a:pt x="8" y="25"/>
                    <a:pt x="10" y="2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6" name="Freeform 253">
              <a:extLst>
                <a:ext uri="{FF2B5EF4-FFF2-40B4-BE49-F238E27FC236}">
                  <a16:creationId xmlns:a16="http://schemas.microsoft.com/office/drawing/2014/main" id="{E87CC933-900A-C5A3-C831-03A5987FC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5849" y="2659548"/>
              <a:ext cx="225396" cy="98412"/>
            </a:xfrm>
            <a:custGeom>
              <a:avLst/>
              <a:gdLst>
                <a:gd name="T0" fmla="*/ 51 w 60"/>
                <a:gd name="T1" fmla="*/ 2 h 26"/>
                <a:gd name="T2" fmla="*/ 43 w 60"/>
                <a:gd name="T3" fmla="*/ 0 h 26"/>
                <a:gd name="T4" fmla="*/ 42 w 60"/>
                <a:gd name="T5" fmla="*/ 3 h 26"/>
                <a:gd name="T6" fmla="*/ 35 w 60"/>
                <a:gd name="T7" fmla="*/ 4 h 26"/>
                <a:gd name="T8" fmla="*/ 31 w 60"/>
                <a:gd name="T9" fmla="*/ 7 h 26"/>
                <a:gd name="T10" fmla="*/ 27 w 60"/>
                <a:gd name="T11" fmla="*/ 12 h 26"/>
                <a:gd name="T12" fmla="*/ 24 w 60"/>
                <a:gd name="T13" fmla="*/ 14 h 26"/>
                <a:gd name="T14" fmla="*/ 16 w 60"/>
                <a:gd name="T15" fmla="*/ 16 h 26"/>
                <a:gd name="T16" fmla="*/ 11 w 60"/>
                <a:gd name="T17" fmla="*/ 16 h 26"/>
                <a:gd name="T18" fmla="*/ 7 w 60"/>
                <a:gd name="T19" fmla="*/ 17 h 26"/>
                <a:gd name="T20" fmla="*/ 2 w 60"/>
                <a:gd name="T21" fmla="*/ 15 h 26"/>
                <a:gd name="T22" fmla="*/ 1 w 60"/>
                <a:gd name="T23" fmla="*/ 20 h 26"/>
                <a:gd name="T24" fmla="*/ 5 w 60"/>
                <a:gd name="T25" fmla="*/ 22 h 26"/>
                <a:gd name="T26" fmla="*/ 10 w 60"/>
                <a:gd name="T27" fmla="*/ 23 h 26"/>
                <a:gd name="T28" fmla="*/ 15 w 60"/>
                <a:gd name="T29" fmla="*/ 21 h 26"/>
                <a:gd name="T30" fmla="*/ 22 w 60"/>
                <a:gd name="T31" fmla="*/ 20 h 26"/>
                <a:gd name="T32" fmla="*/ 23 w 60"/>
                <a:gd name="T33" fmla="*/ 24 h 26"/>
                <a:gd name="T34" fmla="*/ 30 w 60"/>
                <a:gd name="T35" fmla="*/ 25 h 26"/>
                <a:gd name="T36" fmla="*/ 39 w 60"/>
                <a:gd name="T37" fmla="*/ 26 h 26"/>
                <a:gd name="T38" fmla="*/ 46 w 60"/>
                <a:gd name="T39" fmla="*/ 24 h 26"/>
                <a:gd name="T40" fmla="*/ 52 w 60"/>
                <a:gd name="T41" fmla="*/ 22 h 26"/>
                <a:gd name="T42" fmla="*/ 52 w 60"/>
                <a:gd name="T43" fmla="*/ 22 h 26"/>
                <a:gd name="T44" fmla="*/ 53 w 60"/>
                <a:gd name="T45" fmla="*/ 20 h 26"/>
                <a:gd name="T46" fmla="*/ 54 w 60"/>
                <a:gd name="T47" fmla="*/ 17 h 26"/>
                <a:gd name="T48" fmla="*/ 55 w 60"/>
                <a:gd name="T49" fmla="*/ 14 h 26"/>
                <a:gd name="T50" fmla="*/ 59 w 60"/>
                <a:gd name="T51" fmla="*/ 12 h 26"/>
                <a:gd name="T52" fmla="*/ 60 w 60"/>
                <a:gd name="T53" fmla="*/ 9 h 26"/>
                <a:gd name="T54" fmla="*/ 57 w 60"/>
                <a:gd name="T55" fmla="*/ 3 h 26"/>
                <a:gd name="T56" fmla="*/ 51 w 60"/>
                <a:gd name="T57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0" h="26">
                  <a:moveTo>
                    <a:pt x="51" y="2"/>
                  </a:moveTo>
                  <a:cubicBezTo>
                    <a:pt x="49" y="0"/>
                    <a:pt x="43" y="0"/>
                    <a:pt x="43" y="0"/>
                  </a:cubicBezTo>
                  <a:cubicBezTo>
                    <a:pt x="43" y="0"/>
                    <a:pt x="43" y="2"/>
                    <a:pt x="42" y="3"/>
                  </a:cubicBezTo>
                  <a:cubicBezTo>
                    <a:pt x="41" y="4"/>
                    <a:pt x="37" y="4"/>
                    <a:pt x="35" y="4"/>
                  </a:cubicBezTo>
                  <a:cubicBezTo>
                    <a:pt x="34" y="5"/>
                    <a:pt x="31" y="5"/>
                    <a:pt x="31" y="7"/>
                  </a:cubicBezTo>
                  <a:cubicBezTo>
                    <a:pt x="30" y="8"/>
                    <a:pt x="26" y="7"/>
                    <a:pt x="27" y="12"/>
                  </a:cubicBezTo>
                  <a:cubicBezTo>
                    <a:pt x="29" y="16"/>
                    <a:pt x="25" y="14"/>
                    <a:pt x="24" y="14"/>
                  </a:cubicBezTo>
                  <a:cubicBezTo>
                    <a:pt x="23" y="13"/>
                    <a:pt x="17" y="14"/>
                    <a:pt x="16" y="16"/>
                  </a:cubicBezTo>
                  <a:cubicBezTo>
                    <a:pt x="15" y="17"/>
                    <a:pt x="13" y="17"/>
                    <a:pt x="11" y="16"/>
                  </a:cubicBezTo>
                  <a:cubicBezTo>
                    <a:pt x="10" y="15"/>
                    <a:pt x="8" y="15"/>
                    <a:pt x="7" y="17"/>
                  </a:cubicBezTo>
                  <a:cubicBezTo>
                    <a:pt x="5" y="18"/>
                    <a:pt x="4" y="15"/>
                    <a:pt x="2" y="15"/>
                  </a:cubicBezTo>
                  <a:cubicBezTo>
                    <a:pt x="0" y="16"/>
                    <a:pt x="1" y="19"/>
                    <a:pt x="1" y="20"/>
                  </a:cubicBezTo>
                  <a:cubicBezTo>
                    <a:pt x="1" y="20"/>
                    <a:pt x="4" y="23"/>
                    <a:pt x="5" y="22"/>
                  </a:cubicBezTo>
                  <a:cubicBezTo>
                    <a:pt x="7" y="21"/>
                    <a:pt x="9" y="22"/>
                    <a:pt x="10" y="23"/>
                  </a:cubicBezTo>
                  <a:cubicBezTo>
                    <a:pt x="12" y="24"/>
                    <a:pt x="14" y="22"/>
                    <a:pt x="15" y="21"/>
                  </a:cubicBezTo>
                  <a:cubicBezTo>
                    <a:pt x="16" y="20"/>
                    <a:pt x="21" y="20"/>
                    <a:pt x="22" y="20"/>
                  </a:cubicBezTo>
                  <a:cubicBezTo>
                    <a:pt x="22" y="20"/>
                    <a:pt x="22" y="23"/>
                    <a:pt x="23" y="24"/>
                  </a:cubicBezTo>
                  <a:cubicBezTo>
                    <a:pt x="24" y="24"/>
                    <a:pt x="27" y="25"/>
                    <a:pt x="30" y="25"/>
                  </a:cubicBezTo>
                  <a:cubicBezTo>
                    <a:pt x="33" y="25"/>
                    <a:pt x="38" y="26"/>
                    <a:pt x="39" y="26"/>
                  </a:cubicBezTo>
                  <a:cubicBezTo>
                    <a:pt x="41" y="26"/>
                    <a:pt x="43" y="24"/>
                    <a:pt x="46" y="24"/>
                  </a:cubicBezTo>
                  <a:cubicBezTo>
                    <a:pt x="50" y="24"/>
                    <a:pt x="51" y="22"/>
                    <a:pt x="52" y="22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1"/>
                    <a:pt x="52" y="20"/>
                    <a:pt x="53" y="20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5" y="16"/>
                    <a:pt x="54" y="13"/>
                    <a:pt x="55" y="14"/>
                  </a:cubicBezTo>
                  <a:cubicBezTo>
                    <a:pt x="57" y="14"/>
                    <a:pt x="59" y="14"/>
                    <a:pt x="59" y="12"/>
                  </a:cubicBezTo>
                  <a:cubicBezTo>
                    <a:pt x="59" y="11"/>
                    <a:pt x="59" y="10"/>
                    <a:pt x="60" y="9"/>
                  </a:cubicBezTo>
                  <a:cubicBezTo>
                    <a:pt x="58" y="7"/>
                    <a:pt x="57" y="3"/>
                    <a:pt x="57" y="3"/>
                  </a:cubicBezTo>
                  <a:cubicBezTo>
                    <a:pt x="57" y="3"/>
                    <a:pt x="53" y="4"/>
                    <a:pt x="51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087" name="Freeform 254">
              <a:extLst>
                <a:ext uri="{FF2B5EF4-FFF2-40B4-BE49-F238E27FC236}">
                  <a16:creationId xmlns:a16="http://schemas.microsoft.com/office/drawing/2014/main" id="{BBF98DCA-ACCB-1ECA-A9EF-40C66AB08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1085" y="2670658"/>
              <a:ext cx="195238" cy="112698"/>
            </a:xfrm>
            <a:custGeom>
              <a:avLst/>
              <a:gdLst>
                <a:gd name="T0" fmla="*/ 50 w 52"/>
                <a:gd name="T1" fmla="*/ 6 h 30"/>
                <a:gd name="T2" fmla="*/ 48 w 52"/>
                <a:gd name="T3" fmla="*/ 4 h 30"/>
                <a:gd name="T4" fmla="*/ 43 w 52"/>
                <a:gd name="T5" fmla="*/ 3 h 30"/>
                <a:gd name="T6" fmla="*/ 36 w 52"/>
                <a:gd name="T7" fmla="*/ 0 h 30"/>
                <a:gd name="T8" fmla="*/ 29 w 52"/>
                <a:gd name="T9" fmla="*/ 5 h 30"/>
                <a:gd name="T10" fmla="*/ 20 w 52"/>
                <a:gd name="T11" fmla="*/ 8 h 30"/>
                <a:gd name="T12" fmla="*/ 9 w 52"/>
                <a:gd name="T13" fmla="*/ 8 h 30"/>
                <a:gd name="T14" fmla="*/ 8 w 52"/>
                <a:gd name="T15" fmla="*/ 6 h 30"/>
                <a:gd name="T16" fmla="*/ 7 w 52"/>
                <a:gd name="T17" fmla="*/ 9 h 30"/>
                <a:gd name="T18" fmla="*/ 3 w 52"/>
                <a:gd name="T19" fmla="*/ 11 h 30"/>
                <a:gd name="T20" fmla="*/ 2 w 52"/>
                <a:gd name="T21" fmla="*/ 14 h 30"/>
                <a:gd name="T22" fmla="*/ 1 w 52"/>
                <a:gd name="T23" fmla="*/ 17 h 30"/>
                <a:gd name="T24" fmla="*/ 0 w 52"/>
                <a:gd name="T25" fmla="*/ 19 h 30"/>
                <a:gd name="T26" fmla="*/ 2 w 52"/>
                <a:gd name="T27" fmla="*/ 22 h 30"/>
                <a:gd name="T28" fmla="*/ 2 w 52"/>
                <a:gd name="T29" fmla="*/ 22 h 30"/>
                <a:gd name="T30" fmla="*/ 8 w 52"/>
                <a:gd name="T31" fmla="*/ 27 h 30"/>
                <a:gd name="T32" fmla="*/ 17 w 52"/>
                <a:gd name="T33" fmla="*/ 29 h 30"/>
                <a:gd name="T34" fmla="*/ 28 w 52"/>
                <a:gd name="T35" fmla="*/ 26 h 30"/>
                <a:gd name="T36" fmla="*/ 31 w 52"/>
                <a:gd name="T37" fmla="*/ 27 h 30"/>
                <a:gd name="T38" fmla="*/ 33 w 52"/>
                <a:gd name="T39" fmla="*/ 27 h 30"/>
                <a:gd name="T40" fmla="*/ 38 w 52"/>
                <a:gd name="T41" fmla="*/ 24 h 30"/>
                <a:gd name="T42" fmla="*/ 46 w 52"/>
                <a:gd name="T43" fmla="*/ 12 h 30"/>
                <a:gd name="T44" fmla="*/ 51 w 52"/>
                <a:gd name="T45" fmla="*/ 8 h 30"/>
                <a:gd name="T46" fmla="*/ 50 w 52"/>
                <a:gd name="T4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30">
                  <a:moveTo>
                    <a:pt x="50" y="6"/>
                  </a:moveTo>
                  <a:cubicBezTo>
                    <a:pt x="50" y="5"/>
                    <a:pt x="49" y="5"/>
                    <a:pt x="48" y="4"/>
                  </a:cubicBezTo>
                  <a:cubicBezTo>
                    <a:pt x="46" y="4"/>
                    <a:pt x="44" y="3"/>
                    <a:pt x="43" y="3"/>
                  </a:cubicBezTo>
                  <a:cubicBezTo>
                    <a:pt x="42" y="1"/>
                    <a:pt x="37" y="1"/>
                    <a:pt x="36" y="0"/>
                  </a:cubicBezTo>
                  <a:cubicBezTo>
                    <a:pt x="35" y="0"/>
                    <a:pt x="30" y="5"/>
                    <a:pt x="29" y="5"/>
                  </a:cubicBezTo>
                  <a:cubicBezTo>
                    <a:pt x="27" y="5"/>
                    <a:pt x="20" y="6"/>
                    <a:pt x="20" y="8"/>
                  </a:cubicBezTo>
                  <a:cubicBezTo>
                    <a:pt x="20" y="10"/>
                    <a:pt x="12" y="10"/>
                    <a:pt x="9" y="8"/>
                  </a:cubicBezTo>
                  <a:cubicBezTo>
                    <a:pt x="9" y="7"/>
                    <a:pt x="8" y="7"/>
                    <a:pt x="8" y="6"/>
                  </a:cubicBezTo>
                  <a:cubicBezTo>
                    <a:pt x="7" y="7"/>
                    <a:pt x="7" y="8"/>
                    <a:pt x="7" y="9"/>
                  </a:cubicBezTo>
                  <a:cubicBezTo>
                    <a:pt x="7" y="11"/>
                    <a:pt x="5" y="11"/>
                    <a:pt x="3" y="11"/>
                  </a:cubicBezTo>
                  <a:cubicBezTo>
                    <a:pt x="2" y="10"/>
                    <a:pt x="3" y="13"/>
                    <a:pt x="2" y="14"/>
                  </a:cubicBezTo>
                  <a:cubicBezTo>
                    <a:pt x="2" y="15"/>
                    <a:pt x="2" y="17"/>
                    <a:pt x="1" y="17"/>
                  </a:cubicBezTo>
                  <a:cubicBezTo>
                    <a:pt x="0" y="17"/>
                    <a:pt x="0" y="18"/>
                    <a:pt x="0" y="19"/>
                  </a:cubicBezTo>
                  <a:cubicBezTo>
                    <a:pt x="0" y="19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3"/>
                    <a:pt x="7" y="26"/>
                    <a:pt x="8" y="27"/>
                  </a:cubicBezTo>
                  <a:cubicBezTo>
                    <a:pt x="10" y="29"/>
                    <a:pt x="14" y="30"/>
                    <a:pt x="17" y="29"/>
                  </a:cubicBezTo>
                  <a:cubicBezTo>
                    <a:pt x="19" y="29"/>
                    <a:pt x="28" y="26"/>
                    <a:pt x="28" y="26"/>
                  </a:cubicBezTo>
                  <a:cubicBezTo>
                    <a:pt x="28" y="26"/>
                    <a:pt x="30" y="27"/>
                    <a:pt x="31" y="27"/>
                  </a:cubicBezTo>
                  <a:cubicBezTo>
                    <a:pt x="31" y="27"/>
                    <a:pt x="32" y="27"/>
                    <a:pt x="33" y="27"/>
                  </a:cubicBezTo>
                  <a:cubicBezTo>
                    <a:pt x="34" y="27"/>
                    <a:pt x="36" y="26"/>
                    <a:pt x="38" y="24"/>
                  </a:cubicBezTo>
                  <a:cubicBezTo>
                    <a:pt x="41" y="21"/>
                    <a:pt x="44" y="12"/>
                    <a:pt x="46" y="12"/>
                  </a:cubicBezTo>
                  <a:cubicBezTo>
                    <a:pt x="47" y="11"/>
                    <a:pt x="49" y="9"/>
                    <a:pt x="51" y="8"/>
                  </a:cubicBezTo>
                  <a:cubicBezTo>
                    <a:pt x="52" y="7"/>
                    <a:pt x="52" y="6"/>
                    <a:pt x="50" y="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18" name="Freeform 255">
              <a:extLst>
                <a:ext uri="{FF2B5EF4-FFF2-40B4-BE49-F238E27FC236}">
                  <a16:creationId xmlns:a16="http://schemas.microsoft.com/office/drawing/2014/main" id="{571E7AB7-8715-170C-695D-F82385342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208" y="2577008"/>
              <a:ext cx="192063" cy="98412"/>
            </a:xfrm>
            <a:custGeom>
              <a:avLst/>
              <a:gdLst>
                <a:gd name="T0" fmla="*/ 48 w 51"/>
                <a:gd name="T1" fmla="*/ 12 h 26"/>
                <a:gd name="T2" fmla="*/ 43 w 51"/>
                <a:gd name="T3" fmla="*/ 11 h 26"/>
                <a:gd name="T4" fmla="*/ 41 w 51"/>
                <a:gd name="T5" fmla="*/ 8 h 26"/>
                <a:gd name="T6" fmla="*/ 36 w 51"/>
                <a:gd name="T7" fmla="*/ 9 h 26"/>
                <a:gd name="T8" fmla="*/ 32 w 51"/>
                <a:gd name="T9" fmla="*/ 7 h 26"/>
                <a:gd name="T10" fmla="*/ 27 w 51"/>
                <a:gd name="T11" fmla="*/ 3 h 26"/>
                <a:gd name="T12" fmla="*/ 22 w 51"/>
                <a:gd name="T13" fmla="*/ 1 h 26"/>
                <a:gd name="T14" fmla="*/ 22 w 51"/>
                <a:gd name="T15" fmla="*/ 1 h 26"/>
                <a:gd name="T16" fmla="*/ 17 w 51"/>
                <a:gd name="T17" fmla="*/ 2 h 26"/>
                <a:gd name="T18" fmla="*/ 11 w 51"/>
                <a:gd name="T19" fmla="*/ 5 h 26"/>
                <a:gd name="T20" fmla="*/ 2 w 51"/>
                <a:gd name="T21" fmla="*/ 8 h 26"/>
                <a:gd name="T22" fmla="*/ 3 w 51"/>
                <a:gd name="T23" fmla="*/ 12 h 26"/>
                <a:gd name="T24" fmla="*/ 6 w 51"/>
                <a:gd name="T25" fmla="*/ 19 h 26"/>
                <a:gd name="T26" fmla="*/ 14 w 51"/>
                <a:gd name="T27" fmla="*/ 25 h 26"/>
                <a:gd name="T28" fmla="*/ 14 w 51"/>
                <a:gd name="T29" fmla="*/ 26 h 26"/>
                <a:gd name="T30" fmla="*/ 21 w 51"/>
                <a:gd name="T31" fmla="*/ 25 h 26"/>
                <a:gd name="T32" fmla="*/ 22 w 51"/>
                <a:gd name="T33" fmla="*/ 22 h 26"/>
                <a:gd name="T34" fmla="*/ 30 w 51"/>
                <a:gd name="T35" fmla="*/ 24 h 26"/>
                <a:gd name="T36" fmla="*/ 36 w 51"/>
                <a:gd name="T37" fmla="*/ 25 h 26"/>
                <a:gd name="T38" fmla="*/ 36 w 51"/>
                <a:gd name="T39" fmla="*/ 26 h 26"/>
                <a:gd name="T40" fmla="*/ 39 w 51"/>
                <a:gd name="T41" fmla="*/ 24 h 26"/>
                <a:gd name="T42" fmla="*/ 46 w 51"/>
                <a:gd name="T43" fmla="*/ 20 h 26"/>
                <a:gd name="T44" fmla="*/ 51 w 51"/>
                <a:gd name="T45" fmla="*/ 16 h 26"/>
                <a:gd name="T46" fmla="*/ 48 w 51"/>
                <a:gd name="T47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26">
                  <a:moveTo>
                    <a:pt x="48" y="12"/>
                  </a:moveTo>
                  <a:cubicBezTo>
                    <a:pt x="47" y="11"/>
                    <a:pt x="43" y="12"/>
                    <a:pt x="43" y="11"/>
                  </a:cubicBezTo>
                  <a:cubicBezTo>
                    <a:pt x="43" y="10"/>
                    <a:pt x="43" y="8"/>
                    <a:pt x="41" y="8"/>
                  </a:cubicBezTo>
                  <a:cubicBezTo>
                    <a:pt x="39" y="8"/>
                    <a:pt x="37" y="7"/>
                    <a:pt x="36" y="9"/>
                  </a:cubicBezTo>
                  <a:cubicBezTo>
                    <a:pt x="36" y="11"/>
                    <a:pt x="32" y="8"/>
                    <a:pt x="32" y="7"/>
                  </a:cubicBezTo>
                  <a:cubicBezTo>
                    <a:pt x="32" y="6"/>
                    <a:pt x="31" y="5"/>
                    <a:pt x="27" y="3"/>
                  </a:cubicBezTo>
                  <a:cubicBezTo>
                    <a:pt x="25" y="3"/>
                    <a:pt x="24" y="2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2"/>
                    <a:pt x="19" y="0"/>
                    <a:pt x="17" y="2"/>
                  </a:cubicBezTo>
                  <a:cubicBezTo>
                    <a:pt x="16" y="3"/>
                    <a:pt x="13" y="3"/>
                    <a:pt x="11" y="5"/>
                  </a:cubicBezTo>
                  <a:cubicBezTo>
                    <a:pt x="9" y="6"/>
                    <a:pt x="5" y="7"/>
                    <a:pt x="2" y="8"/>
                  </a:cubicBezTo>
                  <a:cubicBezTo>
                    <a:pt x="0" y="8"/>
                    <a:pt x="2" y="10"/>
                    <a:pt x="3" y="12"/>
                  </a:cubicBezTo>
                  <a:cubicBezTo>
                    <a:pt x="4" y="14"/>
                    <a:pt x="4" y="18"/>
                    <a:pt x="6" y="19"/>
                  </a:cubicBezTo>
                  <a:cubicBezTo>
                    <a:pt x="7" y="20"/>
                    <a:pt x="13" y="24"/>
                    <a:pt x="14" y="25"/>
                  </a:cubicBezTo>
                  <a:cubicBezTo>
                    <a:pt x="14" y="25"/>
                    <a:pt x="14" y="25"/>
                    <a:pt x="14" y="26"/>
                  </a:cubicBezTo>
                  <a:cubicBezTo>
                    <a:pt x="16" y="26"/>
                    <a:pt x="20" y="26"/>
                    <a:pt x="21" y="25"/>
                  </a:cubicBezTo>
                  <a:cubicBezTo>
                    <a:pt x="22" y="24"/>
                    <a:pt x="22" y="22"/>
                    <a:pt x="22" y="22"/>
                  </a:cubicBezTo>
                  <a:cubicBezTo>
                    <a:pt x="22" y="22"/>
                    <a:pt x="28" y="22"/>
                    <a:pt x="30" y="24"/>
                  </a:cubicBezTo>
                  <a:cubicBezTo>
                    <a:pt x="32" y="26"/>
                    <a:pt x="36" y="25"/>
                    <a:pt x="36" y="25"/>
                  </a:cubicBezTo>
                  <a:cubicBezTo>
                    <a:pt x="36" y="25"/>
                    <a:pt x="36" y="25"/>
                    <a:pt x="36" y="26"/>
                  </a:cubicBezTo>
                  <a:cubicBezTo>
                    <a:pt x="37" y="25"/>
                    <a:pt x="38" y="24"/>
                    <a:pt x="39" y="24"/>
                  </a:cubicBezTo>
                  <a:cubicBezTo>
                    <a:pt x="41" y="23"/>
                    <a:pt x="44" y="23"/>
                    <a:pt x="46" y="20"/>
                  </a:cubicBezTo>
                  <a:cubicBezTo>
                    <a:pt x="48" y="18"/>
                    <a:pt x="49" y="17"/>
                    <a:pt x="51" y="16"/>
                  </a:cubicBezTo>
                  <a:cubicBezTo>
                    <a:pt x="50" y="15"/>
                    <a:pt x="49" y="13"/>
                    <a:pt x="48" y="1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19" name="Freeform 256">
              <a:extLst>
                <a:ext uri="{FF2B5EF4-FFF2-40B4-BE49-F238E27FC236}">
                  <a16:creationId xmlns:a16="http://schemas.microsoft.com/office/drawing/2014/main" id="{59B82AAA-2616-EE6E-A862-DEF2ADBA5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134" y="2637322"/>
              <a:ext cx="169841" cy="71430"/>
            </a:xfrm>
            <a:custGeom>
              <a:avLst/>
              <a:gdLst>
                <a:gd name="T0" fmla="*/ 34 w 45"/>
                <a:gd name="T1" fmla="*/ 2 h 19"/>
                <a:gd name="T2" fmla="*/ 28 w 45"/>
                <a:gd name="T3" fmla="*/ 1 h 19"/>
                <a:gd name="T4" fmla="*/ 21 w 45"/>
                <a:gd name="T5" fmla="*/ 0 h 19"/>
                <a:gd name="T6" fmla="*/ 16 w 45"/>
                <a:gd name="T7" fmla="*/ 1 h 19"/>
                <a:gd name="T8" fmla="*/ 15 w 45"/>
                <a:gd name="T9" fmla="*/ 0 h 19"/>
                <a:gd name="T10" fmla="*/ 10 w 45"/>
                <a:gd name="T11" fmla="*/ 4 h 19"/>
                <a:gd name="T12" fmla="*/ 3 w 45"/>
                <a:gd name="T13" fmla="*/ 8 h 19"/>
                <a:gd name="T14" fmla="*/ 0 w 45"/>
                <a:gd name="T15" fmla="*/ 10 h 19"/>
                <a:gd name="T16" fmla="*/ 4 w 45"/>
                <a:gd name="T17" fmla="*/ 17 h 19"/>
                <a:gd name="T18" fmla="*/ 15 w 45"/>
                <a:gd name="T19" fmla="*/ 17 h 19"/>
                <a:gd name="T20" fmla="*/ 24 w 45"/>
                <a:gd name="T21" fmla="*/ 14 h 19"/>
                <a:gd name="T22" fmla="*/ 31 w 45"/>
                <a:gd name="T23" fmla="*/ 9 h 19"/>
                <a:gd name="T24" fmla="*/ 38 w 45"/>
                <a:gd name="T25" fmla="*/ 12 h 19"/>
                <a:gd name="T26" fmla="*/ 43 w 45"/>
                <a:gd name="T27" fmla="*/ 13 h 19"/>
                <a:gd name="T28" fmla="*/ 42 w 45"/>
                <a:gd name="T29" fmla="*/ 11 h 19"/>
                <a:gd name="T30" fmla="*/ 45 w 45"/>
                <a:gd name="T31" fmla="*/ 5 h 19"/>
                <a:gd name="T32" fmla="*/ 45 w 45"/>
                <a:gd name="T33" fmla="*/ 5 h 19"/>
                <a:gd name="T34" fmla="*/ 41 w 45"/>
                <a:gd name="T35" fmla="*/ 3 h 19"/>
                <a:gd name="T36" fmla="*/ 34 w 45"/>
                <a:gd name="T37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19">
                  <a:moveTo>
                    <a:pt x="34" y="2"/>
                  </a:moveTo>
                  <a:cubicBezTo>
                    <a:pt x="31" y="2"/>
                    <a:pt x="30" y="0"/>
                    <a:pt x="28" y="1"/>
                  </a:cubicBezTo>
                  <a:cubicBezTo>
                    <a:pt x="26" y="2"/>
                    <a:pt x="22" y="1"/>
                    <a:pt x="21" y="0"/>
                  </a:cubicBezTo>
                  <a:cubicBezTo>
                    <a:pt x="20" y="0"/>
                    <a:pt x="18" y="2"/>
                    <a:pt x="16" y="1"/>
                  </a:cubicBezTo>
                  <a:cubicBezTo>
                    <a:pt x="16" y="1"/>
                    <a:pt x="15" y="0"/>
                    <a:pt x="15" y="0"/>
                  </a:cubicBezTo>
                  <a:cubicBezTo>
                    <a:pt x="13" y="1"/>
                    <a:pt x="12" y="2"/>
                    <a:pt x="10" y="4"/>
                  </a:cubicBezTo>
                  <a:cubicBezTo>
                    <a:pt x="8" y="7"/>
                    <a:pt x="5" y="7"/>
                    <a:pt x="3" y="8"/>
                  </a:cubicBezTo>
                  <a:cubicBezTo>
                    <a:pt x="2" y="8"/>
                    <a:pt x="1" y="9"/>
                    <a:pt x="0" y="10"/>
                  </a:cubicBezTo>
                  <a:cubicBezTo>
                    <a:pt x="1" y="12"/>
                    <a:pt x="3" y="15"/>
                    <a:pt x="4" y="17"/>
                  </a:cubicBezTo>
                  <a:cubicBezTo>
                    <a:pt x="7" y="19"/>
                    <a:pt x="15" y="19"/>
                    <a:pt x="15" y="17"/>
                  </a:cubicBezTo>
                  <a:cubicBezTo>
                    <a:pt x="15" y="15"/>
                    <a:pt x="22" y="14"/>
                    <a:pt x="24" y="14"/>
                  </a:cubicBezTo>
                  <a:cubicBezTo>
                    <a:pt x="25" y="14"/>
                    <a:pt x="30" y="9"/>
                    <a:pt x="31" y="9"/>
                  </a:cubicBezTo>
                  <a:cubicBezTo>
                    <a:pt x="32" y="10"/>
                    <a:pt x="37" y="10"/>
                    <a:pt x="38" y="12"/>
                  </a:cubicBezTo>
                  <a:cubicBezTo>
                    <a:pt x="39" y="12"/>
                    <a:pt x="41" y="13"/>
                    <a:pt x="43" y="13"/>
                  </a:cubicBezTo>
                  <a:cubicBezTo>
                    <a:pt x="42" y="13"/>
                    <a:pt x="42" y="12"/>
                    <a:pt x="42" y="11"/>
                  </a:cubicBezTo>
                  <a:cubicBezTo>
                    <a:pt x="42" y="9"/>
                    <a:pt x="44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3" y="4"/>
                    <a:pt x="41" y="4"/>
                    <a:pt x="41" y="3"/>
                  </a:cubicBezTo>
                  <a:cubicBezTo>
                    <a:pt x="40" y="3"/>
                    <a:pt x="37" y="2"/>
                    <a:pt x="34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0" name="Freeform 257">
              <a:extLst>
                <a:ext uri="{FF2B5EF4-FFF2-40B4-BE49-F238E27FC236}">
                  <a16:creationId xmlns:a16="http://schemas.microsoft.com/office/drawing/2014/main" id="{FB15E724-93EE-BA5A-897F-114DC0984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723" y="2919863"/>
              <a:ext cx="111111" cy="187301"/>
            </a:xfrm>
            <a:custGeom>
              <a:avLst/>
              <a:gdLst>
                <a:gd name="T0" fmla="*/ 22 w 30"/>
                <a:gd name="T1" fmla="*/ 41 h 50"/>
                <a:gd name="T2" fmla="*/ 20 w 30"/>
                <a:gd name="T3" fmla="*/ 37 h 50"/>
                <a:gd name="T4" fmla="*/ 22 w 30"/>
                <a:gd name="T5" fmla="*/ 32 h 50"/>
                <a:gd name="T6" fmla="*/ 20 w 30"/>
                <a:gd name="T7" fmla="*/ 28 h 50"/>
                <a:gd name="T8" fmla="*/ 22 w 30"/>
                <a:gd name="T9" fmla="*/ 25 h 50"/>
                <a:gd name="T10" fmla="*/ 23 w 30"/>
                <a:gd name="T11" fmla="*/ 19 h 50"/>
                <a:gd name="T12" fmla="*/ 23 w 30"/>
                <a:gd name="T13" fmla="*/ 12 h 50"/>
                <a:gd name="T14" fmla="*/ 28 w 30"/>
                <a:gd name="T15" fmla="*/ 7 h 50"/>
                <a:gd name="T16" fmla="*/ 26 w 30"/>
                <a:gd name="T17" fmla="*/ 4 h 50"/>
                <a:gd name="T18" fmla="*/ 21 w 30"/>
                <a:gd name="T19" fmla="*/ 3 h 50"/>
                <a:gd name="T20" fmla="*/ 18 w 30"/>
                <a:gd name="T21" fmla="*/ 3 h 50"/>
                <a:gd name="T22" fmla="*/ 13 w 30"/>
                <a:gd name="T23" fmla="*/ 2 h 50"/>
                <a:gd name="T24" fmla="*/ 10 w 30"/>
                <a:gd name="T25" fmla="*/ 2 h 50"/>
                <a:gd name="T26" fmla="*/ 8 w 30"/>
                <a:gd name="T27" fmla="*/ 3 h 50"/>
                <a:gd name="T28" fmla="*/ 8 w 30"/>
                <a:gd name="T29" fmla="*/ 8 h 50"/>
                <a:gd name="T30" fmla="*/ 3 w 30"/>
                <a:gd name="T31" fmla="*/ 27 h 50"/>
                <a:gd name="T32" fmla="*/ 6 w 30"/>
                <a:gd name="T33" fmla="*/ 34 h 50"/>
                <a:gd name="T34" fmla="*/ 7 w 30"/>
                <a:gd name="T35" fmla="*/ 48 h 50"/>
                <a:gd name="T36" fmla="*/ 13 w 30"/>
                <a:gd name="T37" fmla="*/ 50 h 50"/>
                <a:gd name="T38" fmla="*/ 20 w 30"/>
                <a:gd name="T39" fmla="*/ 48 h 50"/>
                <a:gd name="T40" fmla="*/ 19 w 30"/>
                <a:gd name="T41" fmla="*/ 46 h 50"/>
                <a:gd name="T42" fmla="*/ 22 w 30"/>
                <a:gd name="T43" fmla="*/ 4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50">
                  <a:moveTo>
                    <a:pt x="22" y="41"/>
                  </a:moveTo>
                  <a:cubicBezTo>
                    <a:pt x="25" y="40"/>
                    <a:pt x="21" y="38"/>
                    <a:pt x="20" y="37"/>
                  </a:cubicBezTo>
                  <a:cubicBezTo>
                    <a:pt x="19" y="36"/>
                    <a:pt x="20" y="32"/>
                    <a:pt x="22" y="32"/>
                  </a:cubicBezTo>
                  <a:cubicBezTo>
                    <a:pt x="24" y="32"/>
                    <a:pt x="22" y="30"/>
                    <a:pt x="20" y="28"/>
                  </a:cubicBezTo>
                  <a:cubicBezTo>
                    <a:pt x="17" y="26"/>
                    <a:pt x="20" y="25"/>
                    <a:pt x="22" y="25"/>
                  </a:cubicBezTo>
                  <a:cubicBezTo>
                    <a:pt x="24" y="25"/>
                    <a:pt x="21" y="21"/>
                    <a:pt x="23" y="19"/>
                  </a:cubicBezTo>
                  <a:cubicBezTo>
                    <a:pt x="25" y="17"/>
                    <a:pt x="23" y="14"/>
                    <a:pt x="23" y="12"/>
                  </a:cubicBezTo>
                  <a:cubicBezTo>
                    <a:pt x="23" y="10"/>
                    <a:pt x="25" y="10"/>
                    <a:pt x="28" y="7"/>
                  </a:cubicBezTo>
                  <a:cubicBezTo>
                    <a:pt x="30" y="5"/>
                    <a:pt x="26" y="6"/>
                    <a:pt x="26" y="4"/>
                  </a:cubicBezTo>
                  <a:cubicBezTo>
                    <a:pt x="26" y="2"/>
                    <a:pt x="23" y="2"/>
                    <a:pt x="21" y="3"/>
                  </a:cubicBezTo>
                  <a:cubicBezTo>
                    <a:pt x="19" y="5"/>
                    <a:pt x="19" y="3"/>
                    <a:pt x="18" y="3"/>
                  </a:cubicBezTo>
                  <a:cubicBezTo>
                    <a:pt x="16" y="3"/>
                    <a:pt x="13" y="4"/>
                    <a:pt x="13" y="2"/>
                  </a:cubicBezTo>
                  <a:cubicBezTo>
                    <a:pt x="13" y="0"/>
                    <a:pt x="11" y="0"/>
                    <a:pt x="10" y="2"/>
                  </a:cubicBezTo>
                  <a:cubicBezTo>
                    <a:pt x="9" y="2"/>
                    <a:pt x="9" y="3"/>
                    <a:pt x="8" y="3"/>
                  </a:cubicBezTo>
                  <a:cubicBezTo>
                    <a:pt x="7" y="5"/>
                    <a:pt x="7" y="7"/>
                    <a:pt x="8" y="8"/>
                  </a:cubicBezTo>
                  <a:cubicBezTo>
                    <a:pt x="9" y="11"/>
                    <a:pt x="6" y="24"/>
                    <a:pt x="3" y="27"/>
                  </a:cubicBezTo>
                  <a:cubicBezTo>
                    <a:pt x="0" y="31"/>
                    <a:pt x="3" y="32"/>
                    <a:pt x="6" y="34"/>
                  </a:cubicBezTo>
                  <a:cubicBezTo>
                    <a:pt x="9" y="37"/>
                    <a:pt x="7" y="46"/>
                    <a:pt x="7" y="48"/>
                  </a:cubicBezTo>
                  <a:cubicBezTo>
                    <a:pt x="7" y="50"/>
                    <a:pt x="10" y="50"/>
                    <a:pt x="13" y="50"/>
                  </a:cubicBezTo>
                  <a:cubicBezTo>
                    <a:pt x="15" y="50"/>
                    <a:pt x="18" y="49"/>
                    <a:pt x="20" y="48"/>
                  </a:cubicBezTo>
                  <a:cubicBezTo>
                    <a:pt x="19" y="47"/>
                    <a:pt x="19" y="46"/>
                    <a:pt x="19" y="46"/>
                  </a:cubicBezTo>
                  <a:cubicBezTo>
                    <a:pt x="19" y="44"/>
                    <a:pt x="19" y="41"/>
                    <a:pt x="22" y="4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1" name="Freeform 258">
              <a:extLst>
                <a:ext uri="{FF2B5EF4-FFF2-40B4-BE49-F238E27FC236}">
                  <a16:creationId xmlns:a16="http://schemas.microsoft.com/office/drawing/2014/main" id="{9E01FF61-7B31-381C-5E3D-6524480A8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74" y="2480180"/>
              <a:ext cx="123809" cy="107937"/>
            </a:xfrm>
            <a:custGeom>
              <a:avLst/>
              <a:gdLst>
                <a:gd name="T0" fmla="*/ 10 w 33"/>
                <a:gd name="T1" fmla="*/ 22 h 29"/>
                <a:gd name="T2" fmla="*/ 16 w 33"/>
                <a:gd name="T3" fmla="*/ 23 h 29"/>
                <a:gd name="T4" fmla="*/ 21 w 33"/>
                <a:gd name="T5" fmla="*/ 27 h 29"/>
                <a:gd name="T6" fmla="*/ 23 w 33"/>
                <a:gd name="T7" fmla="*/ 29 h 29"/>
                <a:gd name="T8" fmla="*/ 24 w 33"/>
                <a:gd name="T9" fmla="*/ 23 h 29"/>
                <a:gd name="T10" fmla="*/ 25 w 33"/>
                <a:gd name="T11" fmla="*/ 19 h 29"/>
                <a:gd name="T12" fmla="*/ 29 w 33"/>
                <a:gd name="T13" fmla="*/ 17 h 29"/>
                <a:gd name="T14" fmla="*/ 31 w 33"/>
                <a:gd name="T15" fmla="*/ 14 h 29"/>
                <a:gd name="T16" fmla="*/ 28 w 33"/>
                <a:gd name="T17" fmla="*/ 10 h 29"/>
                <a:gd name="T18" fmla="*/ 32 w 33"/>
                <a:gd name="T19" fmla="*/ 6 h 29"/>
                <a:gd name="T20" fmla="*/ 32 w 33"/>
                <a:gd name="T21" fmla="*/ 0 h 29"/>
                <a:gd name="T22" fmla="*/ 30 w 33"/>
                <a:gd name="T23" fmla="*/ 1 h 29"/>
                <a:gd name="T24" fmla="*/ 22 w 33"/>
                <a:gd name="T25" fmla="*/ 2 h 29"/>
                <a:gd name="T26" fmla="*/ 18 w 33"/>
                <a:gd name="T27" fmla="*/ 7 h 29"/>
                <a:gd name="T28" fmla="*/ 15 w 33"/>
                <a:gd name="T29" fmla="*/ 7 h 29"/>
                <a:gd name="T30" fmla="*/ 11 w 33"/>
                <a:gd name="T31" fmla="*/ 9 h 29"/>
                <a:gd name="T32" fmla="*/ 7 w 33"/>
                <a:gd name="T33" fmla="*/ 16 h 29"/>
                <a:gd name="T34" fmla="*/ 1 w 33"/>
                <a:gd name="T35" fmla="*/ 23 h 29"/>
                <a:gd name="T36" fmla="*/ 0 w 33"/>
                <a:gd name="T37" fmla="*/ 24 h 29"/>
                <a:gd name="T38" fmla="*/ 3 w 33"/>
                <a:gd name="T39" fmla="*/ 25 h 29"/>
                <a:gd name="T40" fmla="*/ 10 w 33"/>
                <a:gd name="T41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29">
                  <a:moveTo>
                    <a:pt x="10" y="22"/>
                  </a:moveTo>
                  <a:cubicBezTo>
                    <a:pt x="12" y="21"/>
                    <a:pt x="14" y="22"/>
                    <a:pt x="16" y="23"/>
                  </a:cubicBezTo>
                  <a:cubicBezTo>
                    <a:pt x="17" y="25"/>
                    <a:pt x="19" y="25"/>
                    <a:pt x="21" y="27"/>
                  </a:cubicBezTo>
                  <a:cubicBezTo>
                    <a:pt x="22" y="28"/>
                    <a:pt x="23" y="28"/>
                    <a:pt x="23" y="29"/>
                  </a:cubicBezTo>
                  <a:cubicBezTo>
                    <a:pt x="23" y="27"/>
                    <a:pt x="23" y="24"/>
                    <a:pt x="24" y="23"/>
                  </a:cubicBezTo>
                  <a:cubicBezTo>
                    <a:pt x="25" y="21"/>
                    <a:pt x="23" y="19"/>
                    <a:pt x="25" y="19"/>
                  </a:cubicBezTo>
                  <a:cubicBezTo>
                    <a:pt x="26" y="19"/>
                    <a:pt x="29" y="19"/>
                    <a:pt x="29" y="17"/>
                  </a:cubicBezTo>
                  <a:cubicBezTo>
                    <a:pt x="29" y="14"/>
                    <a:pt x="30" y="15"/>
                    <a:pt x="31" y="14"/>
                  </a:cubicBezTo>
                  <a:cubicBezTo>
                    <a:pt x="31" y="13"/>
                    <a:pt x="29" y="10"/>
                    <a:pt x="28" y="10"/>
                  </a:cubicBezTo>
                  <a:cubicBezTo>
                    <a:pt x="28" y="9"/>
                    <a:pt x="30" y="9"/>
                    <a:pt x="32" y="6"/>
                  </a:cubicBezTo>
                  <a:cubicBezTo>
                    <a:pt x="33" y="5"/>
                    <a:pt x="33" y="3"/>
                    <a:pt x="32" y="0"/>
                  </a:cubicBezTo>
                  <a:cubicBezTo>
                    <a:pt x="32" y="1"/>
                    <a:pt x="31" y="2"/>
                    <a:pt x="30" y="1"/>
                  </a:cubicBezTo>
                  <a:cubicBezTo>
                    <a:pt x="28" y="0"/>
                    <a:pt x="25" y="1"/>
                    <a:pt x="22" y="2"/>
                  </a:cubicBezTo>
                  <a:cubicBezTo>
                    <a:pt x="18" y="2"/>
                    <a:pt x="17" y="6"/>
                    <a:pt x="18" y="7"/>
                  </a:cubicBezTo>
                  <a:cubicBezTo>
                    <a:pt x="20" y="9"/>
                    <a:pt x="15" y="9"/>
                    <a:pt x="15" y="7"/>
                  </a:cubicBezTo>
                  <a:cubicBezTo>
                    <a:pt x="14" y="5"/>
                    <a:pt x="11" y="7"/>
                    <a:pt x="11" y="9"/>
                  </a:cubicBezTo>
                  <a:cubicBezTo>
                    <a:pt x="11" y="12"/>
                    <a:pt x="7" y="13"/>
                    <a:pt x="7" y="16"/>
                  </a:cubicBezTo>
                  <a:cubicBezTo>
                    <a:pt x="8" y="19"/>
                    <a:pt x="4" y="22"/>
                    <a:pt x="1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5"/>
                    <a:pt x="2" y="25"/>
                    <a:pt x="3" y="25"/>
                  </a:cubicBezTo>
                  <a:cubicBezTo>
                    <a:pt x="5" y="25"/>
                    <a:pt x="9" y="24"/>
                    <a:pt x="10" y="2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2" name="Freeform 259">
              <a:extLst>
                <a:ext uri="{FF2B5EF4-FFF2-40B4-BE49-F238E27FC236}">
                  <a16:creationId xmlns:a16="http://schemas.microsoft.com/office/drawing/2014/main" id="{1DCDA2C2-5F81-BEAA-CE65-4D701D241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47" y="2607166"/>
              <a:ext cx="19049" cy="30159"/>
            </a:xfrm>
            <a:custGeom>
              <a:avLst/>
              <a:gdLst>
                <a:gd name="T0" fmla="*/ 3 w 5"/>
                <a:gd name="T1" fmla="*/ 0 h 8"/>
                <a:gd name="T2" fmla="*/ 0 w 5"/>
                <a:gd name="T3" fmla="*/ 7 h 8"/>
                <a:gd name="T4" fmla="*/ 5 w 5"/>
                <a:gd name="T5" fmla="*/ 8 h 8"/>
                <a:gd name="T6" fmla="*/ 3 w 5"/>
                <a:gd name="T7" fmla="*/ 1 h 8"/>
                <a:gd name="T8" fmla="*/ 3 w 5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8">
                  <a:moveTo>
                    <a:pt x="3" y="0"/>
                  </a:moveTo>
                  <a:cubicBezTo>
                    <a:pt x="1" y="1"/>
                    <a:pt x="0" y="3"/>
                    <a:pt x="0" y="7"/>
                  </a:cubicBezTo>
                  <a:cubicBezTo>
                    <a:pt x="1" y="7"/>
                    <a:pt x="4" y="7"/>
                    <a:pt x="5" y="8"/>
                  </a:cubicBezTo>
                  <a:cubicBezTo>
                    <a:pt x="5" y="3"/>
                    <a:pt x="3" y="2"/>
                    <a:pt x="3" y="1"/>
                  </a:cubicBezTo>
                  <a:cubicBezTo>
                    <a:pt x="2" y="1"/>
                    <a:pt x="3" y="1"/>
                    <a:pt x="3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3" name="Freeform 260">
              <a:extLst>
                <a:ext uri="{FF2B5EF4-FFF2-40B4-BE49-F238E27FC236}">
                  <a16:creationId xmlns:a16="http://schemas.microsoft.com/office/drawing/2014/main" id="{FCD8FEA9-E90D-0BC9-A309-1AC7DB0307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151" y="2557961"/>
              <a:ext cx="119047" cy="87302"/>
            </a:xfrm>
            <a:custGeom>
              <a:avLst/>
              <a:gdLst>
                <a:gd name="T0" fmla="*/ 1 w 32"/>
                <a:gd name="T1" fmla="*/ 6 h 23"/>
                <a:gd name="T2" fmla="*/ 4 w 32"/>
                <a:gd name="T3" fmla="*/ 9 h 23"/>
                <a:gd name="T4" fmla="*/ 8 w 32"/>
                <a:gd name="T5" fmla="*/ 12 h 23"/>
                <a:gd name="T6" fmla="*/ 13 w 32"/>
                <a:gd name="T7" fmla="*/ 15 h 23"/>
                <a:gd name="T8" fmla="*/ 16 w 32"/>
                <a:gd name="T9" fmla="*/ 18 h 23"/>
                <a:gd name="T10" fmla="*/ 19 w 32"/>
                <a:gd name="T11" fmla="*/ 16 h 23"/>
                <a:gd name="T12" fmla="*/ 21 w 32"/>
                <a:gd name="T13" fmla="*/ 20 h 23"/>
                <a:gd name="T14" fmla="*/ 26 w 32"/>
                <a:gd name="T15" fmla="*/ 22 h 23"/>
                <a:gd name="T16" fmla="*/ 27 w 32"/>
                <a:gd name="T17" fmla="*/ 22 h 23"/>
                <a:gd name="T18" fmla="*/ 30 w 32"/>
                <a:gd name="T19" fmla="*/ 15 h 23"/>
                <a:gd name="T20" fmla="*/ 31 w 32"/>
                <a:gd name="T21" fmla="*/ 13 h 23"/>
                <a:gd name="T22" fmla="*/ 29 w 32"/>
                <a:gd name="T23" fmla="*/ 8 h 23"/>
                <a:gd name="T24" fmla="*/ 29 w 32"/>
                <a:gd name="T25" fmla="*/ 8 h 23"/>
                <a:gd name="T26" fmla="*/ 27 w 32"/>
                <a:gd name="T27" fmla="*/ 6 h 23"/>
                <a:gd name="T28" fmla="*/ 22 w 32"/>
                <a:gd name="T29" fmla="*/ 2 h 23"/>
                <a:gd name="T30" fmla="*/ 16 w 32"/>
                <a:gd name="T31" fmla="*/ 1 h 23"/>
                <a:gd name="T32" fmla="*/ 9 w 32"/>
                <a:gd name="T33" fmla="*/ 4 h 23"/>
                <a:gd name="T34" fmla="*/ 6 w 32"/>
                <a:gd name="T35" fmla="*/ 3 h 23"/>
                <a:gd name="T36" fmla="*/ 0 w 32"/>
                <a:gd name="T37" fmla="*/ 5 h 23"/>
                <a:gd name="T38" fmla="*/ 1 w 32"/>
                <a:gd name="T39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23">
                  <a:moveTo>
                    <a:pt x="1" y="6"/>
                  </a:moveTo>
                  <a:cubicBezTo>
                    <a:pt x="1" y="8"/>
                    <a:pt x="3" y="11"/>
                    <a:pt x="4" y="9"/>
                  </a:cubicBezTo>
                  <a:cubicBezTo>
                    <a:pt x="5" y="8"/>
                    <a:pt x="7" y="11"/>
                    <a:pt x="8" y="12"/>
                  </a:cubicBezTo>
                  <a:cubicBezTo>
                    <a:pt x="10" y="13"/>
                    <a:pt x="13" y="14"/>
                    <a:pt x="13" y="15"/>
                  </a:cubicBezTo>
                  <a:cubicBezTo>
                    <a:pt x="13" y="16"/>
                    <a:pt x="14" y="18"/>
                    <a:pt x="16" y="18"/>
                  </a:cubicBezTo>
                  <a:cubicBezTo>
                    <a:pt x="17" y="17"/>
                    <a:pt x="19" y="14"/>
                    <a:pt x="19" y="16"/>
                  </a:cubicBezTo>
                  <a:cubicBezTo>
                    <a:pt x="19" y="17"/>
                    <a:pt x="20" y="20"/>
                    <a:pt x="21" y="20"/>
                  </a:cubicBezTo>
                  <a:cubicBezTo>
                    <a:pt x="23" y="19"/>
                    <a:pt x="24" y="23"/>
                    <a:pt x="26" y="22"/>
                  </a:cubicBezTo>
                  <a:cubicBezTo>
                    <a:pt x="26" y="22"/>
                    <a:pt x="26" y="22"/>
                    <a:pt x="27" y="22"/>
                  </a:cubicBezTo>
                  <a:cubicBezTo>
                    <a:pt x="27" y="18"/>
                    <a:pt x="28" y="16"/>
                    <a:pt x="30" y="15"/>
                  </a:cubicBezTo>
                  <a:cubicBezTo>
                    <a:pt x="30" y="15"/>
                    <a:pt x="31" y="14"/>
                    <a:pt x="31" y="13"/>
                  </a:cubicBezTo>
                  <a:cubicBezTo>
                    <a:pt x="32" y="12"/>
                    <a:pt x="29" y="9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7"/>
                    <a:pt x="28" y="7"/>
                    <a:pt x="27" y="6"/>
                  </a:cubicBezTo>
                  <a:cubicBezTo>
                    <a:pt x="25" y="4"/>
                    <a:pt x="23" y="4"/>
                    <a:pt x="22" y="2"/>
                  </a:cubicBezTo>
                  <a:cubicBezTo>
                    <a:pt x="20" y="1"/>
                    <a:pt x="18" y="0"/>
                    <a:pt x="16" y="1"/>
                  </a:cubicBezTo>
                  <a:cubicBezTo>
                    <a:pt x="15" y="3"/>
                    <a:pt x="11" y="4"/>
                    <a:pt x="9" y="4"/>
                  </a:cubicBezTo>
                  <a:cubicBezTo>
                    <a:pt x="8" y="4"/>
                    <a:pt x="7" y="4"/>
                    <a:pt x="6" y="3"/>
                  </a:cubicBezTo>
                  <a:cubicBezTo>
                    <a:pt x="4" y="4"/>
                    <a:pt x="2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4" name="Freeform 261">
              <a:extLst>
                <a:ext uri="{FF2B5EF4-FFF2-40B4-BE49-F238E27FC236}">
                  <a16:creationId xmlns:a16="http://schemas.microsoft.com/office/drawing/2014/main" id="{9AB2F52F-EC35-843E-3035-4BD79CAE0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4892" y="2681770"/>
              <a:ext cx="274603" cy="180951"/>
            </a:xfrm>
            <a:custGeom>
              <a:avLst/>
              <a:gdLst>
                <a:gd name="T0" fmla="*/ 65 w 73"/>
                <a:gd name="T1" fmla="*/ 32 h 48"/>
                <a:gd name="T2" fmla="*/ 62 w 73"/>
                <a:gd name="T3" fmla="*/ 30 h 48"/>
                <a:gd name="T4" fmla="*/ 62 w 73"/>
                <a:gd name="T5" fmla="*/ 30 h 48"/>
                <a:gd name="T6" fmla="*/ 61 w 73"/>
                <a:gd name="T7" fmla="*/ 21 h 48"/>
                <a:gd name="T8" fmla="*/ 56 w 73"/>
                <a:gd name="T9" fmla="*/ 10 h 48"/>
                <a:gd name="T10" fmla="*/ 51 w 73"/>
                <a:gd name="T11" fmla="*/ 0 h 48"/>
                <a:gd name="T12" fmla="*/ 47 w 73"/>
                <a:gd name="T13" fmla="*/ 2 h 48"/>
                <a:gd name="T14" fmla="*/ 42 w 73"/>
                <a:gd name="T15" fmla="*/ 5 h 48"/>
                <a:gd name="T16" fmla="*/ 38 w 73"/>
                <a:gd name="T17" fmla="*/ 5 h 48"/>
                <a:gd name="T18" fmla="*/ 35 w 73"/>
                <a:gd name="T19" fmla="*/ 6 h 48"/>
                <a:gd name="T20" fmla="*/ 30 w 73"/>
                <a:gd name="T21" fmla="*/ 5 h 48"/>
                <a:gd name="T22" fmla="*/ 22 w 73"/>
                <a:gd name="T23" fmla="*/ 3 h 48"/>
                <a:gd name="T24" fmla="*/ 19 w 73"/>
                <a:gd name="T25" fmla="*/ 4 h 48"/>
                <a:gd name="T26" fmla="*/ 18 w 73"/>
                <a:gd name="T27" fmla="*/ 5 h 48"/>
                <a:gd name="T28" fmla="*/ 13 w 73"/>
                <a:gd name="T29" fmla="*/ 9 h 48"/>
                <a:gd name="T30" fmla="*/ 5 w 73"/>
                <a:gd name="T31" fmla="*/ 21 h 48"/>
                <a:gd name="T32" fmla="*/ 0 w 73"/>
                <a:gd name="T33" fmla="*/ 25 h 48"/>
                <a:gd name="T34" fmla="*/ 3 w 73"/>
                <a:gd name="T35" fmla="*/ 29 h 48"/>
                <a:gd name="T36" fmla="*/ 6 w 73"/>
                <a:gd name="T37" fmla="*/ 32 h 48"/>
                <a:gd name="T38" fmla="*/ 7 w 73"/>
                <a:gd name="T39" fmla="*/ 37 h 48"/>
                <a:gd name="T40" fmla="*/ 16 w 73"/>
                <a:gd name="T41" fmla="*/ 40 h 48"/>
                <a:gd name="T42" fmla="*/ 16 w 73"/>
                <a:gd name="T43" fmla="*/ 43 h 48"/>
                <a:gd name="T44" fmla="*/ 21 w 73"/>
                <a:gd name="T45" fmla="*/ 46 h 48"/>
                <a:gd name="T46" fmla="*/ 29 w 73"/>
                <a:gd name="T47" fmla="*/ 47 h 48"/>
                <a:gd name="T48" fmla="*/ 38 w 73"/>
                <a:gd name="T49" fmla="*/ 47 h 48"/>
                <a:gd name="T50" fmla="*/ 44 w 73"/>
                <a:gd name="T51" fmla="*/ 45 h 48"/>
                <a:gd name="T52" fmla="*/ 53 w 73"/>
                <a:gd name="T53" fmla="*/ 43 h 48"/>
                <a:gd name="T54" fmla="*/ 60 w 73"/>
                <a:gd name="T55" fmla="*/ 45 h 48"/>
                <a:gd name="T56" fmla="*/ 64 w 73"/>
                <a:gd name="T57" fmla="*/ 48 h 48"/>
                <a:gd name="T58" fmla="*/ 64 w 73"/>
                <a:gd name="T59" fmla="*/ 43 h 48"/>
                <a:gd name="T60" fmla="*/ 68 w 73"/>
                <a:gd name="T61" fmla="*/ 37 h 48"/>
                <a:gd name="T62" fmla="*/ 73 w 73"/>
                <a:gd name="T63" fmla="*/ 33 h 48"/>
                <a:gd name="T64" fmla="*/ 73 w 73"/>
                <a:gd name="T65" fmla="*/ 32 h 48"/>
                <a:gd name="T66" fmla="*/ 70 w 73"/>
                <a:gd name="T67" fmla="*/ 30 h 48"/>
                <a:gd name="T68" fmla="*/ 65 w 73"/>
                <a:gd name="T69" fmla="*/ 3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3" h="48">
                  <a:moveTo>
                    <a:pt x="65" y="32"/>
                  </a:moveTo>
                  <a:cubicBezTo>
                    <a:pt x="64" y="32"/>
                    <a:pt x="61" y="31"/>
                    <a:pt x="62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0" y="28"/>
                    <a:pt x="60" y="22"/>
                    <a:pt x="61" y="21"/>
                  </a:cubicBezTo>
                  <a:cubicBezTo>
                    <a:pt x="63" y="19"/>
                    <a:pt x="58" y="12"/>
                    <a:pt x="56" y="10"/>
                  </a:cubicBezTo>
                  <a:cubicBezTo>
                    <a:pt x="55" y="8"/>
                    <a:pt x="53" y="4"/>
                    <a:pt x="51" y="0"/>
                  </a:cubicBezTo>
                  <a:cubicBezTo>
                    <a:pt x="49" y="1"/>
                    <a:pt x="47" y="2"/>
                    <a:pt x="47" y="2"/>
                  </a:cubicBezTo>
                  <a:cubicBezTo>
                    <a:pt x="46" y="4"/>
                    <a:pt x="44" y="5"/>
                    <a:pt x="42" y="5"/>
                  </a:cubicBezTo>
                  <a:cubicBezTo>
                    <a:pt x="41" y="5"/>
                    <a:pt x="39" y="4"/>
                    <a:pt x="38" y="5"/>
                  </a:cubicBezTo>
                  <a:cubicBezTo>
                    <a:pt x="37" y="6"/>
                    <a:pt x="35" y="7"/>
                    <a:pt x="35" y="6"/>
                  </a:cubicBezTo>
                  <a:cubicBezTo>
                    <a:pt x="34" y="5"/>
                    <a:pt x="31" y="5"/>
                    <a:pt x="30" y="5"/>
                  </a:cubicBezTo>
                  <a:cubicBezTo>
                    <a:pt x="28" y="5"/>
                    <a:pt x="23" y="3"/>
                    <a:pt x="22" y="3"/>
                  </a:cubicBezTo>
                  <a:cubicBezTo>
                    <a:pt x="21" y="3"/>
                    <a:pt x="20" y="3"/>
                    <a:pt x="19" y="4"/>
                  </a:cubicBezTo>
                  <a:cubicBezTo>
                    <a:pt x="19" y="4"/>
                    <a:pt x="19" y="5"/>
                    <a:pt x="18" y="5"/>
                  </a:cubicBezTo>
                  <a:cubicBezTo>
                    <a:pt x="16" y="6"/>
                    <a:pt x="14" y="8"/>
                    <a:pt x="13" y="9"/>
                  </a:cubicBezTo>
                  <a:cubicBezTo>
                    <a:pt x="11" y="9"/>
                    <a:pt x="8" y="18"/>
                    <a:pt x="5" y="21"/>
                  </a:cubicBezTo>
                  <a:cubicBezTo>
                    <a:pt x="3" y="23"/>
                    <a:pt x="0" y="24"/>
                    <a:pt x="0" y="25"/>
                  </a:cubicBezTo>
                  <a:cubicBezTo>
                    <a:pt x="0" y="25"/>
                    <a:pt x="3" y="28"/>
                    <a:pt x="3" y="29"/>
                  </a:cubicBezTo>
                  <a:cubicBezTo>
                    <a:pt x="3" y="31"/>
                    <a:pt x="4" y="32"/>
                    <a:pt x="6" y="32"/>
                  </a:cubicBezTo>
                  <a:cubicBezTo>
                    <a:pt x="8" y="32"/>
                    <a:pt x="6" y="37"/>
                    <a:pt x="7" y="37"/>
                  </a:cubicBezTo>
                  <a:cubicBezTo>
                    <a:pt x="8" y="37"/>
                    <a:pt x="16" y="38"/>
                    <a:pt x="16" y="40"/>
                  </a:cubicBezTo>
                  <a:cubicBezTo>
                    <a:pt x="16" y="41"/>
                    <a:pt x="17" y="42"/>
                    <a:pt x="16" y="43"/>
                  </a:cubicBezTo>
                  <a:cubicBezTo>
                    <a:pt x="18" y="44"/>
                    <a:pt x="20" y="47"/>
                    <a:pt x="21" y="46"/>
                  </a:cubicBezTo>
                  <a:cubicBezTo>
                    <a:pt x="22" y="46"/>
                    <a:pt x="28" y="47"/>
                    <a:pt x="29" y="47"/>
                  </a:cubicBezTo>
                  <a:cubicBezTo>
                    <a:pt x="31" y="47"/>
                    <a:pt x="36" y="47"/>
                    <a:pt x="38" y="47"/>
                  </a:cubicBezTo>
                  <a:cubicBezTo>
                    <a:pt x="40" y="48"/>
                    <a:pt x="42" y="47"/>
                    <a:pt x="44" y="45"/>
                  </a:cubicBezTo>
                  <a:cubicBezTo>
                    <a:pt x="45" y="43"/>
                    <a:pt x="51" y="43"/>
                    <a:pt x="53" y="43"/>
                  </a:cubicBezTo>
                  <a:cubicBezTo>
                    <a:pt x="55" y="44"/>
                    <a:pt x="59" y="44"/>
                    <a:pt x="60" y="45"/>
                  </a:cubicBezTo>
                  <a:cubicBezTo>
                    <a:pt x="60" y="46"/>
                    <a:pt x="62" y="47"/>
                    <a:pt x="64" y="48"/>
                  </a:cubicBezTo>
                  <a:cubicBezTo>
                    <a:pt x="65" y="46"/>
                    <a:pt x="64" y="45"/>
                    <a:pt x="64" y="43"/>
                  </a:cubicBezTo>
                  <a:cubicBezTo>
                    <a:pt x="65" y="41"/>
                    <a:pt x="66" y="37"/>
                    <a:pt x="68" y="37"/>
                  </a:cubicBezTo>
                  <a:cubicBezTo>
                    <a:pt x="71" y="37"/>
                    <a:pt x="73" y="37"/>
                    <a:pt x="73" y="33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1" y="31"/>
                    <a:pt x="70" y="30"/>
                    <a:pt x="70" y="30"/>
                  </a:cubicBezTo>
                  <a:cubicBezTo>
                    <a:pt x="69" y="30"/>
                    <a:pt x="66" y="32"/>
                    <a:pt x="65" y="3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5" name="Freeform 262">
              <a:extLst>
                <a:ext uri="{FF2B5EF4-FFF2-40B4-BE49-F238E27FC236}">
                  <a16:creationId xmlns:a16="http://schemas.microsoft.com/office/drawing/2014/main" id="{E8F338F8-8EFE-3DB9-046E-BD0B5610A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952" y="2678589"/>
              <a:ext cx="90476" cy="115873"/>
            </a:xfrm>
            <a:custGeom>
              <a:avLst/>
              <a:gdLst>
                <a:gd name="T0" fmla="*/ 18 w 24"/>
                <a:gd name="T1" fmla="*/ 8 h 31"/>
                <a:gd name="T2" fmla="*/ 12 w 24"/>
                <a:gd name="T3" fmla="*/ 4 h 31"/>
                <a:gd name="T4" fmla="*/ 5 w 24"/>
                <a:gd name="T5" fmla="*/ 0 h 31"/>
                <a:gd name="T6" fmla="*/ 0 w 24"/>
                <a:gd name="T7" fmla="*/ 1 h 31"/>
                <a:gd name="T8" fmla="*/ 5 w 24"/>
                <a:gd name="T9" fmla="*/ 11 h 31"/>
                <a:gd name="T10" fmla="*/ 10 w 24"/>
                <a:gd name="T11" fmla="*/ 22 h 31"/>
                <a:gd name="T12" fmla="*/ 11 w 24"/>
                <a:gd name="T13" fmla="*/ 31 h 31"/>
                <a:gd name="T14" fmla="*/ 16 w 24"/>
                <a:gd name="T15" fmla="*/ 24 h 31"/>
                <a:gd name="T16" fmla="*/ 19 w 24"/>
                <a:gd name="T17" fmla="*/ 20 h 31"/>
                <a:gd name="T18" fmla="*/ 24 w 24"/>
                <a:gd name="T19" fmla="*/ 21 h 31"/>
                <a:gd name="T20" fmla="*/ 23 w 24"/>
                <a:gd name="T21" fmla="*/ 16 h 31"/>
                <a:gd name="T22" fmla="*/ 18 w 24"/>
                <a:gd name="T23" fmla="*/ 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31">
                  <a:moveTo>
                    <a:pt x="18" y="8"/>
                  </a:moveTo>
                  <a:cubicBezTo>
                    <a:pt x="17" y="5"/>
                    <a:pt x="14" y="4"/>
                    <a:pt x="12" y="4"/>
                  </a:cubicBezTo>
                  <a:cubicBezTo>
                    <a:pt x="10" y="4"/>
                    <a:pt x="7" y="0"/>
                    <a:pt x="5" y="0"/>
                  </a:cubicBezTo>
                  <a:cubicBezTo>
                    <a:pt x="4" y="0"/>
                    <a:pt x="2" y="1"/>
                    <a:pt x="0" y="1"/>
                  </a:cubicBezTo>
                  <a:cubicBezTo>
                    <a:pt x="2" y="5"/>
                    <a:pt x="4" y="9"/>
                    <a:pt x="5" y="11"/>
                  </a:cubicBezTo>
                  <a:cubicBezTo>
                    <a:pt x="7" y="13"/>
                    <a:pt x="12" y="20"/>
                    <a:pt x="10" y="22"/>
                  </a:cubicBezTo>
                  <a:cubicBezTo>
                    <a:pt x="9" y="23"/>
                    <a:pt x="9" y="29"/>
                    <a:pt x="11" y="31"/>
                  </a:cubicBezTo>
                  <a:cubicBezTo>
                    <a:pt x="12" y="30"/>
                    <a:pt x="16" y="25"/>
                    <a:pt x="16" y="24"/>
                  </a:cubicBezTo>
                  <a:cubicBezTo>
                    <a:pt x="16" y="22"/>
                    <a:pt x="16" y="19"/>
                    <a:pt x="19" y="20"/>
                  </a:cubicBezTo>
                  <a:cubicBezTo>
                    <a:pt x="22" y="21"/>
                    <a:pt x="24" y="22"/>
                    <a:pt x="24" y="21"/>
                  </a:cubicBezTo>
                  <a:cubicBezTo>
                    <a:pt x="24" y="20"/>
                    <a:pt x="24" y="17"/>
                    <a:pt x="23" y="16"/>
                  </a:cubicBezTo>
                  <a:cubicBezTo>
                    <a:pt x="21" y="15"/>
                    <a:pt x="19" y="11"/>
                    <a:pt x="18" y="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6" name="Freeform 263">
              <a:extLst>
                <a:ext uri="{FF2B5EF4-FFF2-40B4-BE49-F238E27FC236}">
                  <a16:creationId xmlns:a16="http://schemas.microsoft.com/office/drawing/2014/main" id="{8B8789C9-81EF-AE41-64C2-610E10269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276" y="2843672"/>
              <a:ext cx="188888" cy="106349"/>
            </a:xfrm>
            <a:custGeom>
              <a:avLst/>
              <a:gdLst>
                <a:gd name="T0" fmla="*/ 39 w 50"/>
                <a:gd name="T1" fmla="*/ 0 h 28"/>
                <a:gd name="T2" fmla="*/ 30 w 50"/>
                <a:gd name="T3" fmla="*/ 2 h 28"/>
                <a:gd name="T4" fmla="*/ 24 w 50"/>
                <a:gd name="T5" fmla="*/ 4 h 28"/>
                <a:gd name="T6" fmla="*/ 15 w 50"/>
                <a:gd name="T7" fmla="*/ 4 h 28"/>
                <a:gd name="T8" fmla="*/ 7 w 50"/>
                <a:gd name="T9" fmla="*/ 3 h 28"/>
                <a:gd name="T10" fmla="*/ 2 w 50"/>
                <a:gd name="T11" fmla="*/ 0 h 28"/>
                <a:gd name="T12" fmla="*/ 2 w 50"/>
                <a:gd name="T13" fmla="*/ 1 h 28"/>
                <a:gd name="T14" fmla="*/ 2 w 50"/>
                <a:gd name="T15" fmla="*/ 7 h 28"/>
                <a:gd name="T16" fmla="*/ 4 w 50"/>
                <a:gd name="T17" fmla="*/ 12 h 28"/>
                <a:gd name="T18" fmla="*/ 1 w 50"/>
                <a:gd name="T19" fmla="*/ 15 h 28"/>
                <a:gd name="T20" fmla="*/ 1 w 50"/>
                <a:gd name="T21" fmla="*/ 19 h 28"/>
                <a:gd name="T22" fmla="*/ 6 w 50"/>
                <a:gd name="T23" fmla="*/ 24 h 28"/>
                <a:gd name="T24" fmla="*/ 7 w 50"/>
                <a:gd name="T25" fmla="*/ 26 h 28"/>
                <a:gd name="T26" fmla="*/ 18 w 50"/>
                <a:gd name="T27" fmla="*/ 26 h 28"/>
                <a:gd name="T28" fmla="*/ 27 w 50"/>
                <a:gd name="T29" fmla="*/ 28 h 28"/>
                <a:gd name="T30" fmla="*/ 30 w 50"/>
                <a:gd name="T31" fmla="*/ 26 h 28"/>
                <a:gd name="T32" fmla="*/ 34 w 50"/>
                <a:gd name="T33" fmla="*/ 24 h 28"/>
                <a:gd name="T34" fmla="*/ 34 w 50"/>
                <a:gd name="T35" fmla="*/ 22 h 28"/>
                <a:gd name="T36" fmla="*/ 42 w 50"/>
                <a:gd name="T37" fmla="*/ 22 h 28"/>
                <a:gd name="T38" fmla="*/ 45 w 50"/>
                <a:gd name="T39" fmla="*/ 21 h 28"/>
                <a:gd name="T40" fmla="*/ 44 w 50"/>
                <a:gd name="T41" fmla="*/ 19 h 28"/>
                <a:gd name="T42" fmla="*/ 42 w 50"/>
                <a:gd name="T43" fmla="*/ 13 h 28"/>
                <a:gd name="T44" fmla="*/ 49 w 50"/>
                <a:gd name="T45" fmla="*/ 6 h 28"/>
                <a:gd name="T46" fmla="*/ 50 w 50"/>
                <a:gd name="T47" fmla="*/ 5 h 28"/>
                <a:gd name="T48" fmla="*/ 46 w 50"/>
                <a:gd name="T49" fmla="*/ 2 h 28"/>
                <a:gd name="T50" fmla="*/ 39 w 50"/>
                <a:gd name="T5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0" h="28">
                  <a:moveTo>
                    <a:pt x="39" y="0"/>
                  </a:moveTo>
                  <a:cubicBezTo>
                    <a:pt x="37" y="0"/>
                    <a:pt x="31" y="0"/>
                    <a:pt x="30" y="2"/>
                  </a:cubicBezTo>
                  <a:cubicBezTo>
                    <a:pt x="28" y="4"/>
                    <a:pt x="26" y="5"/>
                    <a:pt x="24" y="4"/>
                  </a:cubicBezTo>
                  <a:cubicBezTo>
                    <a:pt x="22" y="4"/>
                    <a:pt x="17" y="4"/>
                    <a:pt x="15" y="4"/>
                  </a:cubicBezTo>
                  <a:cubicBezTo>
                    <a:pt x="14" y="4"/>
                    <a:pt x="8" y="3"/>
                    <a:pt x="7" y="3"/>
                  </a:cubicBezTo>
                  <a:cubicBezTo>
                    <a:pt x="6" y="4"/>
                    <a:pt x="4" y="1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0" y="2"/>
                    <a:pt x="0" y="5"/>
                    <a:pt x="2" y="7"/>
                  </a:cubicBezTo>
                  <a:cubicBezTo>
                    <a:pt x="3" y="8"/>
                    <a:pt x="6" y="12"/>
                    <a:pt x="4" y="12"/>
                  </a:cubicBezTo>
                  <a:cubicBezTo>
                    <a:pt x="2" y="12"/>
                    <a:pt x="1" y="14"/>
                    <a:pt x="1" y="15"/>
                  </a:cubicBezTo>
                  <a:cubicBezTo>
                    <a:pt x="2" y="16"/>
                    <a:pt x="1" y="18"/>
                    <a:pt x="1" y="19"/>
                  </a:cubicBezTo>
                  <a:cubicBezTo>
                    <a:pt x="2" y="19"/>
                    <a:pt x="6" y="23"/>
                    <a:pt x="6" y="24"/>
                  </a:cubicBezTo>
                  <a:cubicBezTo>
                    <a:pt x="6" y="25"/>
                    <a:pt x="8" y="25"/>
                    <a:pt x="7" y="26"/>
                  </a:cubicBezTo>
                  <a:cubicBezTo>
                    <a:pt x="10" y="26"/>
                    <a:pt x="17" y="26"/>
                    <a:pt x="18" y="26"/>
                  </a:cubicBezTo>
                  <a:cubicBezTo>
                    <a:pt x="20" y="27"/>
                    <a:pt x="27" y="28"/>
                    <a:pt x="27" y="28"/>
                  </a:cubicBezTo>
                  <a:cubicBezTo>
                    <a:pt x="29" y="28"/>
                    <a:pt x="30" y="27"/>
                    <a:pt x="30" y="26"/>
                  </a:cubicBezTo>
                  <a:cubicBezTo>
                    <a:pt x="29" y="25"/>
                    <a:pt x="32" y="24"/>
                    <a:pt x="34" y="24"/>
                  </a:cubicBezTo>
                  <a:cubicBezTo>
                    <a:pt x="33" y="23"/>
                    <a:pt x="33" y="22"/>
                    <a:pt x="34" y="22"/>
                  </a:cubicBezTo>
                  <a:cubicBezTo>
                    <a:pt x="35" y="21"/>
                    <a:pt x="40" y="21"/>
                    <a:pt x="42" y="22"/>
                  </a:cubicBezTo>
                  <a:cubicBezTo>
                    <a:pt x="43" y="22"/>
                    <a:pt x="44" y="22"/>
                    <a:pt x="45" y="21"/>
                  </a:cubicBezTo>
                  <a:cubicBezTo>
                    <a:pt x="45" y="20"/>
                    <a:pt x="45" y="19"/>
                    <a:pt x="44" y="19"/>
                  </a:cubicBezTo>
                  <a:cubicBezTo>
                    <a:pt x="43" y="19"/>
                    <a:pt x="41" y="14"/>
                    <a:pt x="42" y="13"/>
                  </a:cubicBezTo>
                  <a:cubicBezTo>
                    <a:pt x="44" y="13"/>
                    <a:pt x="46" y="7"/>
                    <a:pt x="49" y="6"/>
                  </a:cubicBezTo>
                  <a:cubicBezTo>
                    <a:pt x="50" y="6"/>
                    <a:pt x="50" y="5"/>
                    <a:pt x="50" y="5"/>
                  </a:cubicBezTo>
                  <a:cubicBezTo>
                    <a:pt x="48" y="4"/>
                    <a:pt x="46" y="3"/>
                    <a:pt x="46" y="2"/>
                  </a:cubicBezTo>
                  <a:cubicBezTo>
                    <a:pt x="45" y="1"/>
                    <a:pt x="41" y="1"/>
                    <a:pt x="39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7" name="Freeform 264">
              <a:extLst>
                <a:ext uri="{FF2B5EF4-FFF2-40B4-BE49-F238E27FC236}">
                  <a16:creationId xmlns:a16="http://schemas.microsoft.com/office/drawing/2014/main" id="{5179DBAE-CCAC-7982-7D3F-95AEAFEF9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1719" y="2907165"/>
              <a:ext cx="85714" cy="60317"/>
            </a:xfrm>
            <a:custGeom>
              <a:avLst/>
              <a:gdLst>
                <a:gd name="T0" fmla="*/ 6 w 23"/>
                <a:gd name="T1" fmla="*/ 16 h 16"/>
                <a:gd name="T2" fmla="*/ 6 w 23"/>
                <a:gd name="T3" fmla="*/ 16 h 16"/>
                <a:gd name="T4" fmla="*/ 6 w 23"/>
                <a:gd name="T5" fmla="*/ 16 h 16"/>
                <a:gd name="T6" fmla="*/ 6 w 23"/>
                <a:gd name="T7" fmla="*/ 16 h 16"/>
                <a:gd name="T8" fmla="*/ 6 w 23"/>
                <a:gd name="T9" fmla="*/ 16 h 16"/>
                <a:gd name="T10" fmla="*/ 7 w 23"/>
                <a:gd name="T11" fmla="*/ 16 h 16"/>
                <a:gd name="T12" fmla="*/ 9 w 23"/>
                <a:gd name="T13" fmla="*/ 16 h 16"/>
                <a:gd name="T14" fmla="*/ 9 w 23"/>
                <a:gd name="T15" fmla="*/ 16 h 16"/>
                <a:gd name="T16" fmla="*/ 10 w 23"/>
                <a:gd name="T17" fmla="*/ 16 h 16"/>
                <a:gd name="T18" fmla="*/ 10 w 23"/>
                <a:gd name="T19" fmla="*/ 16 h 16"/>
                <a:gd name="T20" fmla="*/ 11 w 23"/>
                <a:gd name="T21" fmla="*/ 15 h 16"/>
                <a:gd name="T22" fmla="*/ 15 w 23"/>
                <a:gd name="T23" fmla="*/ 13 h 16"/>
                <a:gd name="T24" fmla="*/ 22 w 23"/>
                <a:gd name="T25" fmla="*/ 10 h 16"/>
                <a:gd name="T26" fmla="*/ 22 w 23"/>
                <a:gd name="T27" fmla="*/ 9 h 16"/>
                <a:gd name="T28" fmla="*/ 21 w 23"/>
                <a:gd name="T29" fmla="*/ 7 h 16"/>
                <a:gd name="T30" fmla="*/ 16 w 23"/>
                <a:gd name="T31" fmla="*/ 2 h 16"/>
                <a:gd name="T32" fmla="*/ 16 w 23"/>
                <a:gd name="T33" fmla="*/ 1 h 16"/>
                <a:gd name="T34" fmla="*/ 16 w 23"/>
                <a:gd name="T35" fmla="*/ 1 h 16"/>
                <a:gd name="T36" fmla="*/ 16 w 23"/>
                <a:gd name="T37" fmla="*/ 0 h 16"/>
                <a:gd name="T38" fmla="*/ 2 w 23"/>
                <a:gd name="T39" fmla="*/ 3 h 16"/>
                <a:gd name="T40" fmla="*/ 2 w 23"/>
                <a:gd name="T41" fmla="*/ 3 h 16"/>
                <a:gd name="T42" fmla="*/ 1 w 23"/>
                <a:gd name="T43" fmla="*/ 11 h 16"/>
                <a:gd name="T44" fmla="*/ 6 w 23"/>
                <a:gd name="T4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" h="16">
                  <a:moveTo>
                    <a:pt x="6" y="16"/>
                  </a:move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5"/>
                    <a:pt x="11" y="15"/>
                    <a:pt x="11" y="15"/>
                  </a:cubicBezTo>
                  <a:cubicBezTo>
                    <a:pt x="13" y="15"/>
                    <a:pt x="14" y="13"/>
                    <a:pt x="15" y="13"/>
                  </a:cubicBezTo>
                  <a:cubicBezTo>
                    <a:pt x="16" y="14"/>
                    <a:pt x="22" y="11"/>
                    <a:pt x="22" y="10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3" y="8"/>
                    <a:pt x="21" y="8"/>
                    <a:pt x="21" y="7"/>
                  </a:cubicBezTo>
                  <a:cubicBezTo>
                    <a:pt x="21" y="6"/>
                    <a:pt x="17" y="2"/>
                    <a:pt x="16" y="2"/>
                  </a:cubicBezTo>
                  <a:cubicBezTo>
                    <a:pt x="16" y="2"/>
                    <a:pt x="16" y="2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0"/>
                  </a:cubicBezTo>
                  <a:cubicBezTo>
                    <a:pt x="11" y="1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5"/>
                    <a:pt x="0" y="9"/>
                    <a:pt x="1" y="11"/>
                  </a:cubicBezTo>
                  <a:cubicBezTo>
                    <a:pt x="2" y="13"/>
                    <a:pt x="3" y="14"/>
                    <a:pt x="6" y="1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8" name="Freeform 265">
              <a:extLst>
                <a:ext uri="{FF2B5EF4-FFF2-40B4-BE49-F238E27FC236}">
                  <a16:creationId xmlns:a16="http://schemas.microsoft.com/office/drawing/2014/main" id="{53B210CD-DE21-50EC-D9B7-4E94C6829B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275" y="2521453"/>
              <a:ext cx="538093" cy="315872"/>
            </a:xfrm>
            <a:custGeom>
              <a:avLst/>
              <a:gdLst>
                <a:gd name="T0" fmla="*/ 134 w 143"/>
                <a:gd name="T1" fmla="*/ 48 h 84"/>
                <a:gd name="T2" fmla="*/ 142 w 143"/>
                <a:gd name="T3" fmla="*/ 43 h 84"/>
                <a:gd name="T4" fmla="*/ 143 w 143"/>
                <a:gd name="T5" fmla="*/ 38 h 84"/>
                <a:gd name="T6" fmla="*/ 143 w 143"/>
                <a:gd name="T7" fmla="*/ 33 h 84"/>
                <a:gd name="T8" fmla="*/ 132 w 143"/>
                <a:gd name="T9" fmla="*/ 28 h 84"/>
                <a:gd name="T10" fmla="*/ 121 w 143"/>
                <a:gd name="T11" fmla="*/ 23 h 84"/>
                <a:gd name="T12" fmla="*/ 113 w 143"/>
                <a:gd name="T13" fmla="*/ 23 h 84"/>
                <a:gd name="T14" fmla="*/ 106 w 143"/>
                <a:gd name="T15" fmla="*/ 20 h 84"/>
                <a:gd name="T16" fmla="*/ 96 w 143"/>
                <a:gd name="T17" fmla="*/ 12 h 84"/>
                <a:gd name="T18" fmla="*/ 94 w 143"/>
                <a:gd name="T19" fmla="*/ 2 h 84"/>
                <a:gd name="T20" fmla="*/ 82 w 143"/>
                <a:gd name="T21" fmla="*/ 1 h 84"/>
                <a:gd name="T22" fmla="*/ 76 w 143"/>
                <a:gd name="T23" fmla="*/ 2 h 84"/>
                <a:gd name="T24" fmla="*/ 66 w 143"/>
                <a:gd name="T25" fmla="*/ 9 h 84"/>
                <a:gd name="T26" fmla="*/ 57 w 143"/>
                <a:gd name="T27" fmla="*/ 11 h 84"/>
                <a:gd name="T28" fmla="*/ 46 w 143"/>
                <a:gd name="T29" fmla="*/ 9 h 84"/>
                <a:gd name="T30" fmla="*/ 34 w 143"/>
                <a:gd name="T31" fmla="*/ 7 h 84"/>
                <a:gd name="T32" fmla="*/ 15 w 143"/>
                <a:gd name="T33" fmla="*/ 8 h 84"/>
                <a:gd name="T34" fmla="*/ 11 w 143"/>
                <a:gd name="T35" fmla="*/ 12 h 84"/>
                <a:gd name="T36" fmla="*/ 11 w 143"/>
                <a:gd name="T37" fmla="*/ 23 h 84"/>
                <a:gd name="T38" fmla="*/ 3 w 143"/>
                <a:gd name="T39" fmla="*/ 36 h 84"/>
                <a:gd name="T40" fmla="*/ 3 w 143"/>
                <a:gd name="T41" fmla="*/ 46 h 84"/>
                <a:gd name="T42" fmla="*/ 8 w 143"/>
                <a:gd name="T43" fmla="*/ 46 h 84"/>
                <a:gd name="T44" fmla="*/ 21 w 143"/>
                <a:gd name="T45" fmla="*/ 49 h 84"/>
                <a:gd name="T46" fmla="*/ 28 w 143"/>
                <a:gd name="T47" fmla="*/ 48 h 84"/>
                <a:gd name="T48" fmla="*/ 42 w 143"/>
                <a:gd name="T49" fmla="*/ 42 h 84"/>
                <a:gd name="T50" fmla="*/ 55 w 143"/>
                <a:gd name="T51" fmla="*/ 50 h 84"/>
                <a:gd name="T52" fmla="*/ 61 w 143"/>
                <a:gd name="T53" fmla="*/ 63 h 84"/>
                <a:gd name="T54" fmla="*/ 53 w 143"/>
                <a:gd name="T55" fmla="*/ 66 h 84"/>
                <a:gd name="T56" fmla="*/ 51 w 143"/>
                <a:gd name="T57" fmla="*/ 75 h 84"/>
                <a:gd name="T58" fmla="*/ 59 w 143"/>
                <a:gd name="T59" fmla="*/ 75 h 84"/>
                <a:gd name="T60" fmla="*/ 69 w 143"/>
                <a:gd name="T61" fmla="*/ 61 h 84"/>
                <a:gd name="T62" fmla="*/ 79 w 143"/>
                <a:gd name="T63" fmla="*/ 65 h 84"/>
                <a:gd name="T64" fmla="*/ 81 w 143"/>
                <a:gd name="T65" fmla="*/ 73 h 84"/>
                <a:gd name="T66" fmla="*/ 90 w 143"/>
                <a:gd name="T67" fmla="*/ 83 h 84"/>
                <a:gd name="T68" fmla="*/ 104 w 143"/>
                <a:gd name="T69" fmla="*/ 78 h 84"/>
                <a:gd name="T70" fmla="*/ 107 w 143"/>
                <a:gd name="T71" fmla="*/ 74 h 84"/>
                <a:gd name="T72" fmla="*/ 110 w 143"/>
                <a:gd name="T73" fmla="*/ 61 h 84"/>
                <a:gd name="T74" fmla="*/ 127 w 143"/>
                <a:gd name="T75" fmla="*/ 5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84">
                  <a:moveTo>
                    <a:pt x="127" y="52"/>
                  </a:moveTo>
                  <a:cubicBezTo>
                    <a:pt x="129" y="52"/>
                    <a:pt x="132" y="48"/>
                    <a:pt x="134" y="48"/>
                  </a:cubicBezTo>
                  <a:cubicBezTo>
                    <a:pt x="135" y="48"/>
                    <a:pt x="140" y="49"/>
                    <a:pt x="140" y="48"/>
                  </a:cubicBezTo>
                  <a:cubicBezTo>
                    <a:pt x="140" y="47"/>
                    <a:pt x="142" y="44"/>
                    <a:pt x="142" y="43"/>
                  </a:cubicBezTo>
                  <a:cubicBezTo>
                    <a:pt x="141" y="43"/>
                    <a:pt x="139" y="41"/>
                    <a:pt x="140" y="40"/>
                  </a:cubicBezTo>
                  <a:cubicBezTo>
                    <a:pt x="140" y="40"/>
                    <a:pt x="143" y="40"/>
                    <a:pt x="143" y="38"/>
                  </a:cubicBezTo>
                  <a:cubicBezTo>
                    <a:pt x="143" y="37"/>
                    <a:pt x="141" y="37"/>
                    <a:pt x="141" y="36"/>
                  </a:cubicBezTo>
                  <a:cubicBezTo>
                    <a:pt x="141" y="35"/>
                    <a:pt x="143" y="34"/>
                    <a:pt x="143" y="33"/>
                  </a:cubicBezTo>
                  <a:cubicBezTo>
                    <a:pt x="143" y="31"/>
                    <a:pt x="141" y="31"/>
                    <a:pt x="138" y="30"/>
                  </a:cubicBezTo>
                  <a:cubicBezTo>
                    <a:pt x="136" y="29"/>
                    <a:pt x="134" y="29"/>
                    <a:pt x="132" y="28"/>
                  </a:cubicBezTo>
                  <a:cubicBezTo>
                    <a:pt x="129" y="27"/>
                    <a:pt x="125" y="28"/>
                    <a:pt x="125" y="27"/>
                  </a:cubicBezTo>
                  <a:cubicBezTo>
                    <a:pt x="125" y="26"/>
                    <a:pt x="122" y="24"/>
                    <a:pt x="121" y="23"/>
                  </a:cubicBezTo>
                  <a:cubicBezTo>
                    <a:pt x="121" y="22"/>
                    <a:pt x="118" y="22"/>
                    <a:pt x="117" y="23"/>
                  </a:cubicBezTo>
                  <a:cubicBezTo>
                    <a:pt x="116" y="24"/>
                    <a:pt x="114" y="24"/>
                    <a:pt x="113" y="23"/>
                  </a:cubicBezTo>
                  <a:cubicBezTo>
                    <a:pt x="111" y="23"/>
                    <a:pt x="110" y="21"/>
                    <a:pt x="109" y="22"/>
                  </a:cubicBezTo>
                  <a:cubicBezTo>
                    <a:pt x="108" y="22"/>
                    <a:pt x="105" y="22"/>
                    <a:pt x="106" y="20"/>
                  </a:cubicBezTo>
                  <a:cubicBezTo>
                    <a:pt x="106" y="18"/>
                    <a:pt x="104" y="14"/>
                    <a:pt x="102" y="14"/>
                  </a:cubicBezTo>
                  <a:cubicBezTo>
                    <a:pt x="101" y="13"/>
                    <a:pt x="97" y="14"/>
                    <a:pt x="96" y="12"/>
                  </a:cubicBezTo>
                  <a:cubicBezTo>
                    <a:pt x="96" y="11"/>
                    <a:pt x="94" y="9"/>
                    <a:pt x="95" y="8"/>
                  </a:cubicBezTo>
                  <a:cubicBezTo>
                    <a:pt x="95" y="7"/>
                    <a:pt x="94" y="3"/>
                    <a:pt x="94" y="2"/>
                  </a:cubicBezTo>
                  <a:cubicBezTo>
                    <a:pt x="93" y="0"/>
                    <a:pt x="88" y="1"/>
                    <a:pt x="87" y="1"/>
                  </a:cubicBezTo>
                  <a:cubicBezTo>
                    <a:pt x="86" y="2"/>
                    <a:pt x="83" y="1"/>
                    <a:pt x="82" y="1"/>
                  </a:cubicBezTo>
                  <a:cubicBezTo>
                    <a:pt x="80" y="2"/>
                    <a:pt x="80" y="3"/>
                    <a:pt x="78" y="3"/>
                  </a:cubicBezTo>
                  <a:cubicBezTo>
                    <a:pt x="77" y="3"/>
                    <a:pt x="76" y="3"/>
                    <a:pt x="76" y="2"/>
                  </a:cubicBezTo>
                  <a:cubicBezTo>
                    <a:pt x="74" y="3"/>
                    <a:pt x="71" y="3"/>
                    <a:pt x="71" y="3"/>
                  </a:cubicBezTo>
                  <a:cubicBezTo>
                    <a:pt x="71" y="3"/>
                    <a:pt x="66" y="7"/>
                    <a:pt x="66" y="9"/>
                  </a:cubicBezTo>
                  <a:cubicBezTo>
                    <a:pt x="66" y="10"/>
                    <a:pt x="66" y="13"/>
                    <a:pt x="64" y="11"/>
                  </a:cubicBezTo>
                  <a:cubicBezTo>
                    <a:pt x="63" y="10"/>
                    <a:pt x="58" y="10"/>
                    <a:pt x="57" y="11"/>
                  </a:cubicBezTo>
                  <a:cubicBezTo>
                    <a:pt x="56" y="12"/>
                    <a:pt x="54" y="8"/>
                    <a:pt x="52" y="9"/>
                  </a:cubicBezTo>
                  <a:cubicBezTo>
                    <a:pt x="50" y="10"/>
                    <a:pt x="47" y="8"/>
                    <a:pt x="46" y="9"/>
                  </a:cubicBezTo>
                  <a:cubicBezTo>
                    <a:pt x="46" y="10"/>
                    <a:pt x="43" y="9"/>
                    <a:pt x="41" y="8"/>
                  </a:cubicBezTo>
                  <a:cubicBezTo>
                    <a:pt x="39" y="7"/>
                    <a:pt x="35" y="8"/>
                    <a:pt x="34" y="7"/>
                  </a:cubicBezTo>
                  <a:cubicBezTo>
                    <a:pt x="32" y="5"/>
                    <a:pt x="23" y="5"/>
                    <a:pt x="20" y="5"/>
                  </a:cubicBezTo>
                  <a:cubicBezTo>
                    <a:pt x="17" y="5"/>
                    <a:pt x="16" y="7"/>
                    <a:pt x="15" y="8"/>
                  </a:cubicBezTo>
                  <a:cubicBezTo>
                    <a:pt x="13" y="10"/>
                    <a:pt x="12" y="9"/>
                    <a:pt x="10" y="9"/>
                  </a:cubicBezTo>
                  <a:cubicBezTo>
                    <a:pt x="10" y="10"/>
                    <a:pt x="11" y="11"/>
                    <a:pt x="11" y="12"/>
                  </a:cubicBezTo>
                  <a:cubicBezTo>
                    <a:pt x="12" y="13"/>
                    <a:pt x="15" y="18"/>
                    <a:pt x="14" y="20"/>
                  </a:cubicBezTo>
                  <a:cubicBezTo>
                    <a:pt x="13" y="21"/>
                    <a:pt x="12" y="21"/>
                    <a:pt x="11" y="23"/>
                  </a:cubicBezTo>
                  <a:cubicBezTo>
                    <a:pt x="10" y="24"/>
                    <a:pt x="3" y="29"/>
                    <a:pt x="3" y="30"/>
                  </a:cubicBezTo>
                  <a:cubicBezTo>
                    <a:pt x="3" y="31"/>
                    <a:pt x="4" y="35"/>
                    <a:pt x="3" y="36"/>
                  </a:cubicBezTo>
                  <a:cubicBezTo>
                    <a:pt x="2" y="37"/>
                    <a:pt x="0" y="40"/>
                    <a:pt x="0" y="42"/>
                  </a:cubicBezTo>
                  <a:cubicBezTo>
                    <a:pt x="0" y="43"/>
                    <a:pt x="2" y="45"/>
                    <a:pt x="3" y="46"/>
                  </a:cubicBezTo>
                  <a:cubicBezTo>
                    <a:pt x="4" y="46"/>
                    <a:pt x="4" y="46"/>
                    <a:pt x="5" y="47"/>
                  </a:cubicBezTo>
                  <a:cubicBezTo>
                    <a:pt x="6" y="46"/>
                    <a:pt x="7" y="46"/>
                    <a:pt x="8" y="46"/>
                  </a:cubicBezTo>
                  <a:cubicBezTo>
                    <a:pt x="9" y="46"/>
                    <a:pt x="14" y="48"/>
                    <a:pt x="16" y="48"/>
                  </a:cubicBezTo>
                  <a:cubicBezTo>
                    <a:pt x="17" y="48"/>
                    <a:pt x="20" y="48"/>
                    <a:pt x="21" y="49"/>
                  </a:cubicBezTo>
                  <a:cubicBezTo>
                    <a:pt x="21" y="50"/>
                    <a:pt x="23" y="49"/>
                    <a:pt x="24" y="48"/>
                  </a:cubicBezTo>
                  <a:cubicBezTo>
                    <a:pt x="25" y="47"/>
                    <a:pt x="27" y="48"/>
                    <a:pt x="28" y="48"/>
                  </a:cubicBezTo>
                  <a:cubicBezTo>
                    <a:pt x="30" y="48"/>
                    <a:pt x="32" y="47"/>
                    <a:pt x="33" y="45"/>
                  </a:cubicBezTo>
                  <a:cubicBezTo>
                    <a:pt x="33" y="44"/>
                    <a:pt x="41" y="42"/>
                    <a:pt x="42" y="42"/>
                  </a:cubicBezTo>
                  <a:cubicBezTo>
                    <a:pt x="44" y="42"/>
                    <a:pt x="47" y="46"/>
                    <a:pt x="49" y="46"/>
                  </a:cubicBezTo>
                  <a:cubicBezTo>
                    <a:pt x="51" y="46"/>
                    <a:pt x="54" y="47"/>
                    <a:pt x="55" y="50"/>
                  </a:cubicBezTo>
                  <a:cubicBezTo>
                    <a:pt x="56" y="53"/>
                    <a:pt x="58" y="57"/>
                    <a:pt x="60" y="58"/>
                  </a:cubicBezTo>
                  <a:cubicBezTo>
                    <a:pt x="61" y="59"/>
                    <a:pt x="61" y="62"/>
                    <a:pt x="61" y="63"/>
                  </a:cubicBezTo>
                  <a:cubicBezTo>
                    <a:pt x="61" y="64"/>
                    <a:pt x="59" y="63"/>
                    <a:pt x="56" y="62"/>
                  </a:cubicBezTo>
                  <a:cubicBezTo>
                    <a:pt x="53" y="61"/>
                    <a:pt x="53" y="64"/>
                    <a:pt x="53" y="66"/>
                  </a:cubicBezTo>
                  <a:cubicBezTo>
                    <a:pt x="53" y="67"/>
                    <a:pt x="49" y="72"/>
                    <a:pt x="48" y="73"/>
                  </a:cubicBezTo>
                  <a:cubicBezTo>
                    <a:pt x="47" y="74"/>
                    <a:pt x="50" y="75"/>
                    <a:pt x="51" y="75"/>
                  </a:cubicBezTo>
                  <a:cubicBezTo>
                    <a:pt x="52" y="75"/>
                    <a:pt x="55" y="73"/>
                    <a:pt x="56" y="73"/>
                  </a:cubicBezTo>
                  <a:cubicBezTo>
                    <a:pt x="56" y="73"/>
                    <a:pt x="57" y="74"/>
                    <a:pt x="59" y="75"/>
                  </a:cubicBezTo>
                  <a:cubicBezTo>
                    <a:pt x="58" y="71"/>
                    <a:pt x="59" y="72"/>
                    <a:pt x="62" y="69"/>
                  </a:cubicBezTo>
                  <a:cubicBezTo>
                    <a:pt x="66" y="66"/>
                    <a:pt x="66" y="62"/>
                    <a:pt x="69" y="61"/>
                  </a:cubicBezTo>
                  <a:cubicBezTo>
                    <a:pt x="72" y="60"/>
                    <a:pt x="74" y="59"/>
                    <a:pt x="78" y="60"/>
                  </a:cubicBezTo>
                  <a:cubicBezTo>
                    <a:pt x="83" y="60"/>
                    <a:pt x="76" y="63"/>
                    <a:pt x="79" y="65"/>
                  </a:cubicBezTo>
                  <a:cubicBezTo>
                    <a:pt x="82" y="67"/>
                    <a:pt x="92" y="64"/>
                    <a:pt x="92" y="67"/>
                  </a:cubicBezTo>
                  <a:cubicBezTo>
                    <a:pt x="93" y="69"/>
                    <a:pt x="81" y="72"/>
                    <a:pt x="81" y="73"/>
                  </a:cubicBezTo>
                  <a:cubicBezTo>
                    <a:pt x="82" y="74"/>
                    <a:pt x="88" y="75"/>
                    <a:pt x="90" y="76"/>
                  </a:cubicBezTo>
                  <a:cubicBezTo>
                    <a:pt x="92" y="78"/>
                    <a:pt x="89" y="81"/>
                    <a:pt x="90" y="83"/>
                  </a:cubicBezTo>
                  <a:cubicBezTo>
                    <a:pt x="91" y="84"/>
                    <a:pt x="94" y="83"/>
                    <a:pt x="96" y="81"/>
                  </a:cubicBezTo>
                  <a:cubicBezTo>
                    <a:pt x="99" y="79"/>
                    <a:pt x="101" y="80"/>
                    <a:pt x="104" y="78"/>
                  </a:cubicBezTo>
                  <a:cubicBezTo>
                    <a:pt x="107" y="76"/>
                    <a:pt x="114" y="78"/>
                    <a:pt x="115" y="76"/>
                  </a:cubicBezTo>
                  <a:cubicBezTo>
                    <a:pt x="116" y="75"/>
                    <a:pt x="113" y="74"/>
                    <a:pt x="107" y="74"/>
                  </a:cubicBezTo>
                  <a:cubicBezTo>
                    <a:pt x="101" y="75"/>
                    <a:pt x="100" y="69"/>
                    <a:pt x="100" y="68"/>
                  </a:cubicBezTo>
                  <a:cubicBezTo>
                    <a:pt x="100" y="66"/>
                    <a:pt x="107" y="61"/>
                    <a:pt x="110" y="61"/>
                  </a:cubicBezTo>
                  <a:cubicBezTo>
                    <a:pt x="114" y="61"/>
                    <a:pt x="117" y="60"/>
                    <a:pt x="121" y="58"/>
                  </a:cubicBezTo>
                  <a:cubicBezTo>
                    <a:pt x="122" y="57"/>
                    <a:pt x="125" y="57"/>
                    <a:pt x="127" y="56"/>
                  </a:cubicBezTo>
                  <a:cubicBezTo>
                    <a:pt x="127" y="55"/>
                    <a:pt x="126" y="53"/>
                    <a:pt x="127" y="5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29" name="Freeform 266">
              <a:extLst>
                <a:ext uri="{FF2B5EF4-FFF2-40B4-BE49-F238E27FC236}">
                  <a16:creationId xmlns:a16="http://schemas.microsoft.com/office/drawing/2014/main" id="{E4E9CD24-EBAC-1F10-B87C-4F524A7CF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7434" y="2362723"/>
              <a:ext cx="282538" cy="206348"/>
            </a:xfrm>
            <a:custGeom>
              <a:avLst/>
              <a:gdLst>
                <a:gd name="T0" fmla="*/ 71 w 75"/>
                <a:gd name="T1" fmla="*/ 27 h 55"/>
                <a:gd name="T2" fmla="*/ 66 w 75"/>
                <a:gd name="T3" fmla="*/ 22 h 55"/>
                <a:gd name="T4" fmla="*/ 62 w 75"/>
                <a:gd name="T5" fmla="*/ 17 h 55"/>
                <a:gd name="T6" fmla="*/ 61 w 75"/>
                <a:gd name="T7" fmla="*/ 11 h 55"/>
                <a:gd name="T8" fmla="*/ 61 w 75"/>
                <a:gd name="T9" fmla="*/ 6 h 55"/>
                <a:gd name="T10" fmla="*/ 53 w 75"/>
                <a:gd name="T11" fmla="*/ 4 h 55"/>
                <a:gd name="T12" fmla="*/ 49 w 75"/>
                <a:gd name="T13" fmla="*/ 4 h 55"/>
                <a:gd name="T14" fmla="*/ 45 w 75"/>
                <a:gd name="T15" fmla="*/ 2 h 55"/>
                <a:gd name="T16" fmla="*/ 40 w 75"/>
                <a:gd name="T17" fmla="*/ 1 h 55"/>
                <a:gd name="T18" fmla="*/ 40 w 75"/>
                <a:gd name="T19" fmla="*/ 0 h 55"/>
                <a:gd name="T20" fmla="*/ 38 w 75"/>
                <a:gd name="T21" fmla="*/ 1 h 55"/>
                <a:gd name="T22" fmla="*/ 34 w 75"/>
                <a:gd name="T23" fmla="*/ 4 h 55"/>
                <a:gd name="T24" fmla="*/ 29 w 75"/>
                <a:gd name="T25" fmla="*/ 5 h 55"/>
                <a:gd name="T26" fmla="*/ 27 w 75"/>
                <a:gd name="T27" fmla="*/ 9 h 55"/>
                <a:gd name="T28" fmla="*/ 26 w 75"/>
                <a:gd name="T29" fmla="*/ 12 h 55"/>
                <a:gd name="T30" fmla="*/ 23 w 75"/>
                <a:gd name="T31" fmla="*/ 14 h 55"/>
                <a:gd name="T32" fmla="*/ 19 w 75"/>
                <a:gd name="T33" fmla="*/ 18 h 55"/>
                <a:gd name="T34" fmla="*/ 18 w 75"/>
                <a:gd name="T35" fmla="*/ 22 h 55"/>
                <a:gd name="T36" fmla="*/ 13 w 75"/>
                <a:gd name="T37" fmla="*/ 23 h 55"/>
                <a:gd name="T38" fmla="*/ 9 w 75"/>
                <a:gd name="T39" fmla="*/ 25 h 55"/>
                <a:gd name="T40" fmla="*/ 3 w 75"/>
                <a:gd name="T41" fmla="*/ 25 h 55"/>
                <a:gd name="T42" fmla="*/ 3 w 75"/>
                <a:gd name="T43" fmla="*/ 26 h 55"/>
                <a:gd name="T44" fmla="*/ 4 w 75"/>
                <a:gd name="T45" fmla="*/ 32 h 55"/>
                <a:gd name="T46" fmla="*/ 4 w 75"/>
                <a:gd name="T47" fmla="*/ 39 h 55"/>
                <a:gd name="T48" fmla="*/ 0 w 75"/>
                <a:gd name="T49" fmla="*/ 43 h 55"/>
                <a:gd name="T50" fmla="*/ 2 w 75"/>
                <a:gd name="T51" fmla="*/ 47 h 55"/>
                <a:gd name="T52" fmla="*/ 2 w 75"/>
                <a:gd name="T53" fmla="*/ 51 h 55"/>
                <a:gd name="T54" fmla="*/ 7 w 75"/>
                <a:gd name="T55" fmla="*/ 50 h 55"/>
                <a:gd name="T56" fmla="*/ 12 w 75"/>
                <a:gd name="T57" fmla="*/ 47 h 55"/>
                <a:gd name="T58" fmla="*/ 26 w 75"/>
                <a:gd name="T59" fmla="*/ 49 h 55"/>
                <a:gd name="T60" fmla="*/ 33 w 75"/>
                <a:gd name="T61" fmla="*/ 50 h 55"/>
                <a:gd name="T62" fmla="*/ 38 w 75"/>
                <a:gd name="T63" fmla="*/ 51 h 55"/>
                <a:gd name="T64" fmla="*/ 44 w 75"/>
                <a:gd name="T65" fmla="*/ 51 h 55"/>
                <a:gd name="T66" fmla="*/ 49 w 75"/>
                <a:gd name="T67" fmla="*/ 53 h 55"/>
                <a:gd name="T68" fmla="*/ 56 w 75"/>
                <a:gd name="T69" fmla="*/ 53 h 55"/>
                <a:gd name="T70" fmla="*/ 58 w 75"/>
                <a:gd name="T71" fmla="*/ 51 h 55"/>
                <a:gd name="T72" fmla="*/ 63 w 75"/>
                <a:gd name="T73" fmla="*/ 45 h 55"/>
                <a:gd name="T74" fmla="*/ 68 w 75"/>
                <a:gd name="T75" fmla="*/ 44 h 55"/>
                <a:gd name="T76" fmla="*/ 66 w 75"/>
                <a:gd name="T77" fmla="*/ 41 h 55"/>
                <a:gd name="T78" fmla="*/ 65 w 75"/>
                <a:gd name="T79" fmla="*/ 34 h 55"/>
                <a:gd name="T80" fmla="*/ 71 w 75"/>
                <a:gd name="T81" fmla="*/ 34 h 55"/>
                <a:gd name="T82" fmla="*/ 75 w 75"/>
                <a:gd name="T83" fmla="*/ 31 h 55"/>
                <a:gd name="T84" fmla="*/ 71 w 75"/>
                <a:gd name="T85" fmla="*/ 2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5" h="55">
                  <a:moveTo>
                    <a:pt x="71" y="27"/>
                  </a:moveTo>
                  <a:cubicBezTo>
                    <a:pt x="69" y="26"/>
                    <a:pt x="68" y="23"/>
                    <a:pt x="66" y="22"/>
                  </a:cubicBezTo>
                  <a:cubicBezTo>
                    <a:pt x="64" y="21"/>
                    <a:pt x="64" y="18"/>
                    <a:pt x="62" y="17"/>
                  </a:cubicBezTo>
                  <a:cubicBezTo>
                    <a:pt x="60" y="16"/>
                    <a:pt x="61" y="13"/>
                    <a:pt x="61" y="11"/>
                  </a:cubicBezTo>
                  <a:cubicBezTo>
                    <a:pt x="61" y="9"/>
                    <a:pt x="62" y="6"/>
                    <a:pt x="61" y="6"/>
                  </a:cubicBezTo>
                  <a:cubicBezTo>
                    <a:pt x="60" y="5"/>
                    <a:pt x="55" y="3"/>
                    <a:pt x="53" y="4"/>
                  </a:cubicBezTo>
                  <a:cubicBezTo>
                    <a:pt x="51" y="5"/>
                    <a:pt x="50" y="5"/>
                    <a:pt x="49" y="4"/>
                  </a:cubicBezTo>
                  <a:cubicBezTo>
                    <a:pt x="48" y="2"/>
                    <a:pt x="47" y="1"/>
                    <a:pt x="45" y="2"/>
                  </a:cubicBezTo>
                  <a:cubicBezTo>
                    <a:pt x="43" y="2"/>
                    <a:pt x="42" y="1"/>
                    <a:pt x="40" y="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0"/>
                    <a:pt x="38" y="0"/>
                    <a:pt x="38" y="1"/>
                  </a:cubicBezTo>
                  <a:cubicBezTo>
                    <a:pt x="36" y="2"/>
                    <a:pt x="36" y="4"/>
                    <a:pt x="34" y="4"/>
                  </a:cubicBezTo>
                  <a:cubicBezTo>
                    <a:pt x="33" y="4"/>
                    <a:pt x="31" y="3"/>
                    <a:pt x="29" y="5"/>
                  </a:cubicBezTo>
                  <a:cubicBezTo>
                    <a:pt x="27" y="6"/>
                    <a:pt x="27" y="8"/>
                    <a:pt x="27" y="9"/>
                  </a:cubicBezTo>
                  <a:cubicBezTo>
                    <a:pt x="27" y="10"/>
                    <a:pt x="27" y="12"/>
                    <a:pt x="26" y="12"/>
                  </a:cubicBezTo>
                  <a:cubicBezTo>
                    <a:pt x="24" y="12"/>
                    <a:pt x="25" y="14"/>
                    <a:pt x="23" y="14"/>
                  </a:cubicBezTo>
                  <a:cubicBezTo>
                    <a:pt x="22" y="15"/>
                    <a:pt x="19" y="17"/>
                    <a:pt x="19" y="18"/>
                  </a:cubicBezTo>
                  <a:cubicBezTo>
                    <a:pt x="19" y="19"/>
                    <a:pt x="19" y="22"/>
                    <a:pt x="18" y="22"/>
                  </a:cubicBezTo>
                  <a:cubicBezTo>
                    <a:pt x="17" y="22"/>
                    <a:pt x="14" y="22"/>
                    <a:pt x="13" y="23"/>
                  </a:cubicBezTo>
                  <a:cubicBezTo>
                    <a:pt x="12" y="25"/>
                    <a:pt x="11" y="26"/>
                    <a:pt x="9" y="25"/>
                  </a:cubicBezTo>
                  <a:cubicBezTo>
                    <a:pt x="8" y="25"/>
                    <a:pt x="5" y="25"/>
                    <a:pt x="3" y="25"/>
                  </a:cubicBezTo>
                  <a:cubicBezTo>
                    <a:pt x="3" y="25"/>
                    <a:pt x="3" y="25"/>
                    <a:pt x="3" y="26"/>
                  </a:cubicBezTo>
                  <a:cubicBezTo>
                    <a:pt x="2" y="28"/>
                    <a:pt x="3" y="30"/>
                    <a:pt x="4" y="32"/>
                  </a:cubicBezTo>
                  <a:cubicBezTo>
                    <a:pt x="5" y="33"/>
                    <a:pt x="6" y="38"/>
                    <a:pt x="4" y="39"/>
                  </a:cubicBezTo>
                  <a:cubicBezTo>
                    <a:pt x="3" y="39"/>
                    <a:pt x="0" y="41"/>
                    <a:pt x="0" y="43"/>
                  </a:cubicBezTo>
                  <a:cubicBezTo>
                    <a:pt x="0" y="44"/>
                    <a:pt x="3" y="45"/>
                    <a:pt x="2" y="47"/>
                  </a:cubicBezTo>
                  <a:cubicBezTo>
                    <a:pt x="2" y="48"/>
                    <a:pt x="2" y="50"/>
                    <a:pt x="2" y="51"/>
                  </a:cubicBezTo>
                  <a:cubicBezTo>
                    <a:pt x="4" y="51"/>
                    <a:pt x="5" y="52"/>
                    <a:pt x="7" y="50"/>
                  </a:cubicBezTo>
                  <a:cubicBezTo>
                    <a:pt x="8" y="49"/>
                    <a:pt x="9" y="47"/>
                    <a:pt x="12" y="47"/>
                  </a:cubicBezTo>
                  <a:cubicBezTo>
                    <a:pt x="15" y="47"/>
                    <a:pt x="24" y="47"/>
                    <a:pt x="26" y="49"/>
                  </a:cubicBezTo>
                  <a:cubicBezTo>
                    <a:pt x="27" y="50"/>
                    <a:pt x="31" y="49"/>
                    <a:pt x="33" y="50"/>
                  </a:cubicBezTo>
                  <a:cubicBezTo>
                    <a:pt x="35" y="51"/>
                    <a:pt x="38" y="52"/>
                    <a:pt x="38" y="51"/>
                  </a:cubicBezTo>
                  <a:cubicBezTo>
                    <a:pt x="39" y="50"/>
                    <a:pt x="42" y="52"/>
                    <a:pt x="44" y="51"/>
                  </a:cubicBezTo>
                  <a:cubicBezTo>
                    <a:pt x="46" y="50"/>
                    <a:pt x="48" y="54"/>
                    <a:pt x="49" y="53"/>
                  </a:cubicBezTo>
                  <a:cubicBezTo>
                    <a:pt x="50" y="52"/>
                    <a:pt x="55" y="52"/>
                    <a:pt x="56" y="53"/>
                  </a:cubicBezTo>
                  <a:cubicBezTo>
                    <a:pt x="58" y="55"/>
                    <a:pt x="58" y="52"/>
                    <a:pt x="58" y="51"/>
                  </a:cubicBezTo>
                  <a:cubicBezTo>
                    <a:pt x="58" y="49"/>
                    <a:pt x="63" y="45"/>
                    <a:pt x="63" y="45"/>
                  </a:cubicBezTo>
                  <a:cubicBezTo>
                    <a:pt x="63" y="45"/>
                    <a:pt x="66" y="45"/>
                    <a:pt x="68" y="44"/>
                  </a:cubicBezTo>
                  <a:cubicBezTo>
                    <a:pt x="67" y="44"/>
                    <a:pt x="67" y="43"/>
                    <a:pt x="66" y="41"/>
                  </a:cubicBezTo>
                  <a:cubicBezTo>
                    <a:pt x="66" y="37"/>
                    <a:pt x="64" y="35"/>
                    <a:pt x="65" y="34"/>
                  </a:cubicBezTo>
                  <a:cubicBezTo>
                    <a:pt x="66" y="32"/>
                    <a:pt x="69" y="35"/>
                    <a:pt x="71" y="34"/>
                  </a:cubicBezTo>
                  <a:cubicBezTo>
                    <a:pt x="73" y="34"/>
                    <a:pt x="75" y="32"/>
                    <a:pt x="75" y="31"/>
                  </a:cubicBezTo>
                  <a:cubicBezTo>
                    <a:pt x="75" y="29"/>
                    <a:pt x="72" y="27"/>
                    <a:pt x="71" y="2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0" name="Freeform 267">
              <a:extLst>
                <a:ext uri="{FF2B5EF4-FFF2-40B4-BE49-F238E27FC236}">
                  <a16:creationId xmlns:a16="http://schemas.microsoft.com/office/drawing/2014/main" id="{F85CCCDF-B76A-12FB-FD4D-070666B18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6003" y="2280183"/>
              <a:ext cx="222222" cy="106349"/>
            </a:xfrm>
            <a:custGeom>
              <a:avLst/>
              <a:gdLst>
                <a:gd name="T0" fmla="*/ 20 w 59"/>
                <a:gd name="T1" fmla="*/ 20 h 28"/>
                <a:gd name="T2" fmla="*/ 30 w 59"/>
                <a:gd name="T3" fmla="*/ 20 h 28"/>
                <a:gd name="T4" fmla="*/ 35 w 59"/>
                <a:gd name="T5" fmla="*/ 22 h 28"/>
                <a:gd name="T6" fmla="*/ 42 w 59"/>
                <a:gd name="T7" fmla="*/ 26 h 28"/>
                <a:gd name="T8" fmla="*/ 46 w 59"/>
                <a:gd name="T9" fmla="*/ 28 h 28"/>
                <a:gd name="T10" fmla="*/ 48 w 59"/>
                <a:gd name="T11" fmla="*/ 27 h 28"/>
                <a:gd name="T12" fmla="*/ 53 w 59"/>
                <a:gd name="T13" fmla="*/ 26 h 28"/>
                <a:gd name="T14" fmla="*/ 57 w 59"/>
                <a:gd name="T15" fmla="*/ 23 h 28"/>
                <a:gd name="T16" fmla="*/ 59 w 59"/>
                <a:gd name="T17" fmla="*/ 22 h 28"/>
                <a:gd name="T18" fmla="*/ 57 w 59"/>
                <a:gd name="T19" fmla="*/ 17 h 28"/>
                <a:gd name="T20" fmla="*/ 55 w 59"/>
                <a:gd name="T21" fmla="*/ 12 h 28"/>
                <a:gd name="T22" fmla="*/ 54 w 59"/>
                <a:gd name="T23" fmla="*/ 8 h 28"/>
                <a:gd name="T24" fmla="*/ 53 w 59"/>
                <a:gd name="T25" fmla="*/ 6 h 28"/>
                <a:gd name="T26" fmla="*/ 45 w 59"/>
                <a:gd name="T27" fmla="*/ 5 h 28"/>
                <a:gd name="T28" fmla="*/ 37 w 59"/>
                <a:gd name="T29" fmla="*/ 1 h 28"/>
                <a:gd name="T30" fmla="*/ 28 w 59"/>
                <a:gd name="T31" fmla="*/ 1 h 28"/>
                <a:gd name="T32" fmla="*/ 27 w 59"/>
                <a:gd name="T33" fmla="*/ 9 h 28"/>
                <a:gd name="T34" fmla="*/ 21 w 59"/>
                <a:gd name="T35" fmla="*/ 12 h 28"/>
                <a:gd name="T36" fmla="*/ 14 w 59"/>
                <a:gd name="T37" fmla="*/ 3 h 28"/>
                <a:gd name="T38" fmla="*/ 6 w 59"/>
                <a:gd name="T39" fmla="*/ 7 h 28"/>
                <a:gd name="T40" fmla="*/ 3 w 59"/>
                <a:gd name="T41" fmla="*/ 13 h 28"/>
                <a:gd name="T42" fmla="*/ 2 w 59"/>
                <a:gd name="T43" fmla="*/ 21 h 28"/>
                <a:gd name="T44" fmla="*/ 2 w 59"/>
                <a:gd name="T45" fmla="*/ 22 h 28"/>
                <a:gd name="T46" fmla="*/ 8 w 59"/>
                <a:gd name="T47" fmla="*/ 20 h 28"/>
                <a:gd name="T48" fmla="*/ 20 w 59"/>
                <a:gd name="T49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28">
                  <a:moveTo>
                    <a:pt x="20" y="20"/>
                  </a:moveTo>
                  <a:cubicBezTo>
                    <a:pt x="22" y="20"/>
                    <a:pt x="27" y="21"/>
                    <a:pt x="30" y="20"/>
                  </a:cubicBezTo>
                  <a:cubicBezTo>
                    <a:pt x="33" y="19"/>
                    <a:pt x="33" y="22"/>
                    <a:pt x="35" y="22"/>
                  </a:cubicBezTo>
                  <a:cubicBezTo>
                    <a:pt x="37" y="21"/>
                    <a:pt x="40" y="24"/>
                    <a:pt x="42" y="26"/>
                  </a:cubicBezTo>
                  <a:cubicBezTo>
                    <a:pt x="44" y="27"/>
                    <a:pt x="45" y="27"/>
                    <a:pt x="46" y="28"/>
                  </a:cubicBezTo>
                  <a:cubicBezTo>
                    <a:pt x="47" y="28"/>
                    <a:pt x="47" y="27"/>
                    <a:pt x="48" y="27"/>
                  </a:cubicBezTo>
                  <a:cubicBezTo>
                    <a:pt x="50" y="25"/>
                    <a:pt x="52" y="26"/>
                    <a:pt x="53" y="26"/>
                  </a:cubicBezTo>
                  <a:cubicBezTo>
                    <a:pt x="55" y="26"/>
                    <a:pt x="55" y="24"/>
                    <a:pt x="57" y="23"/>
                  </a:cubicBezTo>
                  <a:cubicBezTo>
                    <a:pt x="57" y="22"/>
                    <a:pt x="58" y="22"/>
                    <a:pt x="59" y="22"/>
                  </a:cubicBezTo>
                  <a:cubicBezTo>
                    <a:pt x="58" y="21"/>
                    <a:pt x="58" y="18"/>
                    <a:pt x="57" y="17"/>
                  </a:cubicBezTo>
                  <a:cubicBezTo>
                    <a:pt x="56" y="16"/>
                    <a:pt x="54" y="14"/>
                    <a:pt x="55" y="12"/>
                  </a:cubicBezTo>
                  <a:cubicBezTo>
                    <a:pt x="55" y="11"/>
                    <a:pt x="55" y="9"/>
                    <a:pt x="54" y="8"/>
                  </a:cubicBezTo>
                  <a:cubicBezTo>
                    <a:pt x="53" y="7"/>
                    <a:pt x="53" y="7"/>
                    <a:pt x="53" y="6"/>
                  </a:cubicBezTo>
                  <a:cubicBezTo>
                    <a:pt x="50" y="6"/>
                    <a:pt x="46" y="5"/>
                    <a:pt x="45" y="5"/>
                  </a:cubicBezTo>
                  <a:cubicBezTo>
                    <a:pt x="43" y="6"/>
                    <a:pt x="38" y="1"/>
                    <a:pt x="37" y="1"/>
                  </a:cubicBezTo>
                  <a:cubicBezTo>
                    <a:pt x="36" y="0"/>
                    <a:pt x="32" y="0"/>
                    <a:pt x="28" y="1"/>
                  </a:cubicBezTo>
                  <a:cubicBezTo>
                    <a:pt x="26" y="3"/>
                    <a:pt x="28" y="5"/>
                    <a:pt x="27" y="9"/>
                  </a:cubicBezTo>
                  <a:cubicBezTo>
                    <a:pt x="27" y="13"/>
                    <a:pt x="23" y="12"/>
                    <a:pt x="21" y="12"/>
                  </a:cubicBezTo>
                  <a:cubicBezTo>
                    <a:pt x="19" y="12"/>
                    <a:pt x="15" y="5"/>
                    <a:pt x="14" y="3"/>
                  </a:cubicBezTo>
                  <a:cubicBezTo>
                    <a:pt x="13" y="2"/>
                    <a:pt x="9" y="5"/>
                    <a:pt x="6" y="7"/>
                  </a:cubicBezTo>
                  <a:cubicBezTo>
                    <a:pt x="3" y="9"/>
                    <a:pt x="5" y="12"/>
                    <a:pt x="3" y="13"/>
                  </a:cubicBezTo>
                  <a:cubicBezTo>
                    <a:pt x="1" y="15"/>
                    <a:pt x="0" y="18"/>
                    <a:pt x="2" y="21"/>
                  </a:cubicBezTo>
                  <a:cubicBezTo>
                    <a:pt x="2" y="21"/>
                    <a:pt x="2" y="21"/>
                    <a:pt x="2" y="22"/>
                  </a:cubicBezTo>
                  <a:cubicBezTo>
                    <a:pt x="4" y="21"/>
                    <a:pt x="7" y="21"/>
                    <a:pt x="8" y="20"/>
                  </a:cubicBezTo>
                  <a:cubicBezTo>
                    <a:pt x="11" y="18"/>
                    <a:pt x="18" y="20"/>
                    <a:pt x="20" y="2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1" name="Freeform 268">
              <a:extLst>
                <a:ext uri="{FF2B5EF4-FFF2-40B4-BE49-F238E27FC236}">
                  <a16:creationId xmlns:a16="http://schemas.microsoft.com/office/drawing/2014/main" id="{B0EC95C0-1085-C85A-0820-D323314E1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6004" y="2348437"/>
              <a:ext cx="173016" cy="112698"/>
            </a:xfrm>
            <a:custGeom>
              <a:avLst/>
              <a:gdLst>
                <a:gd name="T0" fmla="*/ 6 w 46"/>
                <a:gd name="T1" fmla="*/ 15 h 30"/>
                <a:gd name="T2" fmla="*/ 11 w 46"/>
                <a:gd name="T3" fmla="*/ 17 h 30"/>
                <a:gd name="T4" fmla="*/ 16 w 46"/>
                <a:gd name="T5" fmla="*/ 19 h 30"/>
                <a:gd name="T6" fmla="*/ 16 w 46"/>
                <a:gd name="T7" fmla="*/ 25 h 30"/>
                <a:gd name="T8" fmla="*/ 22 w 46"/>
                <a:gd name="T9" fmla="*/ 29 h 30"/>
                <a:gd name="T10" fmla="*/ 28 w 46"/>
                <a:gd name="T11" fmla="*/ 29 h 30"/>
                <a:gd name="T12" fmla="*/ 32 w 46"/>
                <a:gd name="T13" fmla="*/ 27 h 30"/>
                <a:gd name="T14" fmla="*/ 37 w 46"/>
                <a:gd name="T15" fmla="*/ 26 h 30"/>
                <a:gd name="T16" fmla="*/ 38 w 46"/>
                <a:gd name="T17" fmla="*/ 22 h 30"/>
                <a:gd name="T18" fmla="*/ 42 w 46"/>
                <a:gd name="T19" fmla="*/ 18 h 30"/>
                <a:gd name="T20" fmla="*/ 45 w 46"/>
                <a:gd name="T21" fmla="*/ 16 h 30"/>
                <a:gd name="T22" fmla="*/ 46 w 46"/>
                <a:gd name="T23" fmla="*/ 13 h 30"/>
                <a:gd name="T24" fmla="*/ 46 w 46"/>
                <a:gd name="T25" fmla="*/ 10 h 30"/>
                <a:gd name="T26" fmla="*/ 42 w 46"/>
                <a:gd name="T27" fmla="*/ 8 h 30"/>
                <a:gd name="T28" fmla="*/ 35 w 46"/>
                <a:gd name="T29" fmla="*/ 4 h 30"/>
                <a:gd name="T30" fmla="*/ 30 w 46"/>
                <a:gd name="T31" fmla="*/ 2 h 30"/>
                <a:gd name="T32" fmla="*/ 20 w 46"/>
                <a:gd name="T33" fmla="*/ 2 h 30"/>
                <a:gd name="T34" fmla="*/ 8 w 46"/>
                <a:gd name="T35" fmla="*/ 2 h 30"/>
                <a:gd name="T36" fmla="*/ 2 w 46"/>
                <a:gd name="T37" fmla="*/ 4 h 30"/>
                <a:gd name="T38" fmla="*/ 1 w 46"/>
                <a:gd name="T39" fmla="*/ 12 h 30"/>
                <a:gd name="T40" fmla="*/ 1 w 46"/>
                <a:gd name="T41" fmla="*/ 14 h 30"/>
                <a:gd name="T42" fmla="*/ 6 w 46"/>
                <a:gd name="T4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30">
                  <a:moveTo>
                    <a:pt x="6" y="15"/>
                  </a:moveTo>
                  <a:cubicBezTo>
                    <a:pt x="7" y="16"/>
                    <a:pt x="10" y="17"/>
                    <a:pt x="11" y="17"/>
                  </a:cubicBezTo>
                  <a:cubicBezTo>
                    <a:pt x="12" y="16"/>
                    <a:pt x="16" y="18"/>
                    <a:pt x="16" y="19"/>
                  </a:cubicBezTo>
                  <a:cubicBezTo>
                    <a:pt x="16" y="21"/>
                    <a:pt x="15" y="25"/>
                    <a:pt x="16" y="25"/>
                  </a:cubicBezTo>
                  <a:cubicBezTo>
                    <a:pt x="16" y="25"/>
                    <a:pt x="22" y="27"/>
                    <a:pt x="22" y="29"/>
                  </a:cubicBezTo>
                  <a:cubicBezTo>
                    <a:pt x="24" y="29"/>
                    <a:pt x="27" y="29"/>
                    <a:pt x="28" y="29"/>
                  </a:cubicBezTo>
                  <a:cubicBezTo>
                    <a:pt x="30" y="30"/>
                    <a:pt x="31" y="29"/>
                    <a:pt x="32" y="27"/>
                  </a:cubicBezTo>
                  <a:cubicBezTo>
                    <a:pt x="33" y="26"/>
                    <a:pt x="36" y="26"/>
                    <a:pt x="37" y="26"/>
                  </a:cubicBezTo>
                  <a:cubicBezTo>
                    <a:pt x="38" y="26"/>
                    <a:pt x="38" y="23"/>
                    <a:pt x="38" y="22"/>
                  </a:cubicBezTo>
                  <a:cubicBezTo>
                    <a:pt x="38" y="21"/>
                    <a:pt x="41" y="19"/>
                    <a:pt x="42" y="18"/>
                  </a:cubicBezTo>
                  <a:cubicBezTo>
                    <a:pt x="44" y="18"/>
                    <a:pt x="43" y="16"/>
                    <a:pt x="45" y="16"/>
                  </a:cubicBezTo>
                  <a:cubicBezTo>
                    <a:pt x="46" y="16"/>
                    <a:pt x="46" y="14"/>
                    <a:pt x="46" y="13"/>
                  </a:cubicBezTo>
                  <a:cubicBezTo>
                    <a:pt x="46" y="12"/>
                    <a:pt x="46" y="11"/>
                    <a:pt x="46" y="10"/>
                  </a:cubicBezTo>
                  <a:cubicBezTo>
                    <a:pt x="45" y="9"/>
                    <a:pt x="44" y="9"/>
                    <a:pt x="42" y="8"/>
                  </a:cubicBezTo>
                  <a:cubicBezTo>
                    <a:pt x="40" y="6"/>
                    <a:pt x="37" y="3"/>
                    <a:pt x="35" y="4"/>
                  </a:cubicBezTo>
                  <a:cubicBezTo>
                    <a:pt x="33" y="4"/>
                    <a:pt x="33" y="1"/>
                    <a:pt x="30" y="2"/>
                  </a:cubicBezTo>
                  <a:cubicBezTo>
                    <a:pt x="27" y="3"/>
                    <a:pt x="22" y="2"/>
                    <a:pt x="20" y="2"/>
                  </a:cubicBezTo>
                  <a:cubicBezTo>
                    <a:pt x="18" y="2"/>
                    <a:pt x="11" y="0"/>
                    <a:pt x="8" y="2"/>
                  </a:cubicBezTo>
                  <a:cubicBezTo>
                    <a:pt x="7" y="3"/>
                    <a:pt x="4" y="3"/>
                    <a:pt x="2" y="4"/>
                  </a:cubicBezTo>
                  <a:cubicBezTo>
                    <a:pt x="3" y="7"/>
                    <a:pt x="3" y="10"/>
                    <a:pt x="1" y="12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3" y="14"/>
                    <a:pt x="6" y="14"/>
                    <a:pt x="6" y="1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2" name="Freeform 269">
              <a:extLst>
                <a:ext uri="{FF2B5EF4-FFF2-40B4-BE49-F238E27FC236}">
                  <a16:creationId xmlns:a16="http://schemas.microsoft.com/office/drawing/2014/main" id="{30F61AC4-5475-6B90-9985-6531CB38C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5846" y="2711921"/>
              <a:ext cx="134921" cy="76190"/>
            </a:xfrm>
            <a:custGeom>
              <a:avLst/>
              <a:gdLst>
                <a:gd name="T0" fmla="*/ 32 w 36"/>
                <a:gd name="T1" fmla="*/ 8 h 20"/>
                <a:gd name="T2" fmla="*/ 28 w 36"/>
                <a:gd name="T3" fmla="*/ 6 h 20"/>
                <a:gd name="T4" fmla="*/ 28 w 36"/>
                <a:gd name="T5" fmla="*/ 2 h 20"/>
                <a:gd name="T6" fmla="*/ 23 w 36"/>
                <a:gd name="T7" fmla="*/ 0 h 20"/>
                <a:gd name="T8" fmla="*/ 18 w 36"/>
                <a:gd name="T9" fmla="*/ 0 h 20"/>
                <a:gd name="T10" fmla="*/ 11 w 36"/>
                <a:gd name="T11" fmla="*/ 1 h 20"/>
                <a:gd name="T12" fmla="*/ 10 w 36"/>
                <a:gd name="T13" fmla="*/ 2 h 20"/>
                <a:gd name="T14" fmla="*/ 6 w 36"/>
                <a:gd name="T15" fmla="*/ 5 h 20"/>
                <a:gd name="T16" fmla="*/ 1 w 36"/>
                <a:gd name="T17" fmla="*/ 12 h 20"/>
                <a:gd name="T18" fmla="*/ 2 w 36"/>
                <a:gd name="T19" fmla="*/ 14 h 20"/>
                <a:gd name="T20" fmla="*/ 5 w 36"/>
                <a:gd name="T21" fmla="*/ 15 h 20"/>
                <a:gd name="T22" fmla="*/ 7 w 36"/>
                <a:gd name="T23" fmla="*/ 19 h 20"/>
                <a:gd name="T24" fmla="*/ 7 w 36"/>
                <a:gd name="T25" fmla="*/ 19 h 20"/>
                <a:gd name="T26" fmla="*/ 14 w 36"/>
                <a:gd name="T27" fmla="*/ 18 h 20"/>
                <a:gd name="T28" fmla="*/ 18 w 36"/>
                <a:gd name="T29" fmla="*/ 13 h 20"/>
                <a:gd name="T30" fmla="*/ 22 w 36"/>
                <a:gd name="T31" fmla="*/ 18 h 20"/>
                <a:gd name="T32" fmla="*/ 24 w 36"/>
                <a:gd name="T33" fmla="*/ 15 h 20"/>
                <a:gd name="T34" fmla="*/ 27 w 36"/>
                <a:gd name="T35" fmla="*/ 14 h 20"/>
                <a:gd name="T36" fmla="*/ 31 w 36"/>
                <a:gd name="T37" fmla="*/ 13 h 20"/>
                <a:gd name="T38" fmla="*/ 33 w 36"/>
                <a:gd name="T39" fmla="*/ 12 h 20"/>
                <a:gd name="T40" fmla="*/ 35 w 36"/>
                <a:gd name="T41" fmla="*/ 10 h 20"/>
                <a:gd name="T42" fmla="*/ 36 w 36"/>
                <a:gd name="T43" fmla="*/ 8 h 20"/>
                <a:gd name="T44" fmla="*/ 32 w 36"/>
                <a:gd name="T45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6" h="20">
                  <a:moveTo>
                    <a:pt x="32" y="8"/>
                  </a:moveTo>
                  <a:cubicBezTo>
                    <a:pt x="31" y="9"/>
                    <a:pt x="28" y="6"/>
                    <a:pt x="28" y="6"/>
                  </a:cubicBezTo>
                  <a:cubicBezTo>
                    <a:pt x="28" y="5"/>
                    <a:pt x="28" y="3"/>
                    <a:pt x="28" y="2"/>
                  </a:cubicBezTo>
                  <a:cubicBezTo>
                    <a:pt x="27" y="2"/>
                    <a:pt x="25" y="1"/>
                    <a:pt x="23" y="0"/>
                  </a:cubicBezTo>
                  <a:cubicBezTo>
                    <a:pt x="21" y="0"/>
                    <a:pt x="20" y="0"/>
                    <a:pt x="18" y="0"/>
                  </a:cubicBezTo>
                  <a:cubicBezTo>
                    <a:pt x="17" y="1"/>
                    <a:pt x="13" y="1"/>
                    <a:pt x="11" y="1"/>
                  </a:cubicBezTo>
                  <a:cubicBezTo>
                    <a:pt x="11" y="1"/>
                    <a:pt x="11" y="2"/>
                    <a:pt x="10" y="2"/>
                  </a:cubicBezTo>
                  <a:cubicBezTo>
                    <a:pt x="8" y="2"/>
                    <a:pt x="6" y="4"/>
                    <a:pt x="6" y="5"/>
                  </a:cubicBezTo>
                  <a:cubicBezTo>
                    <a:pt x="6" y="7"/>
                    <a:pt x="2" y="9"/>
                    <a:pt x="1" y="12"/>
                  </a:cubicBezTo>
                  <a:cubicBezTo>
                    <a:pt x="0" y="15"/>
                    <a:pt x="0" y="16"/>
                    <a:pt x="2" y="14"/>
                  </a:cubicBezTo>
                  <a:cubicBezTo>
                    <a:pt x="3" y="12"/>
                    <a:pt x="5" y="13"/>
                    <a:pt x="5" y="15"/>
                  </a:cubicBezTo>
                  <a:cubicBezTo>
                    <a:pt x="5" y="16"/>
                    <a:pt x="8" y="17"/>
                    <a:pt x="7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9" y="19"/>
                    <a:pt x="13" y="18"/>
                    <a:pt x="14" y="18"/>
                  </a:cubicBezTo>
                  <a:cubicBezTo>
                    <a:pt x="15" y="18"/>
                    <a:pt x="17" y="13"/>
                    <a:pt x="18" y="13"/>
                  </a:cubicBezTo>
                  <a:cubicBezTo>
                    <a:pt x="18" y="12"/>
                    <a:pt x="20" y="16"/>
                    <a:pt x="22" y="18"/>
                  </a:cubicBezTo>
                  <a:cubicBezTo>
                    <a:pt x="24" y="20"/>
                    <a:pt x="24" y="17"/>
                    <a:pt x="24" y="15"/>
                  </a:cubicBezTo>
                  <a:cubicBezTo>
                    <a:pt x="24" y="14"/>
                    <a:pt x="26" y="13"/>
                    <a:pt x="27" y="14"/>
                  </a:cubicBezTo>
                  <a:cubicBezTo>
                    <a:pt x="28" y="14"/>
                    <a:pt x="31" y="14"/>
                    <a:pt x="31" y="13"/>
                  </a:cubicBezTo>
                  <a:cubicBezTo>
                    <a:pt x="31" y="11"/>
                    <a:pt x="32" y="12"/>
                    <a:pt x="33" y="12"/>
                  </a:cubicBezTo>
                  <a:cubicBezTo>
                    <a:pt x="34" y="12"/>
                    <a:pt x="35" y="10"/>
                    <a:pt x="35" y="10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5" y="8"/>
                    <a:pt x="33" y="7"/>
                    <a:pt x="32" y="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3" name="Freeform 270">
              <a:extLst>
                <a:ext uri="{FF2B5EF4-FFF2-40B4-BE49-F238E27FC236}">
                  <a16:creationId xmlns:a16="http://schemas.microsoft.com/office/drawing/2014/main" id="{E81CB3EE-AE4D-B95B-E0ED-F6B9717DE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087" y="2423034"/>
              <a:ext cx="269840" cy="304760"/>
            </a:xfrm>
            <a:custGeom>
              <a:avLst/>
              <a:gdLst>
                <a:gd name="T0" fmla="*/ 9 w 72"/>
                <a:gd name="T1" fmla="*/ 21 h 81"/>
                <a:gd name="T2" fmla="*/ 5 w 72"/>
                <a:gd name="T3" fmla="*/ 25 h 81"/>
                <a:gd name="T4" fmla="*/ 8 w 72"/>
                <a:gd name="T5" fmla="*/ 29 h 81"/>
                <a:gd name="T6" fmla="*/ 6 w 72"/>
                <a:gd name="T7" fmla="*/ 32 h 81"/>
                <a:gd name="T8" fmla="*/ 2 w 72"/>
                <a:gd name="T9" fmla="*/ 34 h 81"/>
                <a:gd name="T10" fmla="*/ 1 w 72"/>
                <a:gd name="T11" fmla="*/ 38 h 81"/>
                <a:gd name="T12" fmla="*/ 0 w 72"/>
                <a:gd name="T13" fmla="*/ 44 h 81"/>
                <a:gd name="T14" fmla="*/ 2 w 72"/>
                <a:gd name="T15" fmla="*/ 49 h 81"/>
                <a:gd name="T16" fmla="*/ 1 w 72"/>
                <a:gd name="T17" fmla="*/ 52 h 81"/>
                <a:gd name="T18" fmla="*/ 3 w 72"/>
                <a:gd name="T19" fmla="*/ 59 h 81"/>
                <a:gd name="T20" fmla="*/ 5 w 72"/>
                <a:gd name="T21" fmla="*/ 60 h 81"/>
                <a:gd name="T22" fmla="*/ 10 w 72"/>
                <a:gd name="T23" fmla="*/ 62 h 81"/>
                <a:gd name="T24" fmla="*/ 14 w 72"/>
                <a:gd name="T25" fmla="*/ 64 h 81"/>
                <a:gd name="T26" fmla="*/ 16 w 72"/>
                <a:gd name="T27" fmla="*/ 66 h 81"/>
                <a:gd name="T28" fmla="*/ 13 w 72"/>
                <a:gd name="T29" fmla="*/ 73 h 81"/>
                <a:gd name="T30" fmla="*/ 12 w 72"/>
                <a:gd name="T31" fmla="*/ 78 h 81"/>
                <a:gd name="T32" fmla="*/ 19 w 72"/>
                <a:gd name="T33" fmla="*/ 77 h 81"/>
                <a:gd name="T34" fmla="*/ 24 w 72"/>
                <a:gd name="T35" fmla="*/ 77 h 81"/>
                <a:gd name="T36" fmla="*/ 29 w 72"/>
                <a:gd name="T37" fmla="*/ 79 h 81"/>
                <a:gd name="T38" fmla="*/ 30 w 72"/>
                <a:gd name="T39" fmla="*/ 78 h 81"/>
                <a:gd name="T40" fmla="*/ 35 w 72"/>
                <a:gd name="T41" fmla="*/ 80 h 81"/>
                <a:gd name="T42" fmla="*/ 39 w 72"/>
                <a:gd name="T43" fmla="*/ 79 h 81"/>
                <a:gd name="T44" fmla="*/ 44 w 72"/>
                <a:gd name="T45" fmla="*/ 79 h 81"/>
                <a:gd name="T46" fmla="*/ 52 w 72"/>
                <a:gd name="T47" fmla="*/ 77 h 81"/>
                <a:gd name="T48" fmla="*/ 55 w 72"/>
                <a:gd name="T49" fmla="*/ 75 h 81"/>
                <a:gd name="T50" fmla="*/ 59 w 72"/>
                <a:gd name="T51" fmla="*/ 70 h 81"/>
                <a:gd name="T52" fmla="*/ 63 w 72"/>
                <a:gd name="T53" fmla="*/ 66 h 81"/>
                <a:gd name="T54" fmla="*/ 55 w 72"/>
                <a:gd name="T55" fmla="*/ 60 h 81"/>
                <a:gd name="T56" fmla="*/ 52 w 72"/>
                <a:gd name="T57" fmla="*/ 53 h 81"/>
                <a:gd name="T58" fmla="*/ 51 w 72"/>
                <a:gd name="T59" fmla="*/ 49 h 81"/>
                <a:gd name="T60" fmla="*/ 60 w 72"/>
                <a:gd name="T61" fmla="*/ 46 h 81"/>
                <a:gd name="T62" fmla="*/ 66 w 72"/>
                <a:gd name="T63" fmla="*/ 43 h 81"/>
                <a:gd name="T64" fmla="*/ 71 w 72"/>
                <a:gd name="T65" fmla="*/ 42 h 81"/>
                <a:gd name="T66" fmla="*/ 71 w 72"/>
                <a:gd name="T67" fmla="*/ 38 h 81"/>
                <a:gd name="T68" fmla="*/ 69 w 72"/>
                <a:gd name="T69" fmla="*/ 31 h 81"/>
                <a:gd name="T70" fmla="*/ 68 w 72"/>
                <a:gd name="T71" fmla="*/ 27 h 81"/>
                <a:gd name="T72" fmla="*/ 66 w 72"/>
                <a:gd name="T73" fmla="*/ 23 h 81"/>
                <a:gd name="T74" fmla="*/ 66 w 72"/>
                <a:gd name="T75" fmla="*/ 20 h 81"/>
                <a:gd name="T76" fmla="*/ 66 w 72"/>
                <a:gd name="T77" fmla="*/ 12 h 81"/>
                <a:gd name="T78" fmla="*/ 66 w 72"/>
                <a:gd name="T79" fmla="*/ 11 h 81"/>
                <a:gd name="T80" fmla="*/ 65 w 72"/>
                <a:gd name="T81" fmla="*/ 10 h 81"/>
                <a:gd name="T82" fmla="*/ 60 w 72"/>
                <a:gd name="T83" fmla="*/ 7 h 81"/>
                <a:gd name="T84" fmla="*/ 61 w 72"/>
                <a:gd name="T85" fmla="*/ 2 h 81"/>
                <a:gd name="T86" fmla="*/ 54 w 72"/>
                <a:gd name="T87" fmla="*/ 4 h 81"/>
                <a:gd name="T88" fmla="*/ 45 w 72"/>
                <a:gd name="T89" fmla="*/ 10 h 81"/>
                <a:gd name="T90" fmla="*/ 41 w 72"/>
                <a:gd name="T91" fmla="*/ 7 h 81"/>
                <a:gd name="T92" fmla="*/ 38 w 72"/>
                <a:gd name="T93" fmla="*/ 5 h 81"/>
                <a:gd name="T94" fmla="*/ 32 w 72"/>
                <a:gd name="T95" fmla="*/ 2 h 81"/>
                <a:gd name="T96" fmla="*/ 31 w 72"/>
                <a:gd name="T97" fmla="*/ 0 h 81"/>
                <a:gd name="T98" fmla="*/ 28 w 72"/>
                <a:gd name="T99" fmla="*/ 0 h 81"/>
                <a:gd name="T100" fmla="*/ 21 w 72"/>
                <a:gd name="T101" fmla="*/ 0 h 81"/>
                <a:gd name="T102" fmla="*/ 22 w 72"/>
                <a:gd name="T103" fmla="*/ 4 h 81"/>
                <a:gd name="T104" fmla="*/ 25 w 72"/>
                <a:gd name="T105" fmla="*/ 10 h 81"/>
                <a:gd name="T106" fmla="*/ 21 w 72"/>
                <a:gd name="T107" fmla="*/ 14 h 81"/>
                <a:gd name="T108" fmla="*/ 15 w 72"/>
                <a:gd name="T109" fmla="*/ 13 h 81"/>
                <a:gd name="T110" fmla="*/ 9 w 72"/>
                <a:gd name="T111" fmla="*/ 14 h 81"/>
                <a:gd name="T112" fmla="*/ 9 w 72"/>
                <a:gd name="T113" fmla="*/ 15 h 81"/>
                <a:gd name="T114" fmla="*/ 9 w 72"/>
                <a:gd name="T115" fmla="*/ 2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" h="81">
                  <a:moveTo>
                    <a:pt x="9" y="21"/>
                  </a:moveTo>
                  <a:cubicBezTo>
                    <a:pt x="7" y="24"/>
                    <a:pt x="5" y="24"/>
                    <a:pt x="5" y="25"/>
                  </a:cubicBezTo>
                  <a:cubicBezTo>
                    <a:pt x="6" y="25"/>
                    <a:pt x="8" y="28"/>
                    <a:pt x="8" y="29"/>
                  </a:cubicBezTo>
                  <a:cubicBezTo>
                    <a:pt x="7" y="30"/>
                    <a:pt x="6" y="29"/>
                    <a:pt x="6" y="32"/>
                  </a:cubicBezTo>
                  <a:cubicBezTo>
                    <a:pt x="6" y="34"/>
                    <a:pt x="3" y="34"/>
                    <a:pt x="2" y="34"/>
                  </a:cubicBezTo>
                  <a:cubicBezTo>
                    <a:pt x="0" y="34"/>
                    <a:pt x="2" y="36"/>
                    <a:pt x="1" y="38"/>
                  </a:cubicBezTo>
                  <a:cubicBezTo>
                    <a:pt x="0" y="39"/>
                    <a:pt x="0" y="43"/>
                    <a:pt x="0" y="44"/>
                  </a:cubicBezTo>
                  <a:cubicBezTo>
                    <a:pt x="0" y="45"/>
                    <a:pt x="3" y="48"/>
                    <a:pt x="2" y="49"/>
                  </a:cubicBezTo>
                  <a:cubicBezTo>
                    <a:pt x="2" y="50"/>
                    <a:pt x="0" y="51"/>
                    <a:pt x="1" y="52"/>
                  </a:cubicBezTo>
                  <a:cubicBezTo>
                    <a:pt x="1" y="53"/>
                    <a:pt x="3" y="54"/>
                    <a:pt x="3" y="59"/>
                  </a:cubicBezTo>
                  <a:cubicBezTo>
                    <a:pt x="4" y="59"/>
                    <a:pt x="5" y="59"/>
                    <a:pt x="5" y="60"/>
                  </a:cubicBezTo>
                  <a:cubicBezTo>
                    <a:pt x="6" y="61"/>
                    <a:pt x="8" y="62"/>
                    <a:pt x="10" y="62"/>
                  </a:cubicBezTo>
                  <a:cubicBezTo>
                    <a:pt x="12" y="62"/>
                    <a:pt x="13" y="64"/>
                    <a:pt x="14" y="64"/>
                  </a:cubicBezTo>
                  <a:cubicBezTo>
                    <a:pt x="15" y="63"/>
                    <a:pt x="18" y="64"/>
                    <a:pt x="16" y="66"/>
                  </a:cubicBezTo>
                  <a:cubicBezTo>
                    <a:pt x="14" y="68"/>
                    <a:pt x="13" y="71"/>
                    <a:pt x="13" y="73"/>
                  </a:cubicBezTo>
                  <a:cubicBezTo>
                    <a:pt x="12" y="74"/>
                    <a:pt x="12" y="76"/>
                    <a:pt x="12" y="78"/>
                  </a:cubicBezTo>
                  <a:cubicBezTo>
                    <a:pt x="14" y="78"/>
                    <a:pt x="18" y="78"/>
                    <a:pt x="19" y="77"/>
                  </a:cubicBezTo>
                  <a:cubicBezTo>
                    <a:pt x="21" y="77"/>
                    <a:pt x="22" y="77"/>
                    <a:pt x="24" y="77"/>
                  </a:cubicBezTo>
                  <a:cubicBezTo>
                    <a:pt x="26" y="78"/>
                    <a:pt x="28" y="79"/>
                    <a:pt x="29" y="79"/>
                  </a:cubicBezTo>
                  <a:cubicBezTo>
                    <a:pt x="29" y="79"/>
                    <a:pt x="29" y="78"/>
                    <a:pt x="30" y="78"/>
                  </a:cubicBezTo>
                  <a:cubicBezTo>
                    <a:pt x="32" y="78"/>
                    <a:pt x="33" y="81"/>
                    <a:pt x="35" y="80"/>
                  </a:cubicBezTo>
                  <a:cubicBezTo>
                    <a:pt x="36" y="78"/>
                    <a:pt x="38" y="78"/>
                    <a:pt x="39" y="79"/>
                  </a:cubicBezTo>
                  <a:cubicBezTo>
                    <a:pt x="41" y="80"/>
                    <a:pt x="43" y="80"/>
                    <a:pt x="44" y="79"/>
                  </a:cubicBezTo>
                  <a:cubicBezTo>
                    <a:pt x="45" y="77"/>
                    <a:pt x="51" y="76"/>
                    <a:pt x="52" y="77"/>
                  </a:cubicBezTo>
                  <a:cubicBezTo>
                    <a:pt x="53" y="77"/>
                    <a:pt x="57" y="79"/>
                    <a:pt x="55" y="75"/>
                  </a:cubicBezTo>
                  <a:cubicBezTo>
                    <a:pt x="54" y="70"/>
                    <a:pt x="58" y="71"/>
                    <a:pt x="59" y="70"/>
                  </a:cubicBezTo>
                  <a:cubicBezTo>
                    <a:pt x="59" y="68"/>
                    <a:pt x="64" y="67"/>
                    <a:pt x="63" y="66"/>
                  </a:cubicBezTo>
                  <a:cubicBezTo>
                    <a:pt x="62" y="65"/>
                    <a:pt x="56" y="61"/>
                    <a:pt x="55" y="60"/>
                  </a:cubicBezTo>
                  <a:cubicBezTo>
                    <a:pt x="53" y="59"/>
                    <a:pt x="53" y="55"/>
                    <a:pt x="52" y="53"/>
                  </a:cubicBezTo>
                  <a:cubicBezTo>
                    <a:pt x="51" y="51"/>
                    <a:pt x="49" y="49"/>
                    <a:pt x="51" y="49"/>
                  </a:cubicBezTo>
                  <a:cubicBezTo>
                    <a:pt x="54" y="48"/>
                    <a:pt x="58" y="47"/>
                    <a:pt x="60" y="46"/>
                  </a:cubicBezTo>
                  <a:cubicBezTo>
                    <a:pt x="62" y="44"/>
                    <a:pt x="65" y="44"/>
                    <a:pt x="66" y="43"/>
                  </a:cubicBezTo>
                  <a:cubicBezTo>
                    <a:pt x="68" y="41"/>
                    <a:pt x="70" y="43"/>
                    <a:pt x="71" y="42"/>
                  </a:cubicBezTo>
                  <a:cubicBezTo>
                    <a:pt x="71" y="41"/>
                    <a:pt x="72" y="39"/>
                    <a:pt x="71" y="38"/>
                  </a:cubicBezTo>
                  <a:cubicBezTo>
                    <a:pt x="70" y="37"/>
                    <a:pt x="69" y="35"/>
                    <a:pt x="69" y="31"/>
                  </a:cubicBezTo>
                  <a:cubicBezTo>
                    <a:pt x="69" y="28"/>
                    <a:pt x="68" y="29"/>
                    <a:pt x="68" y="27"/>
                  </a:cubicBezTo>
                  <a:cubicBezTo>
                    <a:pt x="68" y="26"/>
                    <a:pt x="67" y="24"/>
                    <a:pt x="66" y="23"/>
                  </a:cubicBezTo>
                  <a:cubicBezTo>
                    <a:pt x="65" y="23"/>
                    <a:pt x="64" y="22"/>
                    <a:pt x="66" y="20"/>
                  </a:cubicBezTo>
                  <a:cubicBezTo>
                    <a:pt x="67" y="18"/>
                    <a:pt x="66" y="13"/>
                    <a:pt x="66" y="12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5" y="11"/>
                    <a:pt x="65" y="10"/>
                    <a:pt x="65" y="10"/>
                  </a:cubicBezTo>
                  <a:cubicBezTo>
                    <a:pt x="65" y="8"/>
                    <a:pt x="63" y="7"/>
                    <a:pt x="60" y="7"/>
                  </a:cubicBezTo>
                  <a:cubicBezTo>
                    <a:pt x="57" y="7"/>
                    <a:pt x="62" y="4"/>
                    <a:pt x="61" y="2"/>
                  </a:cubicBezTo>
                  <a:cubicBezTo>
                    <a:pt x="60" y="1"/>
                    <a:pt x="57" y="5"/>
                    <a:pt x="54" y="4"/>
                  </a:cubicBezTo>
                  <a:cubicBezTo>
                    <a:pt x="51" y="3"/>
                    <a:pt x="47" y="8"/>
                    <a:pt x="45" y="10"/>
                  </a:cubicBezTo>
                  <a:cubicBezTo>
                    <a:pt x="42" y="12"/>
                    <a:pt x="39" y="9"/>
                    <a:pt x="41" y="7"/>
                  </a:cubicBezTo>
                  <a:cubicBezTo>
                    <a:pt x="43" y="4"/>
                    <a:pt x="41" y="4"/>
                    <a:pt x="38" y="5"/>
                  </a:cubicBezTo>
                  <a:cubicBezTo>
                    <a:pt x="35" y="6"/>
                    <a:pt x="32" y="5"/>
                    <a:pt x="32" y="2"/>
                  </a:cubicBezTo>
                  <a:cubicBezTo>
                    <a:pt x="32" y="2"/>
                    <a:pt x="32" y="1"/>
                    <a:pt x="31" y="0"/>
                  </a:cubicBezTo>
                  <a:cubicBezTo>
                    <a:pt x="30" y="1"/>
                    <a:pt x="29" y="1"/>
                    <a:pt x="28" y="0"/>
                  </a:cubicBezTo>
                  <a:cubicBezTo>
                    <a:pt x="27" y="0"/>
                    <a:pt x="24" y="0"/>
                    <a:pt x="21" y="0"/>
                  </a:cubicBezTo>
                  <a:cubicBezTo>
                    <a:pt x="22" y="1"/>
                    <a:pt x="23" y="2"/>
                    <a:pt x="22" y="4"/>
                  </a:cubicBezTo>
                  <a:cubicBezTo>
                    <a:pt x="21" y="6"/>
                    <a:pt x="23" y="7"/>
                    <a:pt x="25" y="10"/>
                  </a:cubicBezTo>
                  <a:cubicBezTo>
                    <a:pt x="26" y="13"/>
                    <a:pt x="21" y="12"/>
                    <a:pt x="21" y="14"/>
                  </a:cubicBezTo>
                  <a:cubicBezTo>
                    <a:pt x="21" y="16"/>
                    <a:pt x="17" y="14"/>
                    <a:pt x="15" y="13"/>
                  </a:cubicBezTo>
                  <a:cubicBezTo>
                    <a:pt x="14" y="12"/>
                    <a:pt x="9" y="13"/>
                    <a:pt x="9" y="14"/>
                  </a:cubicBezTo>
                  <a:cubicBezTo>
                    <a:pt x="9" y="14"/>
                    <a:pt x="9" y="15"/>
                    <a:pt x="9" y="15"/>
                  </a:cubicBezTo>
                  <a:cubicBezTo>
                    <a:pt x="10" y="18"/>
                    <a:pt x="10" y="20"/>
                    <a:pt x="9" y="2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4" name="Freeform 271">
              <a:extLst>
                <a:ext uri="{FF2B5EF4-FFF2-40B4-BE49-F238E27FC236}">
                  <a16:creationId xmlns:a16="http://schemas.microsoft.com/office/drawing/2014/main" id="{427685A6-54FA-17D7-DBE3-409923B33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62" y="1686530"/>
              <a:ext cx="319046" cy="507934"/>
            </a:xfrm>
            <a:custGeom>
              <a:avLst/>
              <a:gdLst>
                <a:gd name="T0" fmla="*/ 72 w 85"/>
                <a:gd name="T1" fmla="*/ 113 h 135"/>
                <a:gd name="T2" fmla="*/ 84 w 85"/>
                <a:gd name="T3" fmla="*/ 102 h 135"/>
                <a:gd name="T4" fmla="*/ 82 w 85"/>
                <a:gd name="T5" fmla="*/ 96 h 135"/>
                <a:gd name="T6" fmla="*/ 72 w 85"/>
                <a:gd name="T7" fmla="*/ 88 h 135"/>
                <a:gd name="T8" fmla="*/ 77 w 85"/>
                <a:gd name="T9" fmla="*/ 83 h 135"/>
                <a:gd name="T10" fmla="*/ 72 w 85"/>
                <a:gd name="T11" fmla="*/ 79 h 135"/>
                <a:gd name="T12" fmla="*/ 74 w 85"/>
                <a:gd name="T13" fmla="*/ 75 h 135"/>
                <a:gd name="T14" fmla="*/ 70 w 85"/>
                <a:gd name="T15" fmla="*/ 72 h 135"/>
                <a:gd name="T16" fmla="*/ 71 w 85"/>
                <a:gd name="T17" fmla="*/ 70 h 135"/>
                <a:gd name="T18" fmla="*/ 70 w 85"/>
                <a:gd name="T19" fmla="*/ 64 h 135"/>
                <a:gd name="T20" fmla="*/ 73 w 85"/>
                <a:gd name="T21" fmla="*/ 59 h 135"/>
                <a:gd name="T22" fmla="*/ 65 w 85"/>
                <a:gd name="T23" fmla="*/ 47 h 135"/>
                <a:gd name="T24" fmla="*/ 68 w 85"/>
                <a:gd name="T25" fmla="*/ 42 h 135"/>
                <a:gd name="T26" fmla="*/ 73 w 85"/>
                <a:gd name="T27" fmla="*/ 36 h 135"/>
                <a:gd name="T28" fmla="*/ 67 w 85"/>
                <a:gd name="T29" fmla="*/ 30 h 135"/>
                <a:gd name="T30" fmla="*/ 62 w 85"/>
                <a:gd name="T31" fmla="*/ 27 h 135"/>
                <a:gd name="T32" fmla="*/ 61 w 85"/>
                <a:gd name="T33" fmla="*/ 23 h 135"/>
                <a:gd name="T34" fmla="*/ 62 w 85"/>
                <a:gd name="T35" fmla="*/ 19 h 135"/>
                <a:gd name="T36" fmla="*/ 65 w 85"/>
                <a:gd name="T37" fmla="*/ 16 h 135"/>
                <a:gd name="T38" fmla="*/ 67 w 85"/>
                <a:gd name="T39" fmla="*/ 13 h 135"/>
                <a:gd name="T40" fmla="*/ 67 w 85"/>
                <a:gd name="T41" fmla="*/ 9 h 135"/>
                <a:gd name="T42" fmla="*/ 58 w 85"/>
                <a:gd name="T43" fmla="*/ 3 h 135"/>
                <a:gd name="T44" fmla="*/ 52 w 85"/>
                <a:gd name="T45" fmla="*/ 3 h 135"/>
                <a:gd name="T46" fmla="*/ 44 w 85"/>
                <a:gd name="T47" fmla="*/ 5 h 135"/>
                <a:gd name="T48" fmla="*/ 39 w 85"/>
                <a:gd name="T49" fmla="*/ 10 h 135"/>
                <a:gd name="T50" fmla="*/ 37 w 85"/>
                <a:gd name="T51" fmla="*/ 17 h 135"/>
                <a:gd name="T52" fmla="*/ 34 w 85"/>
                <a:gd name="T53" fmla="*/ 22 h 135"/>
                <a:gd name="T54" fmla="*/ 29 w 85"/>
                <a:gd name="T55" fmla="*/ 21 h 135"/>
                <a:gd name="T56" fmla="*/ 23 w 85"/>
                <a:gd name="T57" fmla="*/ 20 h 135"/>
                <a:gd name="T58" fmla="*/ 14 w 85"/>
                <a:gd name="T59" fmla="*/ 20 h 135"/>
                <a:gd name="T60" fmla="*/ 6 w 85"/>
                <a:gd name="T61" fmla="*/ 13 h 135"/>
                <a:gd name="T62" fmla="*/ 0 w 85"/>
                <a:gd name="T63" fmla="*/ 17 h 135"/>
                <a:gd name="T64" fmla="*/ 9 w 85"/>
                <a:gd name="T65" fmla="*/ 24 h 135"/>
                <a:gd name="T66" fmla="*/ 21 w 85"/>
                <a:gd name="T67" fmla="*/ 31 h 135"/>
                <a:gd name="T68" fmla="*/ 21 w 85"/>
                <a:gd name="T69" fmla="*/ 38 h 135"/>
                <a:gd name="T70" fmla="*/ 23 w 85"/>
                <a:gd name="T71" fmla="*/ 45 h 135"/>
                <a:gd name="T72" fmla="*/ 23 w 85"/>
                <a:gd name="T73" fmla="*/ 52 h 135"/>
                <a:gd name="T74" fmla="*/ 24 w 85"/>
                <a:gd name="T75" fmla="*/ 57 h 135"/>
                <a:gd name="T76" fmla="*/ 25 w 85"/>
                <a:gd name="T77" fmla="*/ 61 h 135"/>
                <a:gd name="T78" fmla="*/ 32 w 85"/>
                <a:gd name="T79" fmla="*/ 63 h 135"/>
                <a:gd name="T80" fmla="*/ 34 w 85"/>
                <a:gd name="T81" fmla="*/ 69 h 135"/>
                <a:gd name="T82" fmla="*/ 33 w 85"/>
                <a:gd name="T83" fmla="*/ 72 h 135"/>
                <a:gd name="T84" fmla="*/ 29 w 85"/>
                <a:gd name="T85" fmla="*/ 76 h 135"/>
                <a:gd name="T86" fmla="*/ 20 w 85"/>
                <a:gd name="T87" fmla="*/ 84 h 135"/>
                <a:gd name="T88" fmla="*/ 16 w 85"/>
                <a:gd name="T89" fmla="*/ 88 h 135"/>
                <a:gd name="T90" fmla="*/ 11 w 85"/>
                <a:gd name="T91" fmla="*/ 92 h 135"/>
                <a:gd name="T92" fmla="*/ 6 w 85"/>
                <a:gd name="T93" fmla="*/ 95 h 135"/>
                <a:gd name="T94" fmla="*/ 2 w 85"/>
                <a:gd name="T95" fmla="*/ 100 h 135"/>
                <a:gd name="T96" fmla="*/ 3 w 85"/>
                <a:gd name="T97" fmla="*/ 104 h 135"/>
                <a:gd name="T98" fmla="*/ 3 w 85"/>
                <a:gd name="T99" fmla="*/ 110 h 135"/>
                <a:gd name="T100" fmla="*/ 5 w 85"/>
                <a:gd name="T101" fmla="*/ 119 h 135"/>
                <a:gd name="T102" fmla="*/ 3 w 85"/>
                <a:gd name="T103" fmla="*/ 127 h 135"/>
                <a:gd name="T104" fmla="*/ 10 w 85"/>
                <a:gd name="T105" fmla="*/ 130 h 135"/>
                <a:gd name="T106" fmla="*/ 15 w 85"/>
                <a:gd name="T107" fmla="*/ 133 h 135"/>
                <a:gd name="T108" fmla="*/ 24 w 85"/>
                <a:gd name="T109" fmla="*/ 135 h 135"/>
                <a:gd name="T110" fmla="*/ 49 w 85"/>
                <a:gd name="T111" fmla="*/ 129 h 135"/>
                <a:gd name="T112" fmla="*/ 56 w 85"/>
                <a:gd name="T113" fmla="*/ 128 h 135"/>
                <a:gd name="T114" fmla="*/ 60 w 85"/>
                <a:gd name="T115" fmla="*/ 123 h 135"/>
                <a:gd name="T116" fmla="*/ 72 w 85"/>
                <a:gd name="T117" fmla="*/ 11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5" h="135">
                  <a:moveTo>
                    <a:pt x="72" y="113"/>
                  </a:moveTo>
                  <a:cubicBezTo>
                    <a:pt x="74" y="109"/>
                    <a:pt x="83" y="106"/>
                    <a:pt x="84" y="102"/>
                  </a:cubicBezTo>
                  <a:cubicBezTo>
                    <a:pt x="85" y="100"/>
                    <a:pt x="85" y="99"/>
                    <a:pt x="82" y="96"/>
                  </a:cubicBezTo>
                  <a:cubicBezTo>
                    <a:pt x="79" y="92"/>
                    <a:pt x="72" y="90"/>
                    <a:pt x="72" y="88"/>
                  </a:cubicBezTo>
                  <a:cubicBezTo>
                    <a:pt x="71" y="86"/>
                    <a:pt x="77" y="86"/>
                    <a:pt x="77" y="83"/>
                  </a:cubicBezTo>
                  <a:cubicBezTo>
                    <a:pt x="76" y="81"/>
                    <a:pt x="74" y="81"/>
                    <a:pt x="72" y="79"/>
                  </a:cubicBezTo>
                  <a:cubicBezTo>
                    <a:pt x="71" y="77"/>
                    <a:pt x="74" y="76"/>
                    <a:pt x="74" y="75"/>
                  </a:cubicBezTo>
                  <a:cubicBezTo>
                    <a:pt x="73" y="74"/>
                    <a:pt x="70" y="74"/>
                    <a:pt x="70" y="72"/>
                  </a:cubicBezTo>
                  <a:cubicBezTo>
                    <a:pt x="69" y="71"/>
                    <a:pt x="72" y="71"/>
                    <a:pt x="71" y="70"/>
                  </a:cubicBezTo>
                  <a:cubicBezTo>
                    <a:pt x="71" y="69"/>
                    <a:pt x="69" y="66"/>
                    <a:pt x="70" y="64"/>
                  </a:cubicBezTo>
                  <a:cubicBezTo>
                    <a:pt x="72" y="62"/>
                    <a:pt x="76" y="64"/>
                    <a:pt x="73" y="59"/>
                  </a:cubicBezTo>
                  <a:cubicBezTo>
                    <a:pt x="70" y="54"/>
                    <a:pt x="66" y="48"/>
                    <a:pt x="65" y="47"/>
                  </a:cubicBezTo>
                  <a:cubicBezTo>
                    <a:pt x="64" y="45"/>
                    <a:pt x="66" y="43"/>
                    <a:pt x="68" y="42"/>
                  </a:cubicBezTo>
                  <a:cubicBezTo>
                    <a:pt x="69" y="41"/>
                    <a:pt x="73" y="38"/>
                    <a:pt x="73" y="36"/>
                  </a:cubicBezTo>
                  <a:cubicBezTo>
                    <a:pt x="73" y="35"/>
                    <a:pt x="68" y="31"/>
                    <a:pt x="67" y="30"/>
                  </a:cubicBezTo>
                  <a:cubicBezTo>
                    <a:pt x="66" y="30"/>
                    <a:pt x="63" y="30"/>
                    <a:pt x="62" y="27"/>
                  </a:cubicBezTo>
                  <a:cubicBezTo>
                    <a:pt x="61" y="25"/>
                    <a:pt x="60" y="24"/>
                    <a:pt x="61" y="23"/>
                  </a:cubicBezTo>
                  <a:cubicBezTo>
                    <a:pt x="62" y="21"/>
                    <a:pt x="62" y="20"/>
                    <a:pt x="62" y="19"/>
                  </a:cubicBezTo>
                  <a:cubicBezTo>
                    <a:pt x="62" y="17"/>
                    <a:pt x="65" y="18"/>
                    <a:pt x="65" y="16"/>
                  </a:cubicBezTo>
                  <a:cubicBezTo>
                    <a:pt x="65" y="15"/>
                    <a:pt x="66" y="14"/>
                    <a:pt x="67" y="13"/>
                  </a:cubicBezTo>
                  <a:cubicBezTo>
                    <a:pt x="67" y="12"/>
                    <a:pt x="67" y="10"/>
                    <a:pt x="67" y="9"/>
                  </a:cubicBezTo>
                  <a:cubicBezTo>
                    <a:pt x="66" y="7"/>
                    <a:pt x="60" y="6"/>
                    <a:pt x="58" y="3"/>
                  </a:cubicBezTo>
                  <a:cubicBezTo>
                    <a:pt x="57" y="0"/>
                    <a:pt x="53" y="2"/>
                    <a:pt x="52" y="3"/>
                  </a:cubicBezTo>
                  <a:cubicBezTo>
                    <a:pt x="51" y="5"/>
                    <a:pt x="44" y="3"/>
                    <a:pt x="44" y="5"/>
                  </a:cubicBezTo>
                  <a:cubicBezTo>
                    <a:pt x="44" y="7"/>
                    <a:pt x="39" y="8"/>
                    <a:pt x="39" y="10"/>
                  </a:cubicBezTo>
                  <a:cubicBezTo>
                    <a:pt x="39" y="13"/>
                    <a:pt x="41" y="18"/>
                    <a:pt x="37" y="17"/>
                  </a:cubicBezTo>
                  <a:cubicBezTo>
                    <a:pt x="34" y="17"/>
                    <a:pt x="36" y="19"/>
                    <a:pt x="34" y="22"/>
                  </a:cubicBezTo>
                  <a:cubicBezTo>
                    <a:pt x="32" y="25"/>
                    <a:pt x="32" y="20"/>
                    <a:pt x="29" y="21"/>
                  </a:cubicBezTo>
                  <a:cubicBezTo>
                    <a:pt x="27" y="21"/>
                    <a:pt x="24" y="18"/>
                    <a:pt x="23" y="20"/>
                  </a:cubicBezTo>
                  <a:cubicBezTo>
                    <a:pt x="22" y="22"/>
                    <a:pt x="18" y="21"/>
                    <a:pt x="14" y="20"/>
                  </a:cubicBezTo>
                  <a:cubicBezTo>
                    <a:pt x="11" y="19"/>
                    <a:pt x="9" y="14"/>
                    <a:pt x="6" y="13"/>
                  </a:cubicBezTo>
                  <a:cubicBezTo>
                    <a:pt x="4" y="13"/>
                    <a:pt x="1" y="15"/>
                    <a:pt x="0" y="17"/>
                  </a:cubicBezTo>
                  <a:cubicBezTo>
                    <a:pt x="3" y="19"/>
                    <a:pt x="5" y="22"/>
                    <a:pt x="9" y="24"/>
                  </a:cubicBezTo>
                  <a:cubicBezTo>
                    <a:pt x="13" y="26"/>
                    <a:pt x="21" y="28"/>
                    <a:pt x="21" y="31"/>
                  </a:cubicBezTo>
                  <a:cubicBezTo>
                    <a:pt x="20" y="33"/>
                    <a:pt x="19" y="37"/>
                    <a:pt x="21" y="38"/>
                  </a:cubicBezTo>
                  <a:cubicBezTo>
                    <a:pt x="23" y="39"/>
                    <a:pt x="21" y="44"/>
                    <a:pt x="23" y="45"/>
                  </a:cubicBezTo>
                  <a:cubicBezTo>
                    <a:pt x="25" y="47"/>
                    <a:pt x="24" y="52"/>
                    <a:pt x="23" y="52"/>
                  </a:cubicBezTo>
                  <a:cubicBezTo>
                    <a:pt x="21" y="52"/>
                    <a:pt x="23" y="55"/>
                    <a:pt x="24" y="57"/>
                  </a:cubicBezTo>
                  <a:cubicBezTo>
                    <a:pt x="25" y="57"/>
                    <a:pt x="25" y="59"/>
                    <a:pt x="25" y="61"/>
                  </a:cubicBezTo>
                  <a:cubicBezTo>
                    <a:pt x="28" y="61"/>
                    <a:pt x="30" y="62"/>
                    <a:pt x="32" y="63"/>
                  </a:cubicBezTo>
                  <a:cubicBezTo>
                    <a:pt x="35" y="65"/>
                    <a:pt x="34" y="67"/>
                    <a:pt x="34" y="69"/>
                  </a:cubicBezTo>
                  <a:cubicBezTo>
                    <a:pt x="35" y="72"/>
                    <a:pt x="35" y="73"/>
                    <a:pt x="33" y="72"/>
                  </a:cubicBezTo>
                  <a:cubicBezTo>
                    <a:pt x="31" y="71"/>
                    <a:pt x="30" y="72"/>
                    <a:pt x="29" y="76"/>
                  </a:cubicBezTo>
                  <a:cubicBezTo>
                    <a:pt x="28" y="79"/>
                    <a:pt x="23" y="84"/>
                    <a:pt x="20" y="84"/>
                  </a:cubicBezTo>
                  <a:cubicBezTo>
                    <a:pt x="18" y="84"/>
                    <a:pt x="18" y="87"/>
                    <a:pt x="16" y="88"/>
                  </a:cubicBezTo>
                  <a:cubicBezTo>
                    <a:pt x="13" y="88"/>
                    <a:pt x="11" y="89"/>
                    <a:pt x="11" y="92"/>
                  </a:cubicBezTo>
                  <a:cubicBezTo>
                    <a:pt x="12" y="94"/>
                    <a:pt x="8" y="95"/>
                    <a:pt x="6" y="95"/>
                  </a:cubicBezTo>
                  <a:cubicBezTo>
                    <a:pt x="4" y="95"/>
                    <a:pt x="4" y="99"/>
                    <a:pt x="2" y="100"/>
                  </a:cubicBezTo>
                  <a:cubicBezTo>
                    <a:pt x="0" y="101"/>
                    <a:pt x="1" y="102"/>
                    <a:pt x="3" y="104"/>
                  </a:cubicBezTo>
                  <a:cubicBezTo>
                    <a:pt x="4" y="107"/>
                    <a:pt x="3" y="108"/>
                    <a:pt x="3" y="110"/>
                  </a:cubicBezTo>
                  <a:cubicBezTo>
                    <a:pt x="4" y="112"/>
                    <a:pt x="7" y="115"/>
                    <a:pt x="5" y="119"/>
                  </a:cubicBezTo>
                  <a:cubicBezTo>
                    <a:pt x="3" y="123"/>
                    <a:pt x="1" y="128"/>
                    <a:pt x="3" y="127"/>
                  </a:cubicBezTo>
                  <a:cubicBezTo>
                    <a:pt x="4" y="127"/>
                    <a:pt x="8" y="131"/>
                    <a:pt x="10" y="130"/>
                  </a:cubicBezTo>
                  <a:cubicBezTo>
                    <a:pt x="12" y="130"/>
                    <a:pt x="13" y="134"/>
                    <a:pt x="15" y="133"/>
                  </a:cubicBezTo>
                  <a:cubicBezTo>
                    <a:pt x="17" y="132"/>
                    <a:pt x="17" y="135"/>
                    <a:pt x="24" y="135"/>
                  </a:cubicBezTo>
                  <a:cubicBezTo>
                    <a:pt x="30" y="135"/>
                    <a:pt x="44" y="129"/>
                    <a:pt x="49" y="129"/>
                  </a:cubicBezTo>
                  <a:cubicBezTo>
                    <a:pt x="52" y="129"/>
                    <a:pt x="54" y="129"/>
                    <a:pt x="56" y="128"/>
                  </a:cubicBezTo>
                  <a:cubicBezTo>
                    <a:pt x="57" y="127"/>
                    <a:pt x="58" y="125"/>
                    <a:pt x="60" y="123"/>
                  </a:cubicBezTo>
                  <a:cubicBezTo>
                    <a:pt x="63" y="120"/>
                    <a:pt x="70" y="118"/>
                    <a:pt x="72" y="11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5" name="Freeform 272">
              <a:extLst>
                <a:ext uri="{FF2B5EF4-FFF2-40B4-BE49-F238E27FC236}">
                  <a16:creationId xmlns:a16="http://schemas.microsoft.com/office/drawing/2014/main" id="{A6ECD81F-34DC-3DCB-CA9C-6EA5F82F43C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5527" y="3272242"/>
              <a:ext cx="638092" cy="511108"/>
            </a:xfrm>
            <a:custGeom>
              <a:avLst/>
              <a:gdLst>
                <a:gd name="T0" fmla="*/ 102 w 170"/>
                <a:gd name="T1" fmla="*/ 29 h 136"/>
                <a:gd name="T2" fmla="*/ 87 w 170"/>
                <a:gd name="T3" fmla="*/ 27 h 136"/>
                <a:gd name="T4" fmla="*/ 78 w 170"/>
                <a:gd name="T5" fmla="*/ 24 h 136"/>
                <a:gd name="T6" fmla="*/ 59 w 170"/>
                <a:gd name="T7" fmla="*/ 10 h 136"/>
                <a:gd name="T8" fmla="*/ 43 w 170"/>
                <a:gd name="T9" fmla="*/ 0 h 136"/>
                <a:gd name="T10" fmla="*/ 36 w 170"/>
                <a:gd name="T11" fmla="*/ 0 h 136"/>
                <a:gd name="T12" fmla="*/ 28 w 170"/>
                <a:gd name="T13" fmla="*/ 3 h 136"/>
                <a:gd name="T14" fmla="*/ 20 w 170"/>
                <a:gd name="T15" fmla="*/ 8 h 136"/>
                <a:gd name="T16" fmla="*/ 26 w 170"/>
                <a:gd name="T17" fmla="*/ 15 h 136"/>
                <a:gd name="T18" fmla="*/ 21 w 170"/>
                <a:gd name="T19" fmla="*/ 19 h 136"/>
                <a:gd name="T20" fmla="*/ 16 w 170"/>
                <a:gd name="T21" fmla="*/ 21 h 136"/>
                <a:gd name="T22" fmla="*/ 10 w 170"/>
                <a:gd name="T23" fmla="*/ 26 h 136"/>
                <a:gd name="T24" fmla="*/ 2 w 170"/>
                <a:gd name="T25" fmla="*/ 22 h 136"/>
                <a:gd name="T26" fmla="*/ 1 w 170"/>
                <a:gd name="T27" fmla="*/ 25 h 136"/>
                <a:gd name="T28" fmla="*/ 1 w 170"/>
                <a:gd name="T29" fmla="*/ 27 h 136"/>
                <a:gd name="T30" fmla="*/ 2 w 170"/>
                <a:gd name="T31" fmla="*/ 36 h 136"/>
                <a:gd name="T32" fmla="*/ 8 w 170"/>
                <a:gd name="T33" fmla="*/ 44 h 136"/>
                <a:gd name="T34" fmla="*/ 20 w 170"/>
                <a:gd name="T35" fmla="*/ 62 h 136"/>
                <a:gd name="T36" fmla="*/ 26 w 170"/>
                <a:gd name="T37" fmla="*/ 71 h 136"/>
                <a:gd name="T38" fmla="*/ 33 w 170"/>
                <a:gd name="T39" fmla="*/ 80 h 136"/>
                <a:gd name="T40" fmla="*/ 36 w 170"/>
                <a:gd name="T41" fmla="*/ 89 h 136"/>
                <a:gd name="T42" fmla="*/ 42 w 170"/>
                <a:gd name="T43" fmla="*/ 102 h 136"/>
                <a:gd name="T44" fmla="*/ 51 w 170"/>
                <a:gd name="T45" fmla="*/ 113 h 136"/>
                <a:gd name="T46" fmla="*/ 59 w 170"/>
                <a:gd name="T47" fmla="*/ 125 h 136"/>
                <a:gd name="T48" fmla="*/ 61 w 170"/>
                <a:gd name="T49" fmla="*/ 131 h 136"/>
                <a:gd name="T50" fmla="*/ 64 w 170"/>
                <a:gd name="T51" fmla="*/ 136 h 136"/>
                <a:gd name="T52" fmla="*/ 68 w 170"/>
                <a:gd name="T53" fmla="*/ 134 h 136"/>
                <a:gd name="T54" fmla="*/ 68 w 170"/>
                <a:gd name="T55" fmla="*/ 130 h 136"/>
                <a:gd name="T56" fmla="*/ 71 w 170"/>
                <a:gd name="T57" fmla="*/ 127 h 136"/>
                <a:gd name="T58" fmla="*/ 77 w 170"/>
                <a:gd name="T59" fmla="*/ 128 h 136"/>
                <a:gd name="T60" fmla="*/ 87 w 170"/>
                <a:gd name="T61" fmla="*/ 129 h 136"/>
                <a:gd name="T62" fmla="*/ 98 w 170"/>
                <a:gd name="T63" fmla="*/ 130 h 136"/>
                <a:gd name="T64" fmla="*/ 104 w 170"/>
                <a:gd name="T65" fmla="*/ 128 h 136"/>
                <a:gd name="T66" fmla="*/ 116 w 170"/>
                <a:gd name="T67" fmla="*/ 117 h 136"/>
                <a:gd name="T68" fmla="*/ 132 w 170"/>
                <a:gd name="T69" fmla="*/ 117 h 136"/>
                <a:gd name="T70" fmla="*/ 164 w 170"/>
                <a:gd name="T71" fmla="*/ 106 h 136"/>
                <a:gd name="T72" fmla="*/ 170 w 170"/>
                <a:gd name="T73" fmla="*/ 89 h 136"/>
                <a:gd name="T74" fmla="*/ 166 w 170"/>
                <a:gd name="T75" fmla="*/ 83 h 136"/>
                <a:gd name="T76" fmla="*/ 145 w 170"/>
                <a:gd name="T77" fmla="*/ 81 h 136"/>
                <a:gd name="T78" fmla="*/ 139 w 170"/>
                <a:gd name="T79" fmla="*/ 73 h 136"/>
                <a:gd name="T80" fmla="*/ 136 w 170"/>
                <a:gd name="T81" fmla="*/ 67 h 136"/>
                <a:gd name="T82" fmla="*/ 129 w 170"/>
                <a:gd name="T83" fmla="*/ 63 h 136"/>
                <a:gd name="T84" fmla="*/ 125 w 170"/>
                <a:gd name="T85" fmla="*/ 54 h 136"/>
                <a:gd name="T86" fmla="*/ 121 w 170"/>
                <a:gd name="T87" fmla="*/ 45 h 136"/>
                <a:gd name="T88" fmla="*/ 113 w 170"/>
                <a:gd name="T89" fmla="*/ 36 h 136"/>
                <a:gd name="T90" fmla="*/ 112 w 170"/>
                <a:gd name="T91" fmla="*/ 32 h 136"/>
                <a:gd name="T92" fmla="*/ 106 w 170"/>
                <a:gd name="T93" fmla="*/ 32 h 136"/>
                <a:gd name="T94" fmla="*/ 102 w 170"/>
                <a:gd name="T95" fmla="*/ 29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0" h="136">
                  <a:moveTo>
                    <a:pt x="102" y="29"/>
                  </a:moveTo>
                  <a:cubicBezTo>
                    <a:pt x="102" y="29"/>
                    <a:pt x="89" y="27"/>
                    <a:pt x="87" y="27"/>
                  </a:cubicBezTo>
                  <a:cubicBezTo>
                    <a:pt x="86" y="27"/>
                    <a:pt x="81" y="26"/>
                    <a:pt x="78" y="24"/>
                  </a:cubicBezTo>
                  <a:cubicBezTo>
                    <a:pt x="75" y="21"/>
                    <a:pt x="61" y="11"/>
                    <a:pt x="59" y="10"/>
                  </a:cubicBezTo>
                  <a:cubicBezTo>
                    <a:pt x="56" y="8"/>
                    <a:pt x="46" y="1"/>
                    <a:pt x="43" y="0"/>
                  </a:cubicBezTo>
                  <a:cubicBezTo>
                    <a:pt x="40" y="0"/>
                    <a:pt x="40" y="0"/>
                    <a:pt x="36" y="0"/>
                  </a:cubicBezTo>
                  <a:cubicBezTo>
                    <a:pt x="33" y="0"/>
                    <a:pt x="34" y="3"/>
                    <a:pt x="28" y="3"/>
                  </a:cubicBezTo>
                  <a:cubicBezTo>
                    <a:pt x="21" y="3"/>
                    <a:pt x="18" y="7"/>
                    <a:pt x="20" y="8"/>
                  </a:cubicBezTo>
                  <a:cubicBezTo>
                    <a:pt x="22" y="9"/>
                    <a:pt x="28" y="14"/>
                    <a:pt x="26" y="15"/>
                  </a:cubicBezTo>
                  <a:cubicBezTo>
                    <a:pt x="24" y="16"/>
                    <a:pt x="24" y="19"/>
                    <a:pt x="21" y="19"/>
                  </a:cubicBezTo>
                  <a:cubicBezTo>
                    <a:pt x="19" y="19"/>
                    <a:pt x="16" y="19"/>
                    <a:pt x="16" y="21"/>
                  </a:cubicBezTo>
                  <a:cubicBezTo>
                    <a:pt x="16" y="23"/>
                    <a:pt x="13" y="26"/>
                    <a:pt x="10" y="26"/>
                  </a:cubicBezTo>
                  <a:cubicBezTo>
                    <a:pt x="8" y="26"/>
                    <a:pt x="4" y="24"/>
                    <a:pt x="2" y="22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8"/>
                    <a:pt x="0" y="35"/>
                    <a:pt x="2" y="36"/>
                  </a:cubicBezTo>
                  <a:cubicBezTo>
                    <a:pt x="4" y="37"/>
                    <a:pt x="5" y="40"/>
                    <a:pt x="8" y="44"/>
                  </a:cubicBezTo>
                  <a:cubicBezTo>
                    <a:pt x="12" y="48"/>
                    <a:pt x="20" y="59"/>
                    <a:pt x="20" y="62"/>
                  </a:cubicBezTo>
                  <a:cubicBezTo>
                    <a:pt x="20" y="65"/>
                    <a:pt x="21" y="68"/>
                    <a:pt x="26" y="71"/>
                  </a:cubicBezTo>
                  <a:cubicBezTo>
                    <a:pt x="31" y="74"/>
                    <a:pt x="31" y="78"/>
                    <a:pt x="33" y="80"/>
                  </a:cubicBezTo>
                  <a:cubicBezTo>
                    <a:pt x="36" y="82"/>
                    <a:pt x="35" y="84"/>
                    <a:pt x="36" y="89"/>
                  </a:cubicBezTo>
                  <a:cubicBezTo>
                    <a:pt x="36" y="94"/>
                    <a:pt x="38" y="100"/>
                    <a:pt x="42" y="102"/>
                  </a:cubicBezTo>
                  <a:cubicBezTo>
                    <a:pt x="46" y="105"/>
                    <a:pt x="49" y="108"/>
                    <a:pt x="51" y="113"/>
                  </a:cubicBezTo>
                  <a:cubicBezTo>
                    <a:pt x="53" y="118"/>
                    <a:pt x="56" y="122"/>
                    <a:pt x="59" y="125"/>
                  </a:cubicBezTo>
                  <a:cubicBezTo>
                    <a:pt x="61" y="128"/>
                    <a:pt x="60" y="129"/>
                    <a:pt x="61" y="131"/>
                  </a:cubicBezTo>
                  <a:cubicBezTo>
                    <a:pt x="62" y="132"/>
                    <a:pt x="63" y="134"/>
                    <a:pt x="64" y="136"/>
                  </a:cubicBezTo>
                  <a:cubicBezTo>
                    <a:pt x="66" y="135"/>
                    <a:pt x="68" y="134"/>
                    <a:pt x="68" y="134"/>
                  </a:cubicBezTo>
                  <a:cubicBezTo>
                    <a:pt x="68" y="133"/>
                    <a:pt x="67" y="131"/>
                    <a:pt x="68" y="130"/>
                  </a:cubicBezTo>
                  <a:cubicBezTo>
                    <a:pt x="68" y="129"/>
                    <a:pt x="70" y="127"/>
                    <a:pt x="71" y="127"/>
                  </a:cubicBezTo>
                  <a:cubicBezTo>
                    <a:pt x="72" y="126"/>
                    <a:pt x="74" y="128"/>
                    <a:pt x="77" y="128"/>
                  </a:cubicBezTo>
                  <a:cubicBezTo>
                    <a:pt x="80" y="127"/>
                    <a:pt x="86" y="128"/>
                    <a:pt x="87" y="129"/>
                  </a:cubicBezTo>
                  <a:cubicBezTo>
                    <a:pt x="88" y="129"/>
                    <a:pt x="96" y="129"/>
                    <a:pt x="98" y="130"/>
                  </a:cubicBezTo>
                  <a:cubicBezTo>
                    <a:pt x="100" y="132"/>
                    <a:pt x="102" y="131"/>
                    <a:pt x="104" y="128"/>
                  </a:cubicBezTo>
                  <a:cubicBezTo>
                    <a:pt x="105" y="125"/>
                    <a:pt x="115" y="118"/>
                    <a:pt x="116" y="117"/>
                  </a:cubicBezTo>
                  <a:cubicBezTo>
                    <a:pt x="117" y="117"/>
                    <a:pt x="128" y="117"/>
                    <a:pt x="132" y="117"/>
                  </a:cubicBezTo>
                  <a:cubicBezTo>
                    <a:pt x="136" y="116"/>
                    <a:pt x="163" y="107"/>
                    <a:pt x="164" y="106"/>
                  </a:cubicBezTo>
                  <a:cubicBezTo>
                    <a:pt x="165" y="105"/>
                    <a:pt x="170" y="91"/>
                    <a:pt x="170" y="89"/>
                  </a:cubicBezTo>
                  <a:cubicBezTo>
                    <a:pt x="170" y="88"/>
                    <a:pt x="168" y="83"/>
                    <a:pt x="166" y="83"/>
                  </a:cubicBezTo>
                  <a:cubicBezTo>
                    <a:pt x="164" y="84"/>
                    <a:pt x="147" y="82"/>
                    <a:pt x="145" y="81"/>
                  </a:cubicBezTo>
                  <a:cubicBezTo>
                    <a:pt x="145" y="81"/>
                    <a:pt x="140" y="77"/>
                    <a:pt x="139" y="73"/>
                  </a:cubicBezTo>
                  <a:cubicBezTo>
                    <a:pt x="138" y="72"/>
                    <a:pt x="137" y="69"/>
                    <a:pt x="136" y="67"/>
                  </a:cubicBezTo>
                  <a:cubicBezTo>
                    <a:pt x="134" y="68"/>
                    <a:pt x="131" y="67"/>
                    <a:pt x="129" y="63"/>
                  </a:cubicBezTo>
                  <a:cubicBezTo>
                    <a:pt x="128" y="62"/>
                    <a:pt x="124" y="56"/>
                    <a:pt x="125" y="54"/>
                  </a:cubicBezTo>
                  <a:cubicBezTo>
                    <a:pt x="127" y="52"/>
                    <a:pt x="124" y="48"/>
                    <a:pt x="121" y="45"/>
                  </a:cubicBezTo>
                  <a:cubicBezTo>
                    <a:pt x="119" y="43"/>
                    <a:pt x="114" y="39"/>
                    <a:pt x="113" y="36"/>
                  </a:cubicBezTo>
                  <a:cubicBezTo>
                    <a:pt x="113" y="35"/>
                    <a:pt x="113" y="34"/>
                    <a:pt x="112" y="32"/>
                  </a:cubicBezTo>
                  <a:cubicBezTo>
                    <a:pt x="106" y="32"/>
                    <a:pt x="106" y="32"/>
                    <a:pt x="106" y="32"/>
                  </a:cubicBezTo>
                  <a:lnTo>
                    <a:pt x="102" y="29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6" name="Freeform 273">
              <a:extLst>
                <a:ext uri="{FF2B5EF4-FFF2-40B4-BE49-F238E27FC236}">
                  <a16:creationId xmlns:a16="http://schemas.microsoft.com/office/drawing/2014/main" id="{06C39FC9-4061-6E06-B123-CD317343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916" y="3508749"/>
              <a:ext cx="241269" cy="271428"/>
            </a:xfrm>
            <a:custGeom>
              <a:avLst/>
              <a:gdLst>
                <a:gd name="T0" fmla="*/ 32 w 64"/>
                <a:gd name="T1" fmla="*/ 1 h 72"/>
                <a:gd name="T2" fmla="*/ 32 w 64"/>
                <a:gd name="T3" fmla="*/ 7 h 72"/>
                <a:gd name="T4" fmla="*/ 27 w 64"/>
                <a:gd name="T5" fmla="*/ 14 h 72"/>
                <a:gd name="T6" fmla="*/ 24 w 64"/>
                <a:gd name="T7" fmla="*/ 20 h 72"/>
                <a:gd name="T8" fmla="*/ 26 w 64"/>
                <a:gd name="T9" fmla="*/ 20 h 72"/>
                <a:gd name="T10" fmla="*/ 30 w 64"/>
                <a:gd name="T11" fmla="*/ 26 h 72"/>
                <a:gd name="T12" fmla="*/ 24 w 64"/>
                <a:gd name="T13" fmla="*/ 43 h 72"/>
                <a:gd name="T14" fmla="*/ 0 w 64"/>
                <a:gd name="T15" fmla="*/ 51 h 72"/>
                <a:gd name="T16" fmla="*/ 10 w 64"/>
                <a:gd name="T17" fmla="*/ 72 h 72"/>
                <a:gd name="T18" fmla="*/ 12 w 64"/>
                <a:gd name="T19" fmla="*/ 71 h 72"/>
                <a:gd name="T20" fmla="*/ 25 w 64"/>
                <a:gd name="T21" fmla="*/ 68 h 72"/>
                <a:gd name="T22" fmla="*/ 28 w 64"/>
                <a:gd name="T23" fmla="*/ 62 h 72"/>
                <a:gd name="T24" fmla="*/ 37 w 64"/>
                <a:gd name="T25" fmla="*/ 61 h 72"/>
                <a:gd name="T26" fmla="*/ 42 w 64"/>
                <a:gd name="T27" fmla="*/ 53 h 72"/>
                <a:gd name="T28" fmla="*/ 47 w 64"/>
                <a:gd name="T29" fmla="*/ 51 h 72"/>
                <a:gd name="T30" fmla="*/ 50 w 64"/>
                <a:gd name="T31" fmla="*/ 40 h 72"/>
                <a:gd name="T32" fmla="*/ 56 w 64"/>
                <a:gd name="T33" fmla="*/ 35 h 72"/>
                <a:gd name="T34" fmla="*/ 63 w 64"/>
                <a:gd name="T35" fmla="*/ 26 h 72"/>
                <a:gd name="T36" fmla="*/ 62 w 64"/>
                <a:gd name="T37" fmla="*/ 22 h 72"/>
                <a:gd name="T38" fmla="*/ 55 w 64"/>
                <a:gd name="T39" fmla="*/ 13 h 72"/>
                <a:gd name="T40" fmla="*/ 42 w 64"/>
                <a:gd name="T41" fmla="*/ 8 h 72"/>
                <a:gd name="T42" fmla="*/ 38 w 64"/>
                <a:gd name="T43" fmla="*/ 0 h 72"/>
                <a:gd name="T44" fmla="*/ 35 w 64"/>
                <a:gd name="T45" fmla="*/ 1 h 72"/>
                <a:gd name="T46" fmla="*/ 32 w 64"/>
                <a:gd name="T47" fmla="*/ 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72">
                  <a:moveTo>
                    <a:pt x="32" y="1"/>
                  </a:moveTo>
                  <a:cubicBezTo>
                    <a:pt x="32" y="7"/>
                    <a:pt x="32" y="7"/>
                    <a:pt x="32" y="7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20"/>
                    <a:pt x="25" y="21"/>
                    <a:pt x="26" y="20"/>
                  </a:cubicBezTo>
                  <a:cubicBezTo>
                    <a:pt x="28" y="20"/>
                    <a:pt x="30" y="25"/>
                    <a:pt x="30" y="26"/>
                  </a:cubicBezTo>
                  <a:cubicBezTo>
                    <a:pt x="30" y="28"/>
                    <a:pt x="25" y="42"/>
                    <a:pt x="24" y="43"/>
                  </a:cubicBezTo>
                  <a:cubicBezTo>
                    <a:pt x="23" y="44"/>
                    <a:pt x="9" y="48"/>
                    <a:pt x="0" y="51"/>
                  </a:cubicBezTo>
                  <a:cubicBezTo>
                    <a:pt x="2" y="56"/>
                    <a:pt x="6" y="64"/>
                    <a:pt x="10" y="72"/>
                  </a:cubicBezTo>
                  <a:cubicBezTo>
                    <a:pt x="10" y="71"/>
                    <a:pt x="11" y="71"/>
                    <a:pt x="12" y="71"/>
                  </a:cubicBezTo>
                  <a:cubicBezTo>
                    <a:pt x="16" y="68"/>
                    <a:pt x="21" y="69"/>
                    <a:pt x="25" y="68"/>
                  </a:cubicBezTo>
                  <a:cubicBezTo>
                    <a:pt x="28" y="67"/>
                    <a:pt x="25" y="65"/>
                    <a:pt x="28" y="62"/>
                  </a:cubicBezTo>
                  <a:cubicBezTo>
                    <a:pt x="31" y="60"/>
                    <a:pt x="35" y="61"/>
                    <a:pt x="37" y="61"/>
                  </a:cubicBezTo>
                  <a:cubicBezTo>
                    <a:pt x="38" y="60"/>
                    <a:pt x="39" y="54"/>
                    <a:pt x="42" y="53"/>
                  </a:cubicBezTo>
                  <a:cubicBezTo>
                    <a:pt x="44" y="52"/>
                    <a:pt x="47" y="53"/>
                    <a:pt x="47" y="51"/>
                  </a:cubicBezTo>
                  <a:cubicBezTo>
                    <a:pt x="47" y="48"/>
                    <a:pt x="47" y="40"/>
                    <a:pt x="50" y="40"/>
                  </a:cubicBezTo>
                  <a:cubicBezTo>
                    <a:pt x="52" y="39"/>
                    <a:pt x="56" y="37"/>
                    <a:pt x="56" y="35"/>
                  </a:cubicBezTo>
                  <a:cubicBezTo>
                    <a:pt x="56" y="34"/>
                    <a:pt x="61" y="29"/>
                    <a:pt x="63" y="26"/>
                  </a:cubicBezTo>
                  <a:cubicBezTo>
                    <a:pt x="64" y="23"/>
                    <a:pt x="64" y="22"/>
                    <a:pt x="62" y="22"/>
                  </a:cubicBezTo>
                  <a:cubicBezTo>
                    <a:pt x="60" y="21"/>
                    <a:pt x="56" y="15"/>
                    <a:pt x="55" y="13"/>
                  </a:cubicBezTo>
                  <a:cubicBezTo>
                    <a:pt x="54" y="11"/>
                    <a:pt x="48" y="12"/>
                    <a:pt x="42" y="8"/>
                  </a:cubicBezTo>
                  <a:cubicBezTo>
                    <a:pt x="40" y="6"/>
                    <a:pt x="38" y="3"/>
                    <a:pt x="38" y="0"/>
                  </a:cubicBezTo>
                  <a:cubicBezTo>
                    <a:pt x="35" y="1"/>
                    <a:pt x="35" y="1"/>
                    <a:pt x="35" y="1"/>
                  </a:cubicBezTo>
                  <a:lnTo>
                    <a:pt x="32" y="1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7" name="Freeform 274">
              <a:extLst>
                <a:ext uri="{FF2B5EF4-FFF2-40B4-BE49-F238E27FC236}">
                  <a16:creationId xmlns:a16="http://schemas.microsoft.com/office/drawing/2014/main" id="{C937AD4C-E096-A767-72CB-B96BCD11F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646" y="3467474"/>
              <a:ext cx="38095" cy="52381"/>
            </a:xfrm>
            <a:custGeom>
              <a:avLst/>
              <a:gdLst>
                <a:gd name="T0" fmla="*/ 7 w 10"/>
                <a:gd name="T1" fmla="*/ 13 h 14"/>
                <a:gd name="T2" fmla="*/ 7 w 10"/>
                <a:gd name="T3" fmla="*/ 11 h 14"/>
                <a:gd name="T4" fmla="*/ 6 w 10"/>
                <a:gd name="T5" fmla="*/ 1 h 14"/>
                <a:gd name="T6" fmla="*/ 1 w 10"/>
                <a:gd name="T7" fmla="*/ 9 h 14"/>
                <a:gd name="T8" fmla="*/ 0 w 10"/>
                <a:gd name="T9" fmla="*/ 9 h 14"/>
                <a:gd name="T10" fmla="*/ 7 w 10"/>
                <a:gd name="T11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4">
                  <a:moveTo>
                    <a:pt x="7" y="13"/>
                  </a:moveTo>
                  <a:cubicBezTo>
                    <a:pt x="7" y="13"/>
                    <a:pt x="7" y="12"/>
                    <a:pt x="7" y="11"/>
                  </a:cubicBezTo>
                  <a:cubicBezTo>
                    <a:pt x="9" y="9"/>
                    <a:pt x="10" y="2"/>
                    <a:pt x="6" y="1"/>
                  </a:cubicBezTo>
                  <a:cubicBezTo>
                    <a:pt x="3" y="0"/>
                    <a:pt x="1" y="7"/>
                    <a:pt x="1" y="9"/>
                  </a:cubicBezTo>
                  <a:cubicBezTo>
                    <a:pt x="1" y="9"/>
                    <a:pt x="1" y="9"/>
                    <a:pt x="0" y="9"/>
                  </a:cubicBezTo>
                  <a:cubicBezTo>
                    <a:pt x="2" y="13"/>
                    <a:pt x="5" y="14"/>
                    <a:pt x="7" y="1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8" name="Freeform 275">
              <a:extLst>
                <a:ext uri="{FF2B5EF4-FFF2-40B4-BE49-F238E27FC236}">
                  <a16:creationId xmlns:a16="http://schemas.microsoft.com/office/drawing/2014/main" id="{2673988E-6040-16F4-B492-CBD103818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7743" y="3467478"/>
              <a:ext cx="146032" cy="117460"/>
            </a:xfrm>
            <a:custGeom>
              <a:avLst/>
              <a:gdLst>
                <a:gd name="T0" fmla="*/ 6 w 39"/>
                <a:gd name="T1" fmla="*/ 29 h 31"/>
                <a:gd name="T2" fmla="*/ 25 w 39"/>
                <a:gd name="T3" fmla="*/ 31 h 31"/>
                <a:gd name="T4" fmla="*/ 28 w 39"/>
                <a:gd name="T5" fmla="*/ 25 h 31"/>
                <a:gd name="T6" fmla="*/ 33 w 39"/>
                <a:gd name="T7" fmla="*/ 18 h 31"/>
                <a:gd name="T8" fmla="*/ 33 w 39"/>
                <a:gd name="T9" fmla="*/ 12 h 31"/>
                <a:gd name="T10" fmla="*/ 36 w 39"/>
                <a:gd name="T11" fmla="*/ 12 h 31"/>
                <a:gd name="T12" fmla="*/ 39 w 39"/>
                <a:gd name="T13" fmla="*/ 11 h 31"/>
                <a:gd name="T14" fmla="*/ 36 w 39"/>
                <a:gd name="T15" fmla="*/ 1 h 31"/>
                <a:gd name="T16" fmla="*/ 27 w 39"/>
                <a:gd name="T17" fmla="*/ 11 h 31"/>
                <a:gd name="T18" fmla="*/ 12 w 39"/>
                <a:gd name="T19" fmla="*/ 19 h 31"/>
                <a:gd name="T20" fmla="*/ 2 w 39"/>
                <a:gd name="T21" fmla="*/ 21 h 31"/>
                <a:gd name="T22" fmla="*/ 0 w 39"/>
                <a:gd name="T23" fmla="*/ 21 h 31"/>
                <a:gd name="T24" fmla="*/ 6 w 39"/>
                <a:gd name="T25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6" y="29"/>
                  </a:moveTo>
                  <a:cubicBezTo>
                    <a:pt x="7" y="30"/>
                    <a:pt x="20" y="31"/>
                    <a:pt x="25" y="3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7" y="6"/>
                    <a:pt x="37" y="1"/>
                    <a:pt x="36" y="1"/>
                  </a:cubicBezTo>
                  <a:cubicBezTo>
                    <a:pt x="35" y="0"/>
                    <a:pt x="29" y="7"/>
                    <a:pt x="27" y="11"/>
                  </a:cubicBezTo>
                  <a:cubicBezTo>
                    <a:pt x="24" y="16"/>
                    <a:pt x="18" y="20"/>
                    <a:pt x="12" y="19"/>
                  </a:cubicBezTo>
                  <a:cubicBezTo>
                    <a:pt x="6" y="17"/>
                    <a:pt x="4" y="20"/>
                    <a:pt x="2" y="21"/>
                  </a:cubicBezTo>
                  <a:cubicBezTo>
                    <a:pt x="2" y="21"/>
                    <a:pt x="1" y="21"/>
                    <a:pt x="0" y="21"/>
                  </a:cubicBezTo>
                  <a:cubicBezTo>
                    <a:pt x="1" y="25"/>
                    <a:pt x="6" y="29"/>
                    <a:pt x="6" y="2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39" name="Freeform 276">
              <a:extLst>
                <a:ext uri="{FF2B5EF4-FFF2-40B4-BE49-F238E27FC236}">
                  <a16:creationId xmlns:a16="http://schemas.microsoft.com/office/drawing/2014/main" id="{B3C3AFC6-81A5-5E61-4125-4EDE48C671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53133" y="4088105"/>
              <a:ext cx="590474" cy="179365"/>
            </a:xfrm>
            <a:custGeom>
              <a:avLst/>
              <a:gdLst>
                <a:gd name="T0" fmla="*/ 29 w 157"/>
                <a:gd name="T1" fmla="*/ 17 h 48"/>
                <a:gd name="T2" fmla="*/ 22 w 157"/>
                <a:gd name="T3" fmla="*/ 9 h 48"/>
                <a:gd name="T4" fmla="*/ 19 w 157"/>
                <a:gd name="T5" fmla="*/ 5 h 48"/>
                <a:gd name="T6" fmla="*/ 18 w 157"/>
                <a:gd name="T7" fmla="*/ 4 h 48"/>
                <a:gd name="T8" fmla="*/ 15 w 157"/>
                <a:gd name="T9" fmla="*/ 7 h 48"/>
                <a:gd name="T10" fmla="*/ 9 w 157"/>
                <a:gd name="T11" fmla="*/ 6 h 48"/>
                <a:gd name="T12" fmla="*/ 5 w 157"/>
                <a:gd name="T13" fmla="*/ 1 h 48"/>
                <a:gd name="T14" fmla="*/ 0 w 157"/>
                <a:gd name="T15" fmla="*/ 1 h 48"/>
                <a:gd name="T16" fmla="*/ 3 w 157"/>
                <a:gd name="T17" fmla="*/ 13 h 48"/>
                <a:gd name="T18" fmla="*/ 11 w 157"/>
                <a:gd name="T19" fmla="*/ 29 h 48"/>
                <a:gd name="T20" fmla="*/ 19 w 157"/>
                <a:gd name="T21" fmla="*/ 36 h 48"/>
                <a:gd name="T22" fmla="*/ 34 w 157"/>
                <a:gd name="T23" fmla="*/ 44 h 48"/>
                <a:gd name="T24" fmla="*/ 29 w 157"/>
                <a:gd name="T25" fmla="*/ 33 h 48"/>
                <a:gd name="T26" fmla="*/ 29 w 157"/>
                <a:gd name="T27" fmla="*/ 17 h 48"/>
                <a:gd name="T28" fmla="*/ 150 w 157"/>
                <a:gd name="T29" fmla="*/ 8 h 48"/>
                <a:gd name="T30" fmla="*/ 143 w 157"/>
                <a:gd name="T31" fmla="*/ 6 h 48"/>
                <a:gd name="T32" fmla="*/ 136 w 157"/>
                <a:gd name="T33" fmla="*/ 0 h 48"/>
                <a:gd name="T34" fmla="*/ 129 w 157"/>
                <a:gd name="T35" fmla="*/ 8 h 48"/>
                <a:gd name="T36" fmla="*/ 125 w 157"/>
                <a:gd name="T37" fmla="*/ 14 h 48"/>
                <a:gd name="T38" fmla="*/ 123 w 157"/>
                <a:gd name="T39" fmla="*/ 16 h 48"/>
                <a:gd name="T40" fmla="*/ 123 w 157"/>
                <a:gd name="T41" fmla="*/ 20 h 48"/>
                <a:gd name="T42" fmla="*/ 118 w 157"/>
                <a:gd name="T43" fmla="*/ 22 h 48"/>
                <a:gd name="T44" fmla="*/ 114 w 157"/>
                <a:gd name="T45" fmla="*/ 17 h 48"/>
                <a:gd name="T46" fmla="*/ 114 w 157"/>
                <a:gd name="T47" fmla="*/ 17 h 48"/>
                <a:gd name="T48" fmla="*/ 106 w 157"/>
                <a:gd name="T49" fmla="*/ 28 h 48"/>
                <a:gd name="T50" fmla="*/ 95 w 157"/>
                <a:gd name="T51" fmla="*/ 31 h 48"/>
                <a:gd name="T52" fmla="*/ 90 w 157"/>
                <a:gd name="T53" fmla="*/ 42 h 48"/>
                <a:gd name="T54" fmla="*/ 78 w 157"/>
                <a:gd name="T55" fmla="*/ 39 h 48"/>
                <a:gd name="T56" fmla="*/ 80 w 157"/>
                <a:gd name="T57" fmla="*/ 44 h 48"/>
                <a:gd name="T58" fmla="*/ 87 w 157"/>
                <a:gd name="T59" fmla="*/ 47 h 48"/>
                <a:gd name="T60" fmla="*/ 97 w 157"/>
                <a:gd name="T61" fmla="*/ 46 h 48"/>
                <a:gd name="T62" fmla="*/ 105 w 157"/>
                <a:gd name="T63" fmla="*/ 43 h 48"/>
                <a:gd name="T64" fmla="*/ 113 w 157"/>
                <a:gd name="T65" fmla="*/ 44 h 48"/>
                <a:gd name="T66" fmla="*/ 120 w 157"/>
                <a:gd name="T67" fmla="*/ 39 h 48"/>
                <a:gd name="T68" fmla="*/ 122 w 157"/>
                <a:gd name="T69" fmla="*/ 32 h 48"/>
                <a:gd name="T70" fmla="*/ 127 w 157"/>
                <a:gd name="T71" fmla="*/ 25 h 48"/>
                <a:gd name="T72" fmla="*/ 140 w 157"/>
                <a:gd name="T73" fmla="*/ 19 h 48"/>
                <a:gd name="T74" fmla="*/ 143 w 157"/>
                <a:gd name="T75" fmla="*/ 21 h 48"/>
                <a:gd name="T76" fmla="*/ 148 w 157"/>
                <a:gd name="T77" fmla="*/ 16 h 48"/>
                <a:gd name="T78" fmla="*/ 156 w 157"/>
                <a:gd name="T79" fmla="*/ 13 h 48"/>
                <a:gd name="T80" fmla="*/ 150 w 157"/>
                <a:gd name="T81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7" h="48">
                  <a:moveTo>
                    <a:pt x="29" y="17"/>
                  </a:moveTo>
                  <a:cubicBezTo>
                    <a:pt x="29" y="12"/>
                    <a:pt x="24" y="12"/>
                    <a:pt x="22" y="9"/>
                  </a:cubicBezTo>
                  <a:cubicBezTo>
                    <a:pt x="21" y="5"/>
                    <a:pt x="19" y="7"/>
                    <a:pt x="19" y="5"/>
                  </a:cubicBezTo>
                  <a:cubicBezTo>
                    <a:pt x="18" y="5"/>
                    <a:pt x="18" y="4"/>
                    <a:pt x="18" y="4"/>
                  </a:cubicBezTo>
                  <a:cubicBezTo>
                    <a:pt x="15" y="5"/>
                    <a:pt x="16" y="7"/>
                    <a:pt x="15" y="7"/>
                  </a:cubicBezTo>
                  <a:cubicBezTo>
                    <a:pt x="14" y="7"/>
                    <a:pt x="9" y="8"/>
                    <a:pt x="9" y="6"/>
                  </a:cubicBezTo>
                  <a:cubicBezTo>
                    <a:pt x="9" y="5"/>
                    <a:pt x="8" y="2"/>
                    <a:pt x="5" y="1"/>
                  </a:cubicBezTo>
                  <a:cubicBezTo>
                    <a:pt x="4" y="1"/>
                    <a:pt x="2" y="1"/>
                    <a:pt x="0" y="1"/>
                  </a:cubicBezTo>
                  <a:cubicBezTo>
                    <a:pt x="2" y="5"/>
                    <a:pt x="3" y="10"/>
                    <a:pt x="3" y="13"/>
                  </a:cubicBezTo>
                  <a:cubicBezTo>
                    <a:pt x="3" y="18"/>
                    <a:pt x="10" y="26"/>
                    <a:pt x="11" y="29"/>
                  </a:cubicBezTo>
                  <a:cubicBezTo>
                    <a:pt x="12" y="32"/>
                    <a:pt x="14" y="33"/>
                    <a:pt x="19" y="36"/>
                  </a:cubicBezTo>
                  <a:cubicBezTo>
                    <a:pt x="23" y="40"/>
                    <a:pt x="32" y="45"/>
                    <a:pt x="34" y="44"/>
                  </a:cubicBezTo>
                  <a:cubicBezTo>
                    <a:pt x="36" y="43"/>
                    <a:pt x="31" y="35"/>
                    <a:pt x="29" y="33"/>
                  </a:cubicBezTo>
                  <a:cubicBezTo>
                    <a:pt x="26" y="30"/>
                    <a:pt x="28" y="23"/>
                    <a:pt x="29" y="17"/>
                  </a:cubicBezTo>
                  <a:close/>
                  <a:moveTo>
                    <a:pt x="150" y="8"/>
                  </a:moveTo>
                  <a:cubicBezTo>
                    <a:pt x="148" y="9"/>
                    <a:pt x="143" y="8"/>
                    <a:pt x="143" y="6"/>
                  </a:cubicBezTo>
                  <a:cubicBezTo>
                    <a:pt x="143" y="4"/>
                    <a:pt x="139" y="0"/>
                    <a:pt x="136" y="0"/>
                  </a:cubicBezTo>
                  <a:cubicBezTo>
                    <a:pt x="133" y="0"/>
                    <a:pt x="130" y="6"/>
                    <a:pt x="129" y="8"/>
                  </a:cubicBezTo>
                  <a:cubicBezTo>
                    <a:pt x="129" y="10"/>
                    <a:pt x="125" y="10"/>
                    <a:pt x="125" y="14"/>
                  </a:cubicBezTo>
                  <a:cubicBezTo>
                    <a:pt x="125" y="15"/>
                    <a:pt x="124" y="15"/>
                    <a:pt x="123" y="16"/>
                  </a:cubicBezTo>
                  <a:cubicBezTo>
                    <a:pt x="124" y="19"/>
                    <a:pt x="124" y="21"/>
                    <a:pt x="123" y="20"/>
                  </a:cubicBezTo>
                  <a:cubicBezTo>
                    <a:pt x="121" y="20"/>
                    <a:pt x="121" y="22"/>
                    <a:pt x="118" y="22"/>
                  </a:cubicBezTo>
                  <a:cubicBezTo>
                    <a:pt x="117" y="22"/>
                    <a:pt x="116" y="20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2" y="17"/>
                    <a:pt x="107" y="23"/>
                    <a:pt x="106" y="28"/>
                  </a:cubicBezTo>
                  <a:cubicBezTo>
                    <a:pt x="106" y="32"/>
                    <a:pt x="101" y="31"/>
                    <a:pt x="95" y="31"/>
                  </a:cubicBezTo>
                  <a:cubicBezTo>
                    <a:pt x="88" y="32"/>
                    <a:pt x="91" y="39"/>
                    <a:pt x="90" y="42"/>
                  </a:cubicBezTo>
                  <a:cubicBezTo>
                    <a:pt x="88" y="44"/>
                    <a:pt x="81" y="39"/>
                    <a:pt x="78" y="39"/>
                  </a:cubicBezTo>
                  <a:cubicBezTo>
                    <a:pt x="78" y="41"/>
                    <a:pt x="79" y="44"/>
                    <a:pt x="80" y="44"/>
                  </a:cubicBezTo>
                  <a:cubicBezTo>
                    <a:pt x="82" y="44"/>
                    <a:pt x="85" y="48"/>
                    <a:pt x="87" y="47"/>
                  </a:cubicBezTo>
                  <a:cubicBezTo>
                    <a:pt x="89" y="46"/>
                    <a:pt x="94" y="47"/>
                    <a:pt x="97" y="46"/>
                  </a:cubicBezTo>
                  <a:cubicBezTo>
                    <a:pt x="100" y="45"/>
                    <a:pt x="101" y="43"/>
                    <a:pt x="105" y="43"/>
                  </a:cubicBezTo>
                  <a:cubicBezTo>
                    <a:pt x="110" y="43"/>
                    <a:pt x="108" y="47"/>
                    <a:pt x="113" y="44"/>
                  </a:cubicBezTo>
                  <a:cubicBezTo>
                    <a:pt x="118" y="42"/>
                    <a:pt x="121" y="44"/>
                    <a:pt x="120" y="39"/>
                  </a:cubicBezTo>
                  <a:cubicBezTo>
                    <a:pt x="120" y="35"/>
                    <a:pt x="123" y="35"/>
                    <a:pt x="122" y="32"/>
                  </a:cubicBezTo>
                  <a:cubicBezTo>
                    <a:pt x="122" y="29"/>
                    <a:pt x="128" y="31"/>
                    <a:pt x="127" y="25"/>
                  </a:cubicBezTo>
                  <a:cubicBezTo>
                    <a:pt x="127" y="19"/>
                    <a:pt x="136" y="19"/>
                    <a:pt x="140" y="19"/>
                  </a:cubicBezTo>
                  <a:cubicBezTo>
                    <a:pt x="140" y="19"/>
                    <a:pt x="142" y="20"/>
                    <a:pt x="143" y="21"/>
                  </a:cubicBezTo>
                  <a:cubicBezTo>
                    <a:pt x="146" y="19"/>
                    <a:pt x="150" y="18"/>
                    <a:pt x="148" y="16"/>
                  </a:cubicBezTo>
                  <a:cubicBezTo>
                    <a:pt x="146" y="14"/>
                    <a:pt x="155" y="16"/>
                    <a:pt x="156" y="13"/>
                  </a:cubicBezTo>
                  <a:cubicBezTo>
                    <a:pt x="157" y="10"/>
                    <a:pt x="152" y="8"/>
                    <a:pt x="150" y="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0" name="Freeform 277">
              <a:extLst>
                <a:ext uri="{FF2B5EF4-FFF2-40B4-BE49-F238E27FC236}">
                  <a16:creationId xmlns:a16="http://schemas.microsoft.com/office/drawing/2014/main" id="{629A861F-39D6-12D4-8442-AAAB23CE1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705" y="4140491"/>
              <a:ext cx="36508" cy="22222"/>
            </a:xfrm>
            <a:custGeom>
              <a:avLst/>
              <a:gdLst>
                <a:gd name="T0" fmla="*/ 4 w 10"/>
                <a:gd name="T1" fmla="*/ 6 h 6"/>
                <a:gd name="T2" fmla="*/ 9 w 10"/>
                <a:gd name="T3" fmla="*/ 4 h 6"/>
                <a:gd name="T4" fmla="*/ 9 w 10"/>
                <a:gd name="T5" fmla="*/ 0 h 6"/>
                <a:gd name="T6" fmla="*/ 5 w 10"/>
                <a:gd name="T7" fmla="*/ 2 h 6"/>
                <a:gd name="T8" fmla="*/ 0 w 10"/>
                <a:gd name="T9" fmla="*/ 1 h 6"/>
                <a:gd name="T10" fmla="*/ 4 w 10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4" y="6"/>
                  </a:moveTo>
                  <a:cubicBezTo>
                    <a:pt x="7" y="6"/>
                    <a:pt x="7" y="4"/>
                    <a:pt x="9" y="4"/>
                  </a:cubicBezTo>
                  <a:cubicBezTo>
                    <a:pt x="10" y="5"/>
                    <a:pt x="10" y="3"/>
                    <a:pt x="9" y="0"/>
                  </a:cubicBezTo>
                  <a:cubicBezTo>
                    <a:pt x="8" y="0"/>
                    <a:pt x="5" y="0"/>
                    <a:pt x="5" y="2"/>
                  </a:cubicBezTo>
                  <a:cubicBezTo>
                    <a:pt x="5" y="4"/>
                    <a:pt x="2" y="1"/>
                    <a:pt x="0" y="1"/>
                  </a:cubicBezTo>
                  <a:cubicBezTo>
                    <a:pt x="2" y="4"/>
                    <a:pt x="3" y="6"/>
                    <a:pt x="4" y="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1" name="Freeform 278">
              <a:extLst>
                <a:ext uri="{FF2B5EF4-FFF2-40B4-BE49-F238E27FC236}">
                  <a16:creationId xmlns:a16="http://schemas.microsoft.com/office/drawing/2014/main" id="{C4FCD697-F032-450D-5364-0649310A3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096" y="3088115"/>
              <a:ext cx="295237" cy="288887"/>
            </a:xfrm>
            <a:custGeom>
              <a:avLst/>
              <a:gdLst>
                <a:gd name="T0" fmla="*/ 66 w 79"/>
                <a:gd name="T1" fmla="*/ 70 h 77"/>
                <a:gd name="T2" fmla="*/ 70 w 79"/>
                <a:gd name="T3" fmla="*/ 67 h 77"/>
                <a:gd name="T4" fmla="*/ 75 w 79"/>
                <a:gd name="T5" fmla="*/ 70 h 77"/>
                <a:gd name="T6" fmla="*/ 79 w 79"/>
                <a:gd name="T7" fmla="*/ 68 h 77"/>
                <a:gd name="T8" fmla="*/ 74 w 79"/>
                <a:gd name="T9" fmla="*/ 62 h 77"/>
                <a:gd name="T10" fmla="*/ 71 w 79"/>
                <a:gd name="T11" fmla="*/ 56 h 77"/>
                <a:gd name="T12" fmla="*/ 72 w 79"/>
                <a:gd name="T13" fmla="*/ 51 h 77"/>
                <a:gd name="T14" fmla="*/ 68 w 79"/>
                <a:gd name="T15" fmla="*/ 46 h 77"/>
                <a:gd name="T16" fmla="*/ 59 w 79"/>
                <a:gd name="T17" fmla="*/ 40 h 77"/>
                <a:gd name="T18" fmla="*/ 55 w 79"/>
                <a:gd name="T19" fmla="*/ 36 h 77"/>
                <a:gd name="T20" fmla="*/ 54 w 79"/>
                <a:gd name="T21" fmla="*/ 28 h 77"/>
                <a:gd name="T22" fmla="*/ 58 w 79"/>
                <a:gd name="T23" fmla="*/ 22 h 77"/>
                <a:gd name="T24" fmla="*/ 59 w 79"/>
                <a:gd name="T25" fmla="*/ 17 h 77"/>
                <a:gd name="T26" fmla="*/ 55 w 79"/>
                <a:gd name="T27" fmla="*/ 14 h 77"/>
                <a:gd name="T28" fmla="*/ 51 w 79"/>
                <a:gd name="T29" fmla="*/ 10 h 77"/>
                <a:gd name="T30" fmla="*/ 48 w 79"/>
                <a:gd name="T31" fmla="*/ 3 h 77"/>
                <a:gd name="T32" fmla="*/ 40 w 79"/>
                <a:gd name="T33" fmla="*/ 2 h 77"/>
                <a:gd name="T34" fmla="*/ 32 w 79"/>
                <a:gd name="T35" fmla="*/ 1 h 77"/>
                <a:gd name="T36" fmla="*/ 29 w 79"/>
                <a:gd name="T37" fmla="*/ 3 h 77"/>
                <a:gd name="T38" fmla="*/ 29 w 79"/>
                <a:gd name="T39" fmla="*/ 3 h 77"/>
                <a:gd name="T40" fmla="*/ 24 w 79"/>
                <a:gd name="T41" fmla="*/ 7 h 77"/>
                <a:gd name="T42" fmla="*/ 19 w 79"/>
                <a:gd name="T43" fmla="*/ 11 h 77"/>
                <a:gd name="T44" fmla="*/ 20 w 79"/>
                <a:gd name="T45" fmla="*/ 17 h 77"/>
                <a:gd name="T46" fmla="*/ 19 w 79"/>
                <a:gd name="T47" fmla="*/ 24 h 77"/>
                <a:gd name="T48" fmla="*/ 17 w 79"/>
                <a:gd name="T49" fmla="*/ 28 h 77"/>
                <a:gd name="T50" fmla="*/ 0 w 79"/>
                <a:gd name="T51" fmla="*/ 38 h 77"/>
                <a:gd name="T52" fmla="*/ 1 w 79"/>
                <a:gd name="T53" fmla="*/ 42 h 77"/>
                <a:gd name="T54" fmla="*/ 2 w 79"/>
                <a:gd name="T55" fmla="*/ 49 h 77"/>
                <a:gd name="T56" fmla="*/ 9 w 79"/>
                <a:gd name="T57" fmla="*/ 49 h 77"/>
                <a:gd name="T58" fmla="*/ 25 w 79"/>
                <a:gd name="T59" fmla="*/ 59 h 77"/>
                <a:gd name="T60" fmla="*/ 44 w 79"/>
                <a:gd name="T61" fmla="*/ 73 h 77"/>
                <a:gd name="T62" fmla="*/ 53 w 79"/>
                <a:gd name="T63" fmla="*/ 76 h 77"/>
                <a:gd name="T64" fmla="*/ 63 w 79"/>
                <a:gd name="T65" fmla="*/ 77 h 77"/>
                <a:gd name="T66" fmla="*/ 66 w 79"/>
                <a:gd name="T67" fmla="*/ 7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9" h="77">
                  <a:moveTo>
                    <a:pt x="66" y="70"/>
                  </a:moveTo>
                  <a:cubicBezTo>
                    <a:pt x="67" y="69"/>
                    <a:pt x="67" y="67"/>
                    <a:pt x="70" y="67"/>
                  </a:cubicBezTo>
                  <a:cubicBezTo>
                    <a:pt x="72" y="67"/>
                    <a:pt x="73" y="68"/>
                    <a:pt x="75" y="70"/>
                  </a:cubicBezTo>
                  <a:cubicBezTo>
                    <a:pt x="76" y="69"/>
                    <a:pt x="77" y="69"/>
                    <a:pt x="79" y="68"/>
                  </a:cubicBezTo>
                  <a:cubicBezTo>
                    <a:pt x="76" y="66"/>
                    <a:pt x="74" y="63"/>
                    <a:pt x="74" y="62"/>
                  </a:cubicBezTo>
                  <a:cubicBezTo>
                    <a:pt x="74" y="59"/>
                    <a:pt x="72" y="58"/>
                    <a:pt x="71" y="56"/>
                  </a:cubicBezTo>
                  <a:cubicBezTo>
                    <a:pt x="71" y="55"/>
                    <a:pt x="73" y="52"/>
                    <a:pt x="72" y="51"/>
                  </a:cubicBezTo>
                  <a:cubicBezTo>
                    <a:pt x="71" y="50"/>
                    <a:pt x="70" y="47"/>
                    <a:pt x="68" y="46"/>
                  </a:cubicBezTo>
                  <a:cubicBezTo>
                    <a:pt x="66" y="46"/>
                    <a:pt x="59" y="42"/>
                    <a:pt x="59" y="40"/>
                  </a:cubicBezTo>
                  <a:cubicBezTo>
                    <a:pt x="59" y="38"/>
                    <a:pt x="57" y="36"/>
                    <a:pt x="55" y="36"/>
                  </a:cubicBezTo>
                  <a:cubicBezTo>
                    <a:pt x="54" y="35"/>
                    <a:pt x="53" y="29"/>
                    <a:pt x="54" y="28"/>
                  </a:cubicBezTo>
                  <a:cubicBezTo>
                    <a:pt x="56" y="28"/>
                    <a:pt x="56" y="22"/>
                    <a:pt x="58" y="22"/>
                  </a:cubicBezTo>
                  <a:cubicBezTo>
                    <a:pt x="59" y="22"/>
                    <a:pt x="58" y="19"/>
                    <a:pt x="59" y="17"/>
                  </a:cubicBezTo>
                  <a:cubicBezTo>
                    <a:pt x="59" y="15"/>
                    <a:pt x="57" y="14"/>
                    <a:pt x="55" y="14"/>
                  </a:cubicBezTo>
                  <a:cubicBezTo>
                    <a:pt x="54" y="14"/>
                    <a:pt x="51" y="12"/>
                    <a:pt x="51" y="10"/>
                  </a:cubicBezTo>
                  <a:cubicBezTo>
                    <a:pt x="51" y="8"/>
                    <a:pt x="48" y="4"/>
                    <a:pt x="48" y="3"/>
                  </a:cubicBezTo>
                  <a:cubicBezTo>
                    <a:pt x="48" y="8"/>
                    <a:pt x="41" y="1"/>
                    <a:pt x="40" y="2"/>
                  </a:cubicBezTo>
                  <a:cubicBezTo>
                    <a:pt x="38" y="3"/>
                    <a:pt x="36" y="0"/>
                    <a:pt x="32" y="1"/>
                  </a:cubicBezTo>
                  <a:cubicBezTo>
                    <a:pt x="30" y="1"/>
                    <a:pt x="30" y="2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0" y="8"/>
                    <a:pt x="19" y="11"/>
                  </a:cubicBezTo>
                  <a:cubicBezTo>
                    <a:pt x="18" y="13"/>
                    <a:pt x="21" y="16"/>
                    <a:pt x="20" y="17"/>
                  </a:cubicBezTo>
                  <a:cubicBezTo>
                    <a:pt x="19" y="19"/>
                    <a:pt x="19" y="22"/>
                    <a:pt x="19" y="24"/>
                  </a:cubicBezTo>
                  <a:cubicBezTo>
                    <a:pt x="19" y="25"/>
                    <a:pt x="17" y="28"/>
                    <a:pt x="17" y="28"/>
                  </a:cubicBezTo>
                  <a:cubicBezTo>
                    <a:pt x="17" y="28"/>
                    <a:pt x="8" y="34"/>
                    <a:pt x="0" y="38"/>
                  </a:cubicBezTo>
                  <a:cubicBezTo>
                    <a:pt x="0" y="39"/>
                    <a:pt x="0" y="40"/>
                    <a:pt x="1" y="42"/>
                  </a:cubicBezTo>
                  <a:cubicBezTo>
                    <a:pt x="1" y="43"/>
                    <a:pt x="2" y="47"/>
                    <a:pt x="2" y="49"/>
                  </a:cubicBezTo>
                  <a:cubicBezTo>
                    <a:pt x="6" y="49"/>
                    <a:pt x="6" y="49"/>
                    <a:pt x="9" y="49"/>
                  </a:cubicBezTo>
                  <a:cubicBezTo>
                    <a:pt x="12" y="50"/>
                    <a:pt x="22" y="57"/>
                    <a:pt x="25" y="59"/>
                  </a:cubicBezTo>
                  <a:cubicBezTo>
                    <a:pt x="27" y="60"/>
                    <a:pt x="41" y="70"/>
                    <a:pt x="44" y="73"/>
                  </a:cubicBezTo>
                  <a:cubicBezTo>
                    <a:pt x="47" y="75"/>
                    <a:pt x="52" y="76"/>
                    <a:pt x="53" y="76"/>
                  </a:cubicBezTo>
                  <a:cubicBezTo>
                    <a:pt x="55" y="76"/>
                    <a:pt x="59" y="77"/>
                    <a:pt x="63" y="77"/>
                  </a:cubicBezTo>
                  <a:cubicBezTo>
                    <a:pt x="64" y="74"/>
                    <a:pt x="65" y="71"/>
                    <a:pt x="66" y="7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2" name="Freeform 279">
              <a:extLst>
                <a:ext uri="{FF2B5EF4-FFF2-40B4-BE49-F238E27FC236}">
                  <a16:creationId xmlns:a16="http://schemas.microsoft.com/office/drawing/2014/main" id="{DD8B3AD4-A88D-AEBF-2760-2AA04AD26B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0605" y="3332554"/>
              <a:ext cx="55556" cy="52381"/>
            </a:xfrm>
            <a:custGeom>
              <a:avLst/>
              <a:gdLst>
                <a:gd name="T0" fmla="*/ 5 w 15"/>
                <a:gd name="T1" fmla="*/ 11 h 14"/>
                <a:gd name="T2" fmla="*/ 9 w 15"/>
                <a:gd name="T3" fmla="*/ 14 h 14"/>
                <a:gd name="T4" fmla="*/ 15 w 15"/>
                <a:gd name="T5" fmla="*/ 14 h 14"/>
                <a:gd name="T6" fmla="*/ 11 w 15"/>
                <a:gd name="T7" fmla="*/ 4 h 14"/>
                <a:gd name="T8" fmla="*/ 12 w 15"/>
                <a:gd name="T9" fmla="*/ 3 h 14"/>
                <a:gd name="T10" fmla="*/ 7 w 15"/>
                <a:gd name="T11" fmla="*/ 0 h 14"/>
                <a:gd name="T12" fmla="*/ 3 w 15"/>
                <a:gd name="T13" fmla="*/ 3 h 14"/>
                <a:gd name="T14" fmla="*/ 0 w 15"/>
                <a:gd name="T15" fmla="*/ 10 h 14"/>
                <a:gd name="T16" fmla="*/ 5 w 15"/>
                <a:gd name="T17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4">
                  <a:moveTo>
                    <a:pt x="5" y="11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1"/>
                    <a:pt x="11" y="6"/>
                    <a:pt x="11" y="4"/>
                  </a:cubicBezTo>
                  <a:cubicBezTo>
                    <a:pt x="11" y="4"/>
                    <a:pt x="12" y="3"/>
                    <a:pt x="12" y="3"/>
                  </a:cubicBezTo>
                  <a:cubicBezTo>
                    <a:pt x="10" y="1"/>
                    <a:pt x="9" y="0"/>
                    <a:pt x="7" y="0"/>
                  </a:cubicBezTo>
                  <a:cubicBezTo>
                    <a:pt x="4" y="0"/>
                    <a:pt x="4" y="2"/>
                    <a:pt x="3" y="3"/>
                  </a:cubicBezTo>
                  <a:cubicBezTo>
                    <a:pt x="2" y="4"/>
                    <a:pt x="1" y="7"/>
                    <a:pt x="0" y="10"/>
                  </a:cubicBezTo>
                  <a:cubicBezTo>
                    <a:pt x="2" y="10"/>
                    <a:pt x="5" y="11"/>
                    <a:pt x="5" y="1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3" name="Freeform 280">
              <a:extLst>
                <a:ext uri="{FF2B5EF4-FFF2-40B4-BE49-F238E27FC236}">
                  <a16:creationId xmlns:a16="http://schemas.microsoft.com/office/drawing/2014/main" id="{42BF430D-15F7-35CF-3C38-9F4BD4016B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7756" y="2577008"/>
              <a:ext cx="442855" cy="373014"/>
            </a:xfrm>
            <a:custGeom>
              <a:avLst/>
              <a:gdLst>
                <a:gd name="T0" fmla="*/ 103 w 118"/>
                <a:gd name="T1" fmla="*/ 23 h 99"/>
                <a:gd name="T2" fmla="*/ 99 w 118"/>
                <a:gd name="T3" fmla="*/ 21 h 99"/>
                <a:gd name="T4" fmla="*/ 94 w 118"/>
                <a:gd name="T5" fmla="*/ 19 h 99"/>
                <a:gd name="T6" fmla="*/ 86 w 118"/>
                <a:gd name="T7" fmla="*/ 17 h 99"/>
                <a:gd name="T8" fmla="*/ 81 w 118"/>
                <a:gd name="T9" fmla="*/ 15 h 99"/>
                <a:gd name="T10" fmla="*/ 79 w 118"/>
                <a:gd name="T11" fmla="*/ 11 h 99"/>
                <a:gd name="T12" fmla="*/ 76 w 118"/>
                <a:gd name="T13" fmla="*/ 13 h 99"/>
                <a:gd name="T14" fmla="*/ 73 w 118"/>
                <a:gd name="T15" fmla="*/ 10 h 99"/>
                <a:gd name="T16" fmla="*/ 68 w 118"/>
                <a:gd name="T17" fmla="*/ 7 h 99"/>
                <a:gd name="T18" fmla="*/ 64 w 118"/>
                <a:gd name="T19" fmla="*/ 4 h 99"/>
                <a:gd name="T20" fmla="*/ 61 w 118"/>
                <a:gd name="T21" fmla="*/ 1 h 99"/>
                <a:gd name="T22" fmla="*/ 60 w 118"/>
                <a:gd name="T23" fmla="*/ 0 h 99"/>
                <a:gd name="T24" fmla="*/ 58 w 118"/>
                <a:gd name="T25" fmla="*/ 0 h 99"/>
                <a:gd name="T26" fmla="*/ 54 w 118"/>
                <a:gd name="T27" fmla="*/ 7 h 99"/>
                <a:gd name="T28" fmla="*/ 45 w 118"/>
                <a:gd name="T29" fmla="*/ 13 h 99"/>
                <a:gd name="T30" fmla="*/ 40 w 118"/>
                <a:gd name="T31" fmla="*/ 19 h 99"/>
                <a:gd name="T32" fmla="*/ 30 w 118"/>
                <a:gd name="T33" fmla="*/ 15 h 99"/>
                <a:gd name="T34" fmla="*/ 25 w 118"/>
                <a:gd name="T35" fmla="*/ 18 h 99"/>
                <a:gd name="T36" fmla="*/ 26 w 118"/>
                <a:gd name="T37" fmla="*/ 27 h 99"/>
                <a:gd name="T38" fmla="*/ 19 w 118"/>
                <a:gd name="T39" fmla="*/ 27 h 99"/>
                <a:gd name="T40" fmla="*/ 14 w 118"/>
                <a:gd name="T41" fmla="*/ 24 h 99"/>
                <a:gd name="T42" fmla="*/ 7 w 118"/>
                <a:gd name="T43" fmla="*/ 25 h 99"/>
                <a:gd name="T44" fmla="*/ 2 w 118"/>
                <a:gd name="T45" fmla="*/ 29 h 99"/>
                <a:gd name="T46" fmla="*/ 3 w 118"/>
                <a:gd name="T47" fmla="*/ 34 h 99"/>
                <a:gd name="T48" fmla="*/ 13 w 118"/>
                <a:gd name="T49" fmla="*/ 37 h 99"/>
                <a:gd name="T50" fmla="*/ 20 w 118"/>
                <a:gd name="T51" fmla="*/ 39 h 99"/>
                <a:gd name="T52" fmla="*/ 23 w 118"/>
                <a:gd name="T53" fmla="*/ 43 h 99"/>
                <a:gd name="T54" fmla="*/ 29 w 118"/>
                <a:gd name="T55" fmla="*/ 50 h 99"/>
                <a:gd name="T56" fmla="*/ 31 w 118"/>
                <a:gd name="T57" fmla="*/ 56 h 99"/>
                <a:gd name="T58" fmla="*/ 30 w 118"/>
                <a:gd name="T59" fmla="*/ 66 h 99"/>
                <a:gd name="T60" fmla="*/ 26 w 118"/>
                <a:gd name="T61" fmla="*/ 80 h 99"/>
                <a:gd name="T62" fmla="*/ 26 w 118"/>
                <a:gd name="T63" fmla="*/ 80 h 99"/>
                <a:gd name="T64" fmla="*/ 30 w 118"/>
                <a:gd name="T65" fmla="*/ 82 h 99"/>
                <a:gd name="T66" fmla="*/ 38 w 118"/>
                <a:gd name="T67" fmla="*/ 86 h 99"/>
                <a:gd name="T68" fmla="*/ 45 w 118"/>
                <a:gd name="T69" fmla="*/ 86 h 99"/>
                <a:gd name="T70" fmla="*/ 48 w 118"/>
                <a:gd name="T71" fmla="*/ 86 h 99"/>
                <a:gd name="T72" fmla="*/ 58 w 118"/>
                <a:gd name="T73" fmla="*/ 89 h 99"/>
                <a:gd name="T74" fmla="*/ 66 w 118"/>
                <a:gd name="T75" fmla="*/ 89 h 99"/>
                <a:gd name="T76" fmla="*/ 66 w 118"/>
                <a:gd name="T77" fmla="*/ 87 h 99"/>
                <a:gd name="T78" fmla="*/ 72 w 118"/>
                <a:gd name="T79" fmla="*/ 79 h 99"/>
                <a:gd name="T80" fmla="*/ 87 w 118"/>
                <a:gd name="T81" fmla="*/ 82 h 99"/>
                <a:gd name="T82" fmla="*/ 96 w 118"/>
                <a:gd name="T83" fmla="*/ 79 h 99"/>
                <a:gd name="T84" fmla="*/ 101 w 118"/>
                <a:gd name="T85" fmla="*/ 76 h 99"/>
                <a:gd name="T86" fmla="*/ 102 w 118"/>
                <a:gd name="T87" fmla="*/ 73 h 99"/>
                <a:gd name="T88" fmla="*/ 99 w 118"/>
                <a:gd name="T89" fmla="*/ 72 h 99"/>
                <a:gd name="T90" fmla="*/ 97 w 118"/>
                <a:gd name="T91" fmla="*/ 68 h 99"/>
                <a:gd name="T92" fmla="*/ 94 w 118"/>
                <a:gd name="T93" fmla="*/ 64 h 99"/>
                <a:gd name="T94" fmla="*/ 96 w 118"/>
                <a:gd name="T95" fmla="*/ 62 h 99"/>
                <a:gd name="T96" fmla="*/ 98 w 118"/>
                <a:gd name="T97" fmla="*/ 59 h 99"/>
                <a:gd name="T98" fmla="*/ 97 w 118"/>
                <a:gd name="T99" fmla="*/ 55 h 99"/>
                <a:gd name="T100" fmla="*/ 95 w 118"/>
                <a:gd name="T101" fmla="*/ 51 h 99"/>
                <a:gd name="T102" fmla="*/ 92 w 118"/>
                <a:gd name="T103" fmla="*/ 50 h 99"/>
                <a:gd name="T104" fmla="*/ 91 w 118"/>
                <a:gd name="T105" fmla="*/ 48 h 99"/>
                <a:gd name="T106" fmla="*/ 96 w 118"/>
                <a:gd name="T107" fmla="*/ 41 h 99"/>
                <a:gd name="T108" fmla="*/ 100 w 118"/>
                <a:gd name="T109" fmla="*/ 38 h 99"/>
                <a:gd name="T110" fmla="*/ 102 w 118"/>
                <a:gd name="T111" fmla="*/ 32 h 99"/>
                <a:gd name="T112" fmla="*/ 105 w 118"/>
                <a:gd name="T113" fmla="*/ 25 h 99"/>
                <a:gd name="T114" fmla="*/ 103 w 118"/>
                <a:gd name="T115" fmla="*/ 23 h 99"/>
                <a:gd name="T116" fmla="*/ 116 w 118"/>
                <a:gd name="T117" fmla="*/ 83 h 99"/>
                <a:gd name="T118" fmla="*/ 111 w 118"/>
                <a:gd name="T119" fmla="*/ 87 h 99"/>
                <a:gd name="T120" fmla="*/ 114 w 118"/>
                <a:gd name="T121" fmla="*/ 98 h 99"/>
                <a:gd name="T122" fmla="*/ 116 w 118"/>
                <a:gd name="T123" fmla="*/ 8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8" h="99">
                  <a:moveTo>
                    <a:pt x="103" y="23"/>
                  </a:moveTo>
                  <a:cubicBezTo>
                    <a:pt x="102" y="23"/>
                    <a:pt x="101" y="21"/>
                    <a:pt x="99" y="21"/>
                  </a:cubicBezTo>
                  <a:cubicBezTo>
                    <a:pt x="97" y="21"/>
                    <a:pt x="95" y="20"/>
                    <a:pt x="94" y="19"/>
                  </a:cubicBezTo>
                  <a:cubicBezTo>
                    <a:pt x="93" y="17"/>
                    <a:pt x="87" y="17"/>
                    <a:pt x="86" y="17"/>
                  </a:cubicBezTo>
                  <a:cubicBezTo>
                    <a:pt x="84" y="18"/>
                    <a:pt x="83" y="14"/>
                    <a:pt x="81" y="15"/>
                  </a:cubicBezTo>
                  <a:cubicBezTo>
                    <a:pt x="80" y="15"/>
                    <a:pt x="79" y="12"/>
                    <a:pt x="79" y="11"/>
                  </a:cubicBezTo>
                  <a:cubicBezTo>
                    <a:pt x="79" y="9"/>
                    <a:pt x="77" y="12"/>
                    <a:pt x="76" y="13"/>
                  </a:cubicBezTo>
                  <a:cubicBezTo>
                    <a:pt x="74" y="13"/>
                    <a:pt x="73" y="11"/>
                    <a:pt x="73" y="10"/>
                  </a:cubicBezTo>
                  <a:cubicBezTo>
                    <a:pt x="73" y="9"/>
                    <a:pt x="70" y="8"/>
                    <a:pt x="68" y="7"/>
                  </a:cubicBezTo>
                  <a:cubicBezTo>
                    <a:pt x="67" y="6"/>
                    <a:pt x="65" y="3"/>
                    <a:pt x="64" y="4"/>
                  </a:cubicBezTo>
                  <a:cubicBezTo>
                    <a:pt x="63" y="6"/>
                    <a:pt x="61" y="3"/>
                    <a:pt x="61" y="1"/>
                  </a:cubicBezTo>
                  <a:cubicBezTo>
                    <a:pt x="61" y="1"/>
                    <a:pt x="61" y="1"/>
                    <a:pt x="60" y="0"/>
                  </a:cubicBezTo>
                  <a:cubicBezTo>
                    <a:pt x="60" y="0"/>
                    <a:pt x="59" y="0"/>
                    <a:pt x="58" y="0"/>
                  </a:cubicBezTo>
                  <a:cubicBezTo>
                    <a:pt x="56" y="0"/>
                    <a:pt x="53" y="3"/>
                    <a:pt x="54" y="7"/>
                  </a:cubicBezTo>
                  <a:cubicBezTo>
                    <a:pt x="54" y="12"/>
                    <a:pt x="50" y="13"/>
                    <a:pt x="45" y="13"/>
                  </a:cubicBezTo>
                  <a:cubicBezTo>
                    <a:pt x="40" y="13"/>
                    <a:pt x="42" y="17"/>
                    <a:pt x="40" y="19"/>
                  </a:cubicBezTo>
                  <a:cubicBezTo>
                    <a:pt x="38" y="20"/>
                    <a:pt x="31" y="18"/>
                    <a:pt x="30" y="15"/>
                  </a:cubicBezTo>
                  <a:cubicBezTo>
                    <a:pt x="29" y="13"/>
                    <a:pt x="23" y="15"/>
                    <a:pt x="25" y="18"/>
                  </a:cubicBezTo>
                  <a:cubicBezTo>
                    <a:pt x="28" y="21"/>
                    <a:pt x="28" y="26"/>
                    <a:pt x="26" y="27"/>
                  </a:cubicBezTo>
                  <a:cubicBezTo>
                    <a:pt x="25" y="28"/>
                    <a:pt x="21" y="25"/>
                    <a:pt x="19" y="27"/>
                  </a:cubicBezTo>
                  <a:cubicBezTo>
                    <a:pt x="17" y="28"/>
                    <a:pt x="17" y="25"/>
                    <a:pt x="14" y="24"/>
                  </a:cubicBezTo>
                  <a:cubicBezTo>
                    <a:pt x="12" y="23"/>
                    <a:pt x="11" y="25"/>
                    <a:pt x="7" y="25"/>
                  </a:cubicBezTo>
                  <a:cubicBezTo>
                    <a:pt x="2" y="25"/>
                    <a:pt x="0" y="27"/>
                    <a:pt x="2" y="29"/>
                  </a:cubicBezTo>
                  <a:cubicBezTo>
                    <a:pt x="3" y="31"/>
                    <a:pt x="1" y="32"/>
                    <a:pt x="3" y="34"/>
                  </a:cubicBezTo>
                  <a:cubicBezTo>
                    <a:pt x="4" y="35"/>
                    <a:pt x="9" y="35"/>
                    <a:pt x="13" y="37"/>
                  </a:cubicBezTo>
                  <a:cubicBezTo>
                    <a:pt x="17" y="39"/>
                    <a:pt x="18" y="38"/>
                    <a:pt x="20" y="39"/>
                  </a:cubicBezTo>
                  <a:cubicBezTo>
                    <a:pt x="22" y="41"/>
                    <a:pt x="23" y="40"/>
                    <a:pt x="23" y="43"/>
                  </a:cubicBezTo>
                  <a:cubicBezTo>
                    <a:pt x="23" y="46"/>
                    <a:pt x="25" y="49"/>
                    <a:pt x="29" y="50"/>
                  </a:cubicBezTo>
                  <a:cubicBezTo>
                    <a:pt x="33" y="51"/>
                    <a:pt x="30" y="53"/>
                    <a:pt x="31" y="56"/>
                  </a:cubicBezTo>
                  <a:cubicBezTo>
                    <a:pt x="33" y="58"/>
                    <a:pt x="30" y="62"/>
                    <a:pt x="30" y="66"/>
                  </a:cubicBezTo>
                  <a:cubicBezTo>
                    <a:pt x="31" y="69"/>
                    <a:pt x="28" y="79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81"/>
                    <a:pt x="30" y="82"/>
                    <a:pt x="30" y="82"/>
                  </a:cubicBezTo>
                  <a:cubicBezTo>
                    <a:pt x="32" y="84"/>
                    <a:pt x="36" y="85"/>
                    <a:pt x="38" y="86"/>
                  </a:cubicBezTo>
                  <a:cubicBezTo>
                    <a:pt x="41" y="88"/>
                    <a:pt x="45" y="87"/>
                    <a:pt x="45" y="86"/>
                  </a:cubicBezTo>
                  <a:cubicBezTo>
                    <a:pt x="45" y="84"/>
                    <a:pt x="47" y="85"/>
                    <a:pt x="48" y="86"/>
                  </a:cubicBezTo>
                  <a:cubicBezTo>
                    <a:pt x="50" y="88"/>
                    <a:pt x="55" y="88"/>
                    <a:pt x="58" y="89"/>
                  </a:cubicBezTo>
                  <a:cubicBezTo>
                    <a:pt x="60" y="89"/>
                    <a:pt x="63" y="89"/>
                    <a:pt x="66" y="89"/>
                  </a:cubicBezTo>
                  <a:cubicBezTo>
                    <a:pt x="66" y="88"/>
                    <a:pt x="66" y="88"/>
                    <a:pt x="66" y="87"/>
                  </a:cubicBezTo>
                  <a:cubicBezTo>
                    <a:pt x="64" y="82"/>
                    <a:pt x="68" y="80"/>
                    <a:pt x="72" y="79"/>
                  </a:cubicBezTo>
                  <a:cubicBezTo>
                    <a:pt x="76" y="78"/>
                    <a:pt x="85" y="81"/>
                    <a:pt x="87" y="82"/>
                  </a:cubicBezTo>
                  <a:cubicBezTo>
                    <a:pt x="89" y="84"/>
                    <a:pt x="92" y="83"/>
                    <a:pt x="96" y="79"/>
                  </a:cubicBezTo>
                  <a:cubicBezTo>
                    <a:pt x="98" y="77"/>
                    <a:pt x="100" y="76"/>
                    <a:pt x="101" y="76"/>
                  </a:cubicBezTo>
                  <a:cubicBezTo>
                    <a:pt x="102" y="75"/>
                    <a:pt x="102" y="74"/>
                    <a:pt x="102" y="73"/>
                  </a:cubicBezTo>
                  <a:cubicBezTo>
                    <a:pt x="103" y="72"/>
                    <a:pt x="100" y="72"/>
                    <a:pt x="99" y="72"/>
                  </a:cubicBezTo>
                  <a:cubicBezTo>
                    <a:pt x="97" y="72"/>
                    <a:pt x="96" y="70"/>
                    <a:pt x="97" y="68"/>
                  </a:cubicBezTo>
                  <a:cubicBezTo>
                    <a:pt x="98" y="66"/>
                    <a:pt x="96" y="66"/>
                    <a:pt x="94" y="64"/>
                  </a:cubicBezTo>
                  <a:cubicBezTo>
                    <a:pt x="93" y="62"/>
                    <a:pt x="95" y="62"/>
                    <a:pt x="96" y="62"/>
                  </a:cubicBezTo>
                  <a:cubicBezTo>
                    <a:pt x="97" y="61"/>
                    <a:pt x="99" y="59"/>
                    <a:pt x="98" y="59"/>
                  </a:cubicBezTo>
                  <a:cubicBezTo>
                    <a:pt x="97" y="58"/>
                    <a:pt x="96" y="57"/>
                    <a:pt x="97" y="55"/>
                  </a:cubicBezTo>
                  <a:cubicBezTo>
                    <a:pt x="98" y="53"/>
                    <a:pt x="95" y="52"/>
                    <a:pt x="95" y="51"/>
                  </a:cubicBezTo>
                  <a:cubicBezTo>
                    <a:pt x="95" y="49"/>
                    <a:pt x="93" y="48"/>
                    <a:pt x="92" y="50"/>
                  </a:cubicBezTo>
                  <a:cubicBezTo>
                    <a:pt x="90" y="52"/>
                    <a:pt x="90" y="51"/>
                    <a:pt x="91" y="48"/>
                  </a:cubicBezTo>
                  <a:cubicBezTo>
                    <a:pt x="92" y="45"/>
                    <a:pt x="96" y="43"/>
                    <a:pt x="96" y="41"/>
                  </a:cubicBezTo>
                  <a:cubicBezTo>
                    <a:pt x="96" y="40"/>
                    <a:pt x="98" y="38"/>
                    <a:pt x="100" y="38"/>
                  </a:cubicBezTo>
                  <a:cubicBezTo>
                    <a:pt x="102" y="38"/>
                    <a:pt x="101" y="34"/>
                    <a:pt x="102" y="32"/>
                  </a:cubicBezTo>
                  <a:cubicBezTo>
                    <a:pt x="102" y="30"/>
                    <a:pt x="103" y="27"/>
                    <a:pt x="105" y="25"/>
                  </a:cubicBezTo>
                  <a:cubicBezTo>
                    <a:pt x="107" y="23"/>
                    <a:pt x="104" y="22"/>
                    <a:pt x="103" y="23"/>
                  </a:cubicBezTo>
                  <a:close/>
                  <a:moveTo>
                    <a:pt x="116" y="83"/>
                  </a:moveTo>
                  <a:cubicBezTo>
                    <a:pt x="115" y="83"/>
                    <a:pt x="114" y="85"/>
                    <a:pt x="111" y="87"/>
                  </a:cubicBezTo>
                  <a:cubicBezTo>
                    <a:pt x="108" y="89"/>
                    <a:pt x="111" y="99"/>
                    <a:pt x="114" y="98"/>
                  </a:cubicBezTo>
                  <a:cubicBezTo>
                    <a:pt x="118" y="98"/>
                    <a:pt x="117" y="83"/>
                    <a:pt x="116" y="8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4" name="Freeform 281">
              <a:extLst>
                <a:ext uri="{FF2B5EF4-FFF2-40B4-BE49-F238E27FC236}">
                  <a16:creationId xmlns:a16="http://schemas.microsoft.com/office/drawing/2014/main" id="{8B2CAA5C-7B76-63E5-5579-8C0F84E95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114" y="3838901"/>
              <a:ext cx="71430" cy="38095"/>
            </a:xfrm>
            <a:custGeom>
              <a:avLst/>
              <a:gdLst>
                <a:gd name="T0" fmla="*/ 19 w 19"/>
                <a:gd name="T1" fmla="*/ 4 h 10"/>
                <a:gd name="T2" fmla="*/ 10 w 19"/>
                <a:gd name="T3" fmla="*/ 2 h 10"/>
                <a:gd name="T4" fmla="*/ 6 w 19"/>
                <a:gd name="T5" fmla="*/ 0 h 10"/>
                <a:gd name="T6" fmla="*/ 6 w 19"/>
                <a:gd name="T7" fmla="*/ 0 h 10"/>
                <a:gd name="T8" fmla="*/ 0 w 19"/>
                <a:gd name="T9" fmla="*/ 5 h 10"/>
                <a:gd name="T10" fmla="*/ 16 w 19"/>
                <a:gd name="T11" fmla="*/ 10 h 10"/>
                <a:gd name="T12" fmla="*/ 19 w 19"/>
                <a:gd name="T13" fmla="*/ 9 h 10"/>
                <a:gd name="T14" fmla="*/ 19 w 19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0">
                  <a:moveTo>
                    <a:pt x="19" y="4"/>
                  </a:moveTo>
                  <a:cubicBezTo>
                    <a:pt x="17" y="2"/>
                    <a:pt x="14" y="4"/>
                    <a:pt x="10" y="2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3" y="2"/>
                    <a:pt x="0" y="5"/>
                  </a:cubicBezTo>
                  <a:cubicBezTo>
                    <a:pt x="3" y="7"/>
                    <a:pt x="13" y="10"/>
                    <a:pt x="16" y="10"/>
                  </a:cubicBezTo>
                  <a:cubicBezTo>
                    <a:pt x="17" y="10"/>
                    <a:pt x="18" y="9"/>
                    <a:pt x="19" y="9"/>
                  </a:cubicBezTo>
                  <a:cubicBezTo>
                    <a:pt x="19" y="6"/>
                    <a:pt x="19" y="4"/>
                    <a:pt x="19" y="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5" name="Freeform 282">
              <a:extLst>
                <a:ext uri="{FF2B5EF4-FFF2-40B4-BE49-F238E27FC236}">
                  <a16:creationId xmlns:a16="http://schemas.microsoft.com/office/drawing/2014/main" id="{A3038D56-DF96-28ED-5DB4-DE541490E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6339" y="3783345"/>
              <a:ext cx="187301" cy="101587"/>
            </a:xfrm>
            <a:custGeom>
              <a:avLst/>
              <a:gdLst>
                <a:gd name="T0" fmla="*/ 21 w 50"/>
                <a:gd name="T1" fmla="*/ 24 h 27"/>
                <a:gd name="T2" fmla="*/ 24 w 50"/>
                <a:gd name="T3" fmla="*/ 19 h 27"/>
                <a:gd name="T4" fmla="*/ 32 w 50"/>
                <a:gd name="T5" fmla="*/ 15 h 27"/>
                <a:gd name="T6" fmla="*/ 40 w 50"/>
                <a:gd name="T7" fmla="*/ 14 h 27"/>
                <a:gd name="T8" fmla="*/ 50 w 50"/>
                <a:gd name="T9" fmla="*/ 10 h 27"/>
                <a:gd name="T10" fmla="*/ 41 w 50"/>
                <a:gd name="T11" fmla="*/ 3 h 27"/>
                <a:gd name="T12" fmla="*/ 23 w 50"/>
                <a:gd name="T13" fmla="*/ 3 h 27"/>
                <a:gd name="T14" fmla="*/ 8 w 50"/>
                <a:gd name="T15" fmla="*/ 4 h 27"/>
                <a:gd name="T16" fmla="*/ 8 w 50"/>
                <a:gd name="T17" fmla="*/ 4 h 27"/>
                <a:gd name="T18" fmla="*/ 4 w 50"/>
                <a:gd name="T19" fmla="*/ 9 h 27"/>
                <a:gd name="T20" fmla="*/ 0 w 50"/>
                <a:gd name="T21" fmla="*/ 15 h 27"/>
                <a:gd name="T22" fmla="*/ 4 w 50"/>
                <a:gd name="T23" fmla="*/ 17 h 27"/>
                <a:gd name="T24" fmla="*/ 13 w 50"/>
                <a:gd name="T25" fmla="*/ 19 h 27"/>
                <a:gd name="T26" fmla="*/ 13 w 50"/>
                <a:gd name="T27" fmla="*/ 24 h 27"/>
                <a:gd name="T28" fmla="*/ 15 w 50"/>
                <a:gd name="T29" fmla="*/ 24 h 27"/>
                <a:gd name="T30" fmla="*/ 16 w 50"/>
                <a:gd name="T31" fmla="*/ 27 h 27"/>
                <a:gd name="T32" fmla="*/ 19 w 50"/>
                <a:gd name="T33" fmla="*/ 26 h 27"/>
                <a:gd name="T34" fmla="*/ 21 w 50"/>
                <a:gd name="T35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27">
                  <a:moveTo>
                    <a:pt x="21" y="24"/>
                  </a:moveTo>
                  <a:cubicBezTo>
                    <a:pt x="21" y="23"/>
                    <a:pt x="19" y="19"/>
                    <a:pt x="24" y="19"/>
                  </a:cubicBezTo>
                  <a:cubicBezTo>
                    <a:pt x="28" y="19"/>
                    <a:pt x="32" y="18"/>
                    <a:pt x="32" y="15"/>
                  </a:cubicBezTo>
                  <a:cubicBezTo>
                    <a:pt x="33" y="12"/>
                    <a:pt x="39" y="14"/>
                    <a:pt x="40" y="14"/>
                  </a:cubicBezTo>
                  <a:cubicBezTo>
                    <a:pt x="41" y="13"/>
                    <a:pt x="46" y="10"/>
                    <a:pt x="50" y="10"/>
                  </a:cubicBezTo>
                  <a:cubicBezTo>
                    <a:pt x="50" y="6"/>
                    <a:pt x="44" y="7"/>
                    <a:pt x="41" y="3"/>
                  </a:cubicBezTo>
                  <a:cubicBezTo>
                    <a:pt x="37" y="0"/>
                    <a:pt x="28" y="1"/>
                    <a:pt x="23" y="3"/>
                  </a:cubicBezTo>
                  <a:cubicBezTo>
                    <a:pt x="19" y="5"/>
                    <a:pt x="13" y="1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5"/>
                    <a:pt x="6" y="7"/>
                    <a:pt x="4" y="9"/>
                  </a:cubicBezTo>
                  <a:cubicBezTo>
                    <a:pt x="1" y="11"/>
                    <a:pt x="2" y="14"/>
                    <a:pt x="0" y="15"/>
                  </a:cubicBezTo>
                  <a:cubicBezTo>
                    <a:pt x="2" y="15"/>
                    <a:pt x="3" y="16"/>
                    <a:pt x="4" y="17"/>
                  </a:cubicBezTo>
                  <a:cubicBezTo>
                    <a:pt x="8" y="19"/>
                    <a:pt x="11" y="17"/>
                    <a:pt x="13" y="19"/>
                  </a:cubicBezTo>
                  <a:cubicBezTo>
                    <a:pt x="13" y="19"/>
                    <a:pt x="13" y="21"/>
                    <a:pt x="13" y="24"/>
                  </a:cubicBezTo>
                  <a:cubicBezTo>
                    <a:pt x="13" y="23"/>
                    <a:pt x="14" y="23"/>
                    <a:pt x="15" y="24"/>
                  </a:cubicBezTo>
                  <a:cubicBezTo>
                    <a:pt x="16" y="25"/>
                    <a:pt x="16" y="26"/>
                    <a:pt x="16" y="2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1" y="25"/>
                    <a:pt x="21" y="2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6" name="Freeform 283">
              <a:extLst>
                <a:ext uri="{FF2B5EF4-FFF2-40B4-BE49-F238E27FC236}">
                  <a16:creationId xmlns:a16="http://schemas.microsoft.com/office/drawing/2014/main" id="{D266F870-E6F2-62C0-849B-94F13BA20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9836" y="3250019"/>
              <a:ext cx="919043" cy="569839"/>
            </a:xfrm>
            <a:custGeom>
              <a:avLst/>
              <a:gdLst>
                <a:gd name="T0" fmla="*/ 214 w 245"/>
                <a:gd name="T1" fmla="*/ 142 h 152"/>
                <a:gd name="T2" fmla="*/ 211 w 245"/>
                <a:gd name="T3" fmla="*/ 128 h 152"/>
                <a:gd name="T4" fmla="*/ 231 w 245"/>
                <a:gd name="T5" fmla="*/ 123 h 152"/>
                <a:gd name="T6" fmla="*/ 238 w 245"/>
                <a:gd name="T7" fmla="*/ 115 h 152"/>
                <a:gd name="T8" fmla="*/ 244 w 245"/>
                <a:gd name="T9" fmla="*/ 99 h 152"/>
                <a:gd name="T10" fmla="*/ 224 w 245"/>
                <a:gd name="T11" fmla="*/ 98 h 152"/>
                <a:gd name="T12" fmla="*/ 212 w 245"/>
                <a:gd name="T13" fmla="*/ 114 h 152"/>
                <a:gd name="T14" fmla="*/ 200 w 245"/>
                <a:gd name="T15" fmla="*/ 121 h 152"/>
                <a:gd name="T16" fmla="*/ 172 w 245"/>
                <a:gd name="T17" fmla="*/ 121 h 152"/>
                <a:gd name="T18" fmla="*/ 159 w 245"/>
                <a:gd name="T19" fmla="*/ 102 h 152"/>
                <a:gd name="T20" fmla="*/ 159 w 245"/>
                <a:gd name="T21" fmla="*/ 64 h 152"/>
                <a:gd name="T22" fmla="*/ 156 w 245"/>
                <a:gd name="T23" fmla="*/ 59 h 152"/>
                <a:gd name="T24" fmla="*/ 143 w 245"/>
                <a:gd name="T25" fmla="*/ 50 h 152"/>
                <a:gd name="T26" fmla="*/ 133 w 245"/>
                <a:gd name="T27" fmla="*/ 33 h 152"/>
                <a:gd name="T28" fmla="*/ 112 w 245"/>
                <a:gd name="T29" fmla="*/ 33 h 152"/>
                <a:gd name="T30" fmla="*/ 100 w 245"/>
                <a:gd name="T31" fmla="*/ 23 h 152"/>
                <a:gd name="T32" fmla="*/ 86 w 245"/>
                <a:gd name="T33" fmla="*/ 8 h 152"/>
                <a:gd name="T34" fmla="*/ 71 w 245"/>
                <a:gd name="T35" fmla="*/ 12 h 152"/>
                <a:gd name="T36" fmla="*/ 27 w 245"/>
                <a:gd name="T37" fmla="*/ 5 h 152"/>
                <a:gd name="T38" fmla="*/ 0 w 245"/>
                <a:gd name="T39" fmla="*/ 2 h 152"/>
                <a:gd name="T40" fmla="*/ 11 w 245"/>
                <a:gd name="T41" fmla="*/ 25 h 152"/>
                <a:gd name="T42" fmla="*/ 25 w 245"/>
                <a:gd name="T43" fmla="*/ 43 h 152"/>
                <a:gd name="T44" fmla="*/ 28 w 245"/>
                <a:gd name="T45" fmla="*/ 51 h 152"/>
                <a:gd name="T46" fmla="*/ 39 w 245"/>
                <a:gd name="T47" fmla="*/ 67 h 152"/>
                <a:gd name="T48" fmla="*/ 57 w 245"/>
                <a:gd name="T49" fmla="*/ 85 h 152"/>
                <a:gd name="T50" fmla="*/ 59 w 245"/>
                <a:gd name="T51" fmla="*/ 76 h 152"/>
                <a:gd name="T52" fmla="*/ 50 w 245"/>
                <a:gd name="T53" fmla="*/ 66 h 152"/>
                <a:gd name="T54" fmla="*/ 36 w 245"/>
                <a:gd name="T55" fmla="*/ 43 h 152"/>
                <a:gd name="T56" fmla="*/ 31 w 245"/>
                <a:gd name="T57" fmla="*/ 30 h 152"/>
                <a:gd name="T58" fmla="*/ 20 w 245"/>
                <a:gd name="T59" fmla="*/ 21 h 152"/>
                <a:gd name="T60" fmla="*/ 20 w 245"/>
                <a:gd name="T61" fmla="*/ 8 h 152"/>
                <a:gd name="T62" fmla="*/ 27 w 245"/>
                <a:gd name="T63" fmla="*/ 11 h 152"/>
                <a:gd name="T64" fmla="*/ 34 w 245"/>
                <a:gd name="T65" fmla="*/ 22 h 152"/>
                <a:gd name="T66" fmla="*/ 39 w 245"/>
                <a:gd name="T67" fmla="*/ 34 h 152"/>
                <a:gd name="T68" fmla="*/ 52 w 245"/>
                <a:gd name="T69" fmla="*/ 43 h 152"/>
                <a:gd name="T70" fmla="*/ 61 w 245"/>
                <a:gd name="T71" fmla="*/ 53 h 152"/>
                <a:gd name="T72" fmla="*/ 68 w 245"/>
                <a:gd name="T73" fmla="*/ 64 h 152"/>
                <a:gd name="T74" fmla="*/ 91 w 245"/>
                <a:gd name="T75" fmla="*/ 89 h 152"/>
                <a:gd name="T76" fmla="*/ 95 w 245"/>
                <a:gd name="T77" fmla="*/ 104 h 152"/>
                <a:gd name="T78" fmla="*/ 99 w 245"/>
                <a:gd name="T79" fmla="*/ 116 h 152"/>
                <a:gd name="T80" fmla="*/ 123 w 245"/>
                <a:gd name="T81" fmla="*/ 128 h 152"/>
                <a:gd name="T82" fmla="*/ 157 w 245"/>
                <a:gd name="T83" fmla="*/ 144 h 152"/>
                <a:gd name="T84" fmla="*/ 188 w 245"/>
                <a:gd name="T85" fmla="*/ 145 h 152"/>
                <a:gd name="T86" fmla="*/ 204 w 245"/>
                <a:gd name="T87" fmla="*/ 14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5" h="152">
                  <a:moveTo>
                    <a:pt x="204" y="143"/>
                  </a:moveTo>
                  <a:cubicBezTo>
                    <a:pt x="204" y="143"/>
                    <a:pt x="213" y="144"/>
                    <a:pt x="214" y="142"/>
                  </a:cubicBezTo>
                  <a:cubicBezTo>
                    <a:pt x="215" y="140"/>
                    <a:pt x="208" y="135"/>
                    <a:pt x="208" y="134"/>
                  </a:cubicBezTo>
                  <a:cubicBezTo>
                    <a:pt x="209" y="134"/>
                    <a:pt x="210" y="128"/>
                    <a:pt x="211" y="128"/>
                  </a:cubicBezTo>
                  <a:cubicBezTo>
                    <a:pt x="212" y="128"/>
                    <a:pt x="225" y="129"/>
                    <a:pt x="226" y="128"/>
                  </a:cubicBezTo>
                  <a:cubicBezTo>
                    <a:pt x="226" y="128"/>
                    <a:pt x="229" y="124"/>
                    <a:pt x="231" y="123"/>
                  </a:cubicBezTo>
                  <a:cubicBezTo>
                    <a:pt x="232" y="123"/>
                    <a:pt x="233" y="124"/>
                    <a:pt x="235" y="126"/>
                  </a:cubicBezTo>
                  <a:cubicBezTo>
                    <a:pt x="237" y="124"/>
                    <a:pt x="238" y="119"/>
                    <a:pt x="238" y="115"/>
                  </a:cubicBezTo>
                  <a:cubicBezTo>
                    <a:pt x="239" y="110"/>
                    <a:pt x="237" y="108"/>
                    <a:pt x="240" y="106"/>
                  </a:cubicBezTo>
                  <a:cubicBezTo>
                    <a:pt x="242" y="103"/>
                    <a:pt x="245" y="103"/>
                    <a:pt x="244" y="99"/>
                  </a:cubicBezTo>
                  <a:cubicBezTo>
                    <a:pt x="243" y="95"/>
                    <a:pt x="240" y="99"/>
                    <a:pt x="237" y="97"/>
                  </a:cubicBezTo>
                  <a:cubicBezTo>
                    <a:pt x="234" y="96"/>
                    <a:pt x="232" y="97"/>
                    <a:pt x="224" y="98"/>
                  </a:cubicBezTo>
                  <a:cubicBezTo>
                    <a:pt x="217" y="99"/>
                    <a:pt x="214" y="102"/>
                    <a:pt x="214" y="107"/>
                  </a:cubicBezTo>
                  <a:cubicBezTo>
                    <a:pt x="214" y="112"/>
                    <a:pt x="212" y="110"/>
                    <a:pt x="212" y="114"/>
                  </a:cubicBezTo>
                  <a:cubicBezTo>
                    <a:pt x="212" y="119"/>
                    <a:pt x="206" y="119"/>
                    <a:pt x="206" y="122"/>
                  </a:cubicBezTo>
                  <a:cubicBezTo>
                    <a:pt x="207" y="124"/>
                    <a:pt x="202" y="122"/>
                    <a:pt x="200" y="121"/>
                  </a:cubicBezTo>
                  <a:cubicBezTo>
                    <a:pt x="199" y="120"/>
                    <a:pt x="184" y="125"/>
                    <a:pt x="181" y="125"/>
                  </a:cubicBezTo>
                  <a:cubicBezTo>
                    <a:pt x="179" y="125"/>
                    <a:pt x="175" y="121"/>
                    <a:pt x="172" y="121"/>
                  </a:cubicBezTo>
                  <a:cubicBezTo>
                    <a:pt x="169" y="121"/>
                    <a:pt x="168" y="116"/>
                    <a:pt x="168" y="112"/>
                  </a:cubicBezTo>
                  <a:cubicBezTo>
                    <a:pt x="167" y="109"/>
                    <a:pt x="162" y="105"/>
                    <a:pt x="159" y="102"/>
                  </a:cubicBezTo>
                  <a:cubicBezTo>
                    <a:pt x="157" y="99"/>
                    <a:pt x="156" y="91"/>
                    <a:pt x="156" y="86"/>
                  </a:cubicBezTo>
                  <a:cubicBezTo>
                    <a:pt x="156" y="81"/>
                    <a:pt x="155" y="73"/>
                    <a:pt x="159" y="64"/>
                  </a:cubicBezTo>
                  <a:cubicBezTo>
                    <a:pt x="159" y="63"/>
                    <a:pt x="159" y="61"/>
                    <a:pt x="159" y="60"/>
                  </a:cubicBezTo>
                  <a:cubicBezTo>
                    <a:pt x="158" y="60"/>
                    <a:pt x="157" y="59"/>
                    <a:pt x="156" y="59"/>
                  </a:cubicBezTo>
                  <a:cubicBezTo>
                    <a:pt x="153" y="59"/>
                    <a:pt x="146" y="55"/>
                    <a:pt x="145" y="55"/>
                  </a:cubicBezTo>
                  <a:cubicBezTo>
                    <a:pt x="144" y="55"/>
                    <a:pt x="144" y="52"/>
                    <a:pt x="143" y="50"/>
                  </a:cubicBezTo>
                  <a:cubicBezTo>
                    <a:pt x="141" y="49"/>
                    <a:pt x="142" y="45"/>
                    <a:pt x="141" y="44"/>
                  </a:cubicBezTo>
                  <a:cubicBezTo>
                    <a:pt x="139" y="43"/>
                    <a:pt x="135" y="39"/>
                    <a:pt x="133" y="33"/>
                  </a:cubicBezTo>
                  <a:cubicBezTo>
                    <a:pt x="132" y="28"/>
                    <a:pt x="122" y="25"/>
                    <a:pt x="119" y="25"/>
                  </a:cubicBezTo>
                  <a:cubicBezTo>
                    <a:pt x="115" y="25"/>
                    <a:pt x="113" y="32"/>
                    <a:pt x="112" y="33"/>
                  </a:cubicBezTo>
                  <a:cubicBezTo>
                    <a:pt x="112" y="33"/>
                    <a:pt x="105" y="29"/>
                    <a:pt x="103" y="28"/>
                  </a:cubicBezTo>
                  <a:cubicBezTo>
                    <a:pt x="101" y="27"/>
                    <a:pt x="100" y="25"/>
                    <a:pt x="100" y="23"/>
                  </a:cubicBezTo>
                  <a:cubicBezTo>
                    <a:pt x="100" y="20"/>
                    <a:pt x="96" y="17"/>
                    <a:pt x="95" y="16"/>
                  </a:cubicBezTo>
                  <a:cubicBezTo>
                    <a:pt x="94" y="16"/>
                    <a:pt x="86" y="8"/>
                    <a:pt x="86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30" y="5"/>
                    <a:pt x="27" y="5"/>
                  </a:cubicBezTo>
                  <a:cubicBezTo>
                    <a:pt x="24" y="4"/>
                    <a:pt x="18" y="0"/>
                    <a:pt x="18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4"/>
                    <a:pt x="2" y="6"/>
                    <a:pt x="4" y="9"/>
                  </a:cubicBezTo>
                  <a:cubicBezTo>
                    <a:pt x="8" y="14"/>
                    <a:pt x="10" y="22"/>
                    <a:pt x="11" y="25"/>
                  </a:cubicBezTo>
                  <a:cubicBezTo>
                    <a:pt x="11" y="27"/>
                    <a:pt x="16" y="30"/>
                    <a:pt x="21" y="33"/>
                  </a:cubicBezTo>
                  <a:cubicBezTo>
                    <a:pt x="25" y="35"/>
                    <a:pt x="25" y="42"/>
                    <a:pt x="25" y="43"/>
                  </a:cubicBezTo>
                  <a:cubicBezTo>
                    <a:pt x="24" y="45"/>
                    <a:pt x="19" y="42"/>
                    <a:pt x="18" y="44"/>
                  </a:cubicBezTo>
                  <a:cubicBezTo>
                    <a:pt x="18" y="45"/>
                    <a:pt x="25" y="52"/>
                    <a:pt x="28" y="51"/>
                  </a:cubicBezTo>
                  <a:cubicBezTo>
                    <a:pt x="31" y="51"/>
                    <a:pt x="32" y="53"/>
                    <a:pt x="37" y="57"/>
                  </a:cubicBezTo>
                  <a:cubicBezTo>
                    <a:pt x="41" y="61"/>
                    <a:pt x="41" y="65"/>
                    <a:pt x="39" y="67"/>
                  </a:cubicBezTo>
                  <a:cubicBezTo>
                    <a:pt x="37" y="68"/>
                    <a:pt x="43" y="71"/>
                    <a:pt x="49" y="75"/>
                  </a:cubicBezTo>
                  <a:cubicBezTo>
                    <a:pt x="54" y="79"/>
                    <a:pt x="57" y="83"/>
                    <a:pt x="57" y="85"/>
                  </a:cubicBezTo>
                  <a:cubicBezTo>
                    <a:pt x="58" y="87"/>
                    <a:pt x="60" y="85"/>
                    <a:pt x="61" y="83"/>
                  </a:cubicBezTo>
                  <a:cubicBezTo>
                    <a:pt x="62" y="80"/>
                    <a:pt x="59" y="79"/>
                    <a:pt x="59" y="76"/>
                  </a:cubicBezTo>
                  <a:cubicBezTo>
                    <a:pt x="59" y="73"/>
                    <a:pt x="55" y="74"/>
                    <a:pt x="52" y="73"/>
                  </a:cubicBezTo>
                  <a:cubicBezTo>
                    <a:pt x="50" y="73"/>
                    <a:pt x="53" y="68"/>
                    <a:pt x="50" y="66"/>
                  </a:cubicBezTo>
                  <a:cubicBezTo>
                    <a:pt x="48" y="64"/>
                    <a:pt x="46" y="59"/>
                    <a:pt x="45" y="55"/>
                  </a:cubicBezTo>
                  <a:cubicBezTo>
                    <a:pt x="44" y="51"/>
                    <a:pt x="39" y="47"/>
                    <a:pt x="36" y="43"/>
                  </a:cubicBezTo>
                  <a:cubicBezTo>
                    <a:pt x="34" y="38"/>
                    <a:pt x="32" y="35"/>
                    <a:pt x="30" y="34"/>
                  </a:cubicBezTo>
                  <a:cubicBezTo>
                    <a:pt x="28" y="33"/>
                    <a:pt x="32" y="31"/>
                    <a:pt x="31" y="30"/>
                  </a:cubicBezTo>
                  <a:cubicBezTo>
                    <a:pt x="29" y="28"/>
                    <a:pt x="27" y="28"/>
                    <a:pt x="25" y="27"/>
                  </a:cubicBezTo>
                  <a:cubicBezTo>
                    <a:pt x="22" y="26"/>
                    <a:pt x="20" y="24"/>
                    <a:pt x="20" y="21"/>
                  </a:cubicBezTo>
                  <a:cubicBezTo>
                    <a:pt x="20" y="18"/>
                    <a:pt x="18" y="11"/>
                    <a:pt x="17" y="9"/>
                  </a:cubicBezTo>
                  <a:cubicBezTo>
                    <a:pt x="17" y="7"/>
                    <a:pt x="19" y="7"/>
                    <a:pt x="20" y="8"/>
                  </a:cubicBezTo>
                  <a:cubicBezTo>
                    <a:pt x="21" y="9"/>
                    <a:pt x="22" y="10"/>
                    <a:pt x="23" y="9"/>
                  </a:cubicBezTo>
                  <a:cubicBezTo>
                    <a:pt x="24" y="9"/>
                    <a:pt x="27" y="9"/>
                    <a:pt x="27" y="11"/>
                  </a:cubicBezTo>
                  <a:cubicBezTo>
                    <a:pt x="28" y="13"/>
                    <a:pt x="31" y="11"/>
                    <a:pt x="33" y="12"/>
                  </a:cubicBezTo>
                  <a:cubicBezTo>
                    <a:pt x="34" y="13"/>
                    <a:pt x="30" y="14"/>
                    <a:pt x="34" y="22"/>
                  </a:cubicBezTo>
                  <a:cubicBezTo>
                    <a:pt x="39" y="31"/>
                    <a:pt x="36" y="26"/>
                    <a:pt x="36" y="32"/>
                  </a:cubicBezTo>
                  <a:cubicBezTo>
                    <a:pt x="36" y="37"/>
                    <a:pt x="39" y="35"/>
                    <a:pt x="39" y="34"/>
                  </a:cubicBezTo>
                  <a:cubicBezTo>
                    <a:pt x="40" y="33"/>
                    <a:pt x="43" y="35"/>
                    <a:pt x="45" y="38"/>
                  </a:cubicBezTo>
                  <a:cubicBezTo>
                    <a:pt x="47" y="41"/>
                    <a:pt x="52" y="41"/>
                    <a:pt x="52" y="43"/>
                  </a:cubicBezTo>
                  <a:cubicBezTo>
                    <a:pt x="52" y="45"/>
                    <a:pt x="53" y="48"/>
                    <a:pt x="56" y="48"/>
                  </a:cubicBezTo>
                  <a:cubicBezTo>
                    <a:pt x="59" y="49"/>
                    <a:pt x="59" y="52"/>
                    <a:pt x="61" y="53"/>
                  </a:cubicBezTo>
                  <a:cubicBezTo>
                    <a:pt x="63" y="53"/>
                    <a:pt x="64" y="55"/>
                    <a:pt x="63" y="57"/>
                  </a:cubicBezTo>
                  <a:cubicBezTo>
                    <a:pt x="62" y="60"/>
                    <a:pt x="63" y="62"/>
                    <a:pt x="68" y="64"/>
                  </a:cubicBezTo>
                  <a:cubicBezTo>
                    <a:pt x="73" y="66"/>
                    <a:pt x="70" y="66"/>
                    <a:pt x="74" y="70"/>
                  </a:cubicBezTo>
                  <a:cubicBezTo>
                    <a:pt x="78" y="73"/>
                    <a:pt x="89" y="86"/>
                    <a:pt x="91" y="89"/>
                  </a:cubicBezTo>
                  <a:cubicBezTo>
                    <a:pt x="94" y="92"/>
                    <a:pt x="95" y="95"/>
                    <a:pt x="95" y="98"/>
                  </a:cubicBezTo>
                  <a:cubicBezTo>
                    <a:pt x="96" y="100"/>
                    <a:pt x="94" y="101"/>
                    <a:pt x="95" y="104"/>
                  </a:cubicBezTo>
                  <a:cubicBezTo>
                    <a:pt x="96" y="106"/>
                    <a:pt x="92" y="105"/>
                    <a:pt x="93" y="106"/>
                  </a:cubicBezTo>
                  <a:cubicBezTo>
                    <a:pt x="93" y="108"/>
                    <a:pt x="95" y="116"/>
                    <a:pt x="99" y="116"/>
                  </a:cubicBezTo>
                  <a:cubicBezTo>
                    <a:pt x="103" y="117"/>
                    <a:pt x="107" y="122"/>
                    <a:pt x="111" y="124"/>
                  </a:cubicBezTo>
                  <a:cubicBezTo>
                    <a:pt x="114" y="127"/>
                    <a:pt x="119" y="126"/>
                    <a:pt x="123" y="128"/>
                  </a:cubicBezTo>
                  <a:cubicBezTo>
                    <a:pt x="128" y="130"/>
                    <a:pt x="132" y="134"/>
                    <a:pt x="139" y="136"/>
                  </a:cubicBezTo>
                  <a:cubicBezTo>
                    <a:pt x="146" y="138"/>
                    <a:pt x="153" y="141"/>
                    <a:pt x="157" y="144"/>
                  </a:cubicBezTo>
                  <a:cubicBezTo>
                    <a:pt x="162" y="147"/>
                    <a:pt x="167" y="146"/>
                    <a:pt x="174" y="143"/>
                  </a:cubicBezTo>
                  <a:cubicBezTo>
                    <a:pt x="180" y="141"/>
                    <a:pt x="185" y="144"/>
                    <a:pt x="188" y="145"/>
                  </a:cubicBezTo>
                  <a:cubicBezTo>
                    <a:pt x="190" y="146"/>
                    <a:pt x="194" y="149"/>
                    <a:pt x="197" y="152"/>
                  </a:cubicBezTo>
                  <a:cubicBezTo>
                    <a:pt x="200" y="148"/>
                    <a:pt x="203" y="143"/>
                    <a:pt x="204" y="14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7" name="Freeform 284">
              <a:extLst>
                <a:ext uri="{FF2B5EF4-FFF2-40B4-BE49-F238E27FC236}">
                  <a16:creationId xmlns:a16="http://schemas.microsoft.com/office/drawing/2014/main" id="{DAA48631-0A8B-1EDE-F9C4-3D68494F7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510" y="3730964"/>
              <a:ext cx="126983" cy="126983"/>
            </a:xfrm>
            <a:custGeom>
              <a:avLst/>
              <a:gdLst>
                <a:gd name="T0" fmla="*/ 30 w 34"/>
                <a:gd name="T1" fmla="*/ 23 h 34"/>
                <a:gd name="T2" fmla="*/ 34 w 34"/>
                <a:gd name="T3" fmla="*/ 18 h 34"/>
                <a:gd name="T4" fmla="*/ 31 w 34"/>
                <a:gd name="T5" fmla="*/ 16 h 34"/>
                <a:gd name="T6" fmla="*/ 27 w 34"/>
                <a:gd name="T7" fmla="*/ 17 h 34"/>
                <a:gd name="T8" fmla="*/ 27 w 34"/>
                <a:gd name="T9" fmla="*/ 0 h 34"/>
                <a:gd name="T10" fmla="*/ 14 w 34"/>
                <a:gd name="T11" fmla="*/ 0 h 34"/>
                <a:gd name="T12" fmla="*/ 11 w 34"/>
                <a:gd name="T13" fmla="*/ 6 h 34"/>
                <a:gd name="T14" fmla="*/ 17 w 34"/>
                <a:gd name="T15" fmla="*/ 14 h 34"/>
                <a:gd name="T16" fmla="*/ 7 w 34"/>
                <a:gd name="T17" fmla="*/ 15 h 34"/>
                <a:gd name="T18" fmla="*/ 0 w 34"/>
                <a:gd name="T19" fmla="*/ 24 h 34"/>
                <a:gd name="T20" fmla="*/ 9 w 34"/>
                <a:gd name="T21" fmla="*/ 32 h 34"/>
                <a:gd name="T22" fmla="*/ 20 w 34"/>
                <a:gd name="T23" fmla="*/ 34 h 34"/>
                <a:gd name="T24" fmla="*/ 20 w 34"/>
                <a:gd name="T25" fmla="*/ 34 h 34"/>
                <a:gd name="T26" fmla="*/ 26 w 34"/>
                <a:gd name="T27" fmla="*/ 29 h 34"/>
                <a:gd name="T28" fmla="*/ 30 w 34"/>
                <a:gd name="T29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4">
                  <a:moveTo>
                    <a:pt x="30" y="23"/>
                  </a:moveTo>
                  <a:cubicBezTo>
                    <a:pt x="32" y="21"/>
                    <a:pt x="33" y="19"/>
                    <a:pt x="34" y="18"/>
                  </a:cubicBezTo>
                  <a:cubicBezTo>
                    <a:pt x="32" y="20"/>
                    <a:pt x="31" y="18"/>
                    <a:pt x="31" y="16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1"/>
                    <a:pt x="15" y="0"/>
                    <a:pt x="14" y="0"/>
                  </a:cubicBezTo>
                  <a:cubicBezTo>
                    <a:pt x="13" y="0"/>
                    <a:pt x="12" y="6"/>
                    <a:pt x="11" y="6"/>
                  </a:cubicBezTo>
                  <a:cubicBezTo>
                    <a:pt x="11" y="7"/>
                    <a:pt x="18" y="12"/>
                    <a:pt x="17" y="14"/>
                  </a:cubicBezTo>
                  <a:cubicBezTo>
                    <a:pt x="16" y="16"/>
                    <a:pt x="7" y="15"/>
                    <a:pt x="7" y="15"/>
                  </a:cubicBezTo>
                  <a:cubicBezTo>
                    <a:pt x="6" y="15"/>
                    <a:pt x="3" y="20"/>
                    <a:pt x="0" y="24"/>
                  </a:cubicBezTo>
                  <a:cubicBezTo>
                    <a:pt x="4" y="27"/>
                    <a:pt x="7" y="30"/>
                    <a:pt x="9" y="32"/>
                  </a:cubicBezTo>
                  <a:cubicBezTo>
                    <a:pt x="12" y="34"/>
                    <a:pt x="18" y="31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3" y="31"/>
                    <a:pt x="25" y="29"/>
                    <a:pt x="26" y="29"/>
                  </a:cubicBezTo>
                  <a:cubicBezTo>
                    <a:pt x="28" y="28"/>
                    <a:pt x="26" y="26"/>
                    <a:pt x="30" y="2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8" name="Freeform 285">
              <a:extLst>
                <a:ext uri="{FF2B5EF4-FFF2-40B4-BE49-F238E27FC236}">
                  <a16:creationId xmlns:a16="http://schemas.microsoft.com/office/drawing/2014/main" id="{68D42E4A-2B02-3212-4423-BA8859F8D2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9513" y="3711920"/>
              <a:ext cx="41270" cy="82540"/>
            </a:xfrm>
            <a:custGeom>
              <a:avLst/>
              <a:gdLst>
                <a:gd name="T0" fmla="*/ 2 w 11"/>
                <a:gd name="T1" fmla="*/ 5 h 22"/>
                <a:gd name="T2" fmla="*/ 0 w 11"/>
                <a:gd name="T3" fmla="*/ 5 h 22"/>
                <a:gd name="T4" fmla="*/ 0 w 11"/>
                <a:gd name="T5" fmla="*/ 22 h 22"/>
                <a:gd name="T6" fmla="*/ 4 w 11"/>
                <a:gd name="T7" fmla="*/ 21 h 22"/>
                <a:gd name="T8" fmla="*/ 7 w 11"/>
                <a:gd name="T9" fmla="*/ 17 h 22"/>
                <a:gd name="T10" fmla="*/ 9 w 11"/>
                <a:gd name="T11" fmla="*/ 4 h 22"/>
                <a:gd name="T12" fmla="*/ 11 w 11"/>
                <a:gd name="T13" fmla="*/ 3 h 22"/>
                <a:gd name="T14" fmla="*/ 7 w 11"/>
                <a:gd name="T15" fmla="*/ 0 h 22"/>
                <a:gd name="T16" fmla="*/ 2 w 11"/>
                <a:gd name="T1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2">
                  <a:moveTo>
                    <a:pt x="2" y="5"/>
                  </a:moveTo>
                  <a:cubicBezTo>
                    <a:pt x="1" y="5"/>
                    <a:pt x="1" y="5"/>
                    <a:pt x="0" y="5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5" y="18"/>
                    <a:pt x="7" y="17"/>
                  </a:cubicBezTo>
                  <a:cubicBezTo>
                    <a:pt x="10" y="15"/>
                    <a:pt x="5" y="5"/>
                    <a:pt x="9" y="4"/>
                  </a:cubicBezTo>
                  <a:cubicBezTo>
                    <a:pt x="9" y="4"/>
                    <a:pt x="10" y="3"/>
                    <a:pt x="11" y="3"/>
                  </a:cubicBezTo>
                  <a:cubicBezTo>
                    <a:pt x="9" y="1"/>
                    <a:pt x="8" y="0"/>
                    <a:pt x="7" y="0"/>
                  </a:cubicBezTo>
                  <a:cubicBezTo>
                    <a:pt x="5" y="1"/>
                    <a:pt x="2" y="5"/>
                    <a:pt x="2" y="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49" name="Freeform 286">
              <a:extLst>
                <a:ext uri="{FF2B5EF4-FFF2-40B4-BE49-F238E27FC236}">
                  <a16:creationId xmlns:a16="http://schemas.microsoft.com/office/drawing/2014/main" id="{403BA6CB-8315-DE76-190B-69C482D731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364" y="3654774"/>
              <a:ext cx="90476" cy="76190"/>
            </a:xfrm>
            <a:custGeom>
              <a:avLst/>
              <a:gdLst>
                <a:gd name="T0" fmla="*/ 11 w 24"/>
                <a:gd name="T1" fmla="*/ 2 h 20"/>
                <a:gd name="T2" fmla="*/ 17 w 24"/>
                <a:gd name="T3" fmla="*/ 13 h 20"/>
                <a:gd name="T4" fmla="*/ 1 w 24"/>
                <a:gd name="T5" fmla="*/ 16 h 20"/>
                <a:gd name="T6" fmla="*/ 11 w 24"/>
                <a:gd name="T7" fmla="*/ 18 h 20"/>
                <a:gd name="T8" fmla="*/ 22 w 24"/>
                <a:gd name="T9" fmla="*/ 20 h 20"/>
                <a:gd name="T10" fmla="*/ 24 w 24"/>
                <a:gd name="T11" fmla="*/ 4 h 20"/>
                <a:gd name="T12" fmla="*/ 11 w 24"/>
                <a:gd name="T13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0">
                  <a:moveTo>
                    <a:pt x="11" y="2"/>
                  </a:moveTo>
                  <a:cubicBezTo>
                    <a:pt x="8" y="4"/>
                    <a:pt x="17" y="10"/>
                    <a:pt x="17" y="13"/>
                  </a:cubicBezTo>
                  <a:cubicBezTo>
                    <a:pt x="17" y="16"/>
                    <a:pt x="2" y="12"/>
                    <a:pt x="1" y="16"/>
                  </a:cubicBezTo>
                  <a:cubicBezTo>
                    <a:pt x="0" y="18"/>
                    <a:pt x="6" y="20"/>
                    <a:pt x="11" y="18"/>
                  </a:cubicBezTo>
                  <a:cubicBezTo>
                    <a:pt x="16" y="17"/>
                    <a:pt x="20" y="18"/>
                    <a:pt x="22" y="20"/>
                  </a:cubicBezTo>
                  <a:cubicBezTo>
                    <a:pt x="23" y="14"/>
                    <a:pt x="23" y="8"/>
                    <a:pt x="24" y="4"/>
                  </a:cubicBezTo>
                  <a:cubicBezTo>
                    <a:pt x="20" y="3"/>
                    <a:pt x="14" y="0"/>
                    <a:pt x="11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0" name="Freeform 287">
              <a:extLst>
                <a:ext uri="{FF2B5EF4-FFF2-40B4-BE49-F238E27FC236}">
                  <a16:creationId xmlns:a16="http://schemas.microsoft.com/office/drawing/2014/main" id="{11E2D843-40FA-A2D9-AB5F-24C00E24F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496" y="3665890"/>
              <a:ext cx="104761" cy="68254"/>
            </a:xfrm>
            <a:custGeom>
              <a:avLst/>
              <a:gdLst>
                <a:gd name="T0" fmla="*/ 11 w 28"/>
                <a:gd name="T1" fmla="*/ 13 h 18"/>
                <a:gd name="T2" fmla="*/ 28 w 28"/>
                <a:gd name="T3" fmla="*/ 10 h 18"/>
                <a:gd name="T4" fmla="*/ 6 w 28"/>
                <a:gd name="T5" fmla="*/ 1 h 18"/>
                <a:gd name="T6" fmla="*/ 2 w 28"/>
                <a:gd name="T7" fmla="*/ 1 h 18"/>
                <a:gd name="T8" fmla="*/ 0 w 28"/>
                <a:gd name="T9" fmla="*/ 17 h 18"/>
                <a:gd name="T10" fmla="*/ 1 w 28"/>
                <a:gd name="T11" fmla="*/ 17 h 18"/>
                <a:gd name="T12" fmla="*/ 11 w 28"/>
                <a:gd name="T1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8">
                  <a:moveTo>
                    <a:pt x="11" y="13"/>
                  </a:moveTo>
                  <a:cubicBezTo>
                    <a:pt x="17" y="11"/>
                    <a:pt x="28" y="15"/>
                    <a:pt x="28" y="10"/>
                  </a:cubicBezTo>
                  <a:cubicBezTo>
                    <a:pt x="28" y="5"/>
                    <a:pt x="11" y="0"/>
                    <a:pt x="6" y="1"/>
                  </a:cubicBezTo>
                  <a:cubicBezTo>
                    <a:pt x="5" y="2"/>
                    <a:pt x="4" y="2"/>
                    <a:pt x="2" y="1"/>
                  </a:cubicBezTo>
                  <a:cubicBezTo>
                    <a:pt x="1" y="5"/>
                    <a:pt x="1" y="11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4" y="18"/>
                    <a:pt x="5" y="16"/>
                    <a:pt x="11" y="1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1" name="Freeform 288">
              <a:extLst>
                <a:ext uri="{FF2B5EF4-FFF2-40B4-BE49-F238E27FC236}">
                  <a16:creationId xmlns:a16="http://schemas.microsoft.com/office/drawing/2014/main" id="{6BC8F6A3-D728-732B-5024-88F5ED392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483" y="3819857"/>
              <a:ext cx="130158" cy="131746"/>
            </a:xfrm>
            <a:custGeom>
              <a:avLst/>
              <a:gdLst>
                <a:gd name="T0" fmla="*/ 19 w 35"/>
                <a:gd name="T1" fmla="*/ 33 h 35"/>
                <a:gd name="T2" fmla="*/ 27 w 35"/>
                <a:gd name="T3" fmla="*/ 34 h 35"/>
                <a:gd name="T4" fmla="*/ 31 w 35"/>
                <a:gd name="T5" fmla="*/ 35 h 35"/>
                <a:gd name="T6" fmla="*/ 30 w 35"/>
                <a:gd name="T7" fmla="*/ 33 h 35"/>
                <a:gd name="T8" fmla="*/ 32 w 35"/>
                <a:gd name="T9" fmla="*/ 23 h 35"/>
                <a:gd name="T10" fmla="*/ 33 w 35"/>
                <a:gd name="T11" fmla="*/ 9 h 35"/>
                <a:gd name="T12" fmla="*/ 35 w 35"/>
                <a:gd name="T13" fmla="*/ 1 h 35"/>
                <a:gd name="T14" fmla="*/ 35 w 35"/>
                <a:gd name="T15" fmla="*/ 0 h 35"/>
                <a:gd name="T16" fmla="*/ 25 w 35"/>
                <a:gd name="T17" fmla="*/ 4 h 35"/>
                <a:gd name="T18" fmla="*/ 17 w 35"/>
                <a:gd name="T19" fmla="*/ 5 h 35"/>
                <a:gd name="T20" fmla="*/ 9 w 35"/>
                <a:gd name="T21" fmla="*/ 9 h 35"/>
                <a:gd name="T22" fmla="*/ 6 w 35"/>
                <a:gd name="T23" fmla="*/ 14 h 35"/>
                <a:gd name="T24" fmla="*/ 4 w 35"/>
                <a:gd name="T25" fmla="*/ 16 h 35"/>
                <a:gd name="T26" fmla="*/ 1 w 35"/>
                <a:gd name="T27" fmla="*/ 17 h 35"/>
                <a:gd name="T28" fmla="*/ 2 w 35"/>
                <a:gd name="T29" fmla="*/ 20 h 35"/>
                <a:gd name="T30" fmla="*/ 12 w 35"/>
                <a:gd name="T31" fmla="*/ 30 h 35"/>
                <a:gd name="T32" fmla="*/ 14 w 35"/>
                <a:gd name="T33" fmla="*/ 33 h 35"/>
                <a:gd name="T34" fmla="*/ 19 w 35"/>
                <a:gd name="T35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35">
                  <a:moveTo>
                    <a:pt x="19" y="33"/>
                  </a:moveTo>
                  <a:cubicBezTo>
                    <a:pt x="21" y="34"/>
                    <a:pt x="25" y="33"/>
                    <a:pt x="27" y="34"/>
                  </a:cubicBezTo>
                  <a:cubicBezTo>
                    <a:pt x="28" y="35"/>
                    <a:pt x="29" y="35"/>
                    <a:pt x="31" y="35"/>
                  </a:cubicBezTo>
                  <a:cubicBezTo>
                    <a:pt x="30" y="34"/>
                    <a:pt x="30" y="33"/>
                    <a:pt x="30" y="33"/>
                  </a:cubicBezTo>
                  <a:cubicBezTo>
                    <a:pt x="28" y="31"/>
                    <a:pt x="31" y="26"/>
                    <a:pt x="32" y="23"/>
                  </a:cubicBezTo>
                  <a:cubicBezTo>
                    <a:pt x="33" y="19"/>
                    <a:pt x="31" y="11"/>
                    <a:pt x="33" y="9"/>
                  </a:cubicBezTo>
                  <a:cubicBezTo>
                    <a:pt x="35" y="7"/>
                    <a:pt x="34" y="6"/>
                    <a:pt x="35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1" y="0"/>
                    <a:pt x="26" y="3"/>
                    <a:pt x="25" y="4"/>
                  </a:cubicBezTo>
                  <a:cubicBezTo>
                    <a:pt x="24" y="4"/>
                    <a:pt x="18" y="2"/>
                    <a:pt x="17" y="5"/>
                  </a:cubicBezTo>
                  <a:cubicBezTo>
                    <a:pt x="17" y="8"/>
                    <a:pt x="13" y="9"/>
                    <a:pt x="9" y="9"/>
                  </a:cubicBezTo>
                  <a:cubicBezTo>
                    <a:pt x="4" y="9"/>
                    <a:pt x="6" y="13"/>
                    <a:pt x="6" y="14"/>
                  </a:cubicBezTo>
                  <a:cubicBezTo>
                    <a:pt x="6" y="15"/>
                    <a:pt x="4" y="16"/>
                    <a:pt x="4" y="16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8"/>
                    <a:pt x="0" y="19"/>
                    <a:pt x="2" y="20"/>
                  </a:cubicBezTo>
                  <a:cubicBezTo>
                    <a:pt x="5" y="22"/>
                    <a:pt x="9" y="28"/>
                    <a:pt x="12" y="30"/>
                  </a:cubicBezTo>
                  <a:cubicBezTo>
                    <a:pt x="13" y="30"/>
                    <a:pt x="14" y="32"/>
                    <a:pt x="14" y="33"/>
                  </a:cubicBezTo>
                  <a:cubicBezTo>
                    <a:pt x="16" y="33"/>
                    <a:pt x="18" y="33"/>
                    <a:pt x="19" y="3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2" name="Freeform 289">
              <a:extLst>
                <a:ext uri="{FF2B5EF4-FFF2-40B4-BE49-F238E27FC236}">
                  <a16:creationId xmlns:a16="http://schemas.microsoft.com/office/drawing/2014/main" id="{62422C0C-89F3-BFD9-77BA-D0CBA527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417" y="4121439"/>
              <a:ext cx="1204756" cy="1231740"/>
            </a:xfrm>
            <a:custGeom>
              <a:avLst/>
              <a:gdLst>
                <a:gd name="T0" fmla="*/ 180 w 321"/>
                <a:gd name="T1" fmla="*/ 304 h 328"/>
                <a:gd name="T2" fmla="*/ 185 w 321"/>
                <a:gd name="T3" fmla="*/ 306 h 328"/>
                <a:gd name="T4" fmla="*/ 206 w 321"/>
                <a:gd name="T5" fmla="*/ 270 h 328"/>
                <a:gd name="T6" fmla="*/ 219 w 321"/>
                <a:gd name="T7" fmla="*/ 244 h 328"/>
                <a:gd name="T8" fmla="*/ 240 w 321"/>
                <a:gd name="T9" fmla="*/ 232 h 328"/>
                <a:gd name="T10" fmla="*/ 265 w 321"/>
                <a:gd name="T11" fmla="*/ 225 h 328"/>
                <a:gd name="T12" fmla="*/ 275 w 321"/>
                <a:gd name="T13" fmla="*/ 206 h 328"/>
                <a:gd name="T14" fmla="*/ 283 w 321"/>
                <a:gd name="T15" fmla="*/ 188 h 328"/>
                <a:gd name="T16" fmla="*/ 286 w 321"/>
                <a:gd name="T17" fmla="*/ 151 h 328"/>
                <a:gd name="T18" fmla="*/ 292 w 321"/>
                <a:gd name="T19" fmla="*/ 147 h 328"/>
                <a:gd name="T20" fmla="*/ 317 w 321"/>
                <a:gd name="T21" fmla="*/ 112 h 328"/>
                <a:gd name="T22" fmla="*/ 290 w 321"/>
                <a:gd name="T23" fmla="*/ 74 h 328"/>
                <a:gd name="T24" fmla="*/ 240 w 321"/>
                <a:gd name="T25" fmla="*/ 68 h 328"/>
                <a:gd name="T26" fmla="*/ 211 w 321"/>
                <a:gd name="T27" fmla="*/ 53 h 328"/>
                <a:gd name="T28" fmla="*/ 208 w 321"/>
                <a:gd name="T29" fmla="*/ 47 h 328"/>
                <a:gd name="T30" fmla="*/ 188 w 321"/>
                <a:gd name="T31" fmla="*/ 43 h 328"/>
                <a:gd name="T32" fmla="*/ 184 w 321"/>
                <a:gd name="T33" fmla="*/ 9 h 328"/>
                <a:gd name="T34" fmla="*/ 158 w 321"/>
                <a:gd name="T35" fmla="*/ 23 h 328"/>
                <a:gd name="T36" fmla="*/ 136 w 321"/>
                <a:gd name="T37" fmla="*/ 27 h 328"/>
                <a:gd name="T38" fmla="*/ 118 w 321"/>
                <a:gd name="T39" fmla="*/ 28 h 328"/>
                <a:gd name="T40" fmla="*/ 112 w 321"/>
                <a:gd name="T41" fmla="*/ 1 h 328"/>
                <a:gd name="T42" fmla="*/ 92 w 321"/>
                <a:gd name="T43" fmla="*/ 12 h 328"/>
                <a:gd name="T44" fmla="*/ 76 w 321"/>
                <a:gd name="T45" fmla="*/ 11 h 328"/>
                <a:gd name="T46" fmla="*/ 86 w 321"/>
                <a:gd name="T47" fmla="*/ 23 h 328"/>
                <a:gd name="T48" fmla="*/ 75 w 321"/>
                <a:gd name="T49" fmla="*/ 33 h 328"/>
                <a:gd name="T50" fmla="*/ 60 w 321"/>
                <a:gd name="T51" fmla="*/ 35 h 328"/>
                <a:gd name="T52" fmla="*/ 34 w 321"/>
                <a:gd name="T53" fmla="*/ 30 h 328"/>
                <a:gd name="T54" fmla="*/ 32 w 321"/>
                <a:gd name="T55" fmla="*/ 42 h 328"/>
                <a:gd name="T56" fmla="*/ 33 w 321"/>
                <a:gd name="T57" fmla="*/ 77 h 328"/>
                <a:gd name="T58" fmla="*/ 9 w 321"/>
                <a:gd name="T59" fmla="*/ 86 h 328"/>
                <a:gd name="T60" fmla="*/ 1 w 321"/>
                <a:gd name="T61" fmla="*/ 103 h 328"/>
                <a:gd name="T62" fmla="*/ 11 w 321"/>
                <a:gd name="T63" fmla="*/ 120 h 328"/>
                <a:gd name="T64" fmla="*/ 27 w 321"/>
                <a:gd name="T65" fmla="*/ 122 h 328"/>
                <a:gd name="T66" fmla="*/ 47 w 321"/>
                <a:gd name="T67" fmla="*/ 131 h 328"/>
                <a:gd name="T68" fmla="*/ 71 w 321"/>
                <a:gd name="T69" fmla="*/ 124 h 328"/>
                <a:gd name="T70" fmla="*/ 88 w 321"/>
                <a:gd name="T71" fmla="*/ 146 h 328"/>
                <a:gd name="T72" fmla="*/ 107 w 321"/>
                <a:gd name="T73" fmla="*/ 154 h 328"/>
                <a:gd name="T74" fmla="*/ 112 w 321"/>
                <a:gd name="T75" fmla="*/ 173 h 328"/>
                <a:gd name="T76" fmla="*/ 133 w 321"/>
                <a:gd name="T77" fmla="*/ 189 h 328"/>
                <a:gd name="T78" fmla="*/ 130 w 321"/>
                <a:gd name="T79" fmla="*/ 209 h 328"/>
                <a:gd name="T80" fmla="*/ 142 w 321"/>
                <a:gd name="T81" fmla="*/ 226 h 328"/>
                <a:gd name="T82" fmla="*/ 158 w 321"/>
                <a:gd name="T83" fmla="*/ 240 h 328"/>
                <a:gd name="T84" fmla="*/ 164 w 321"/>
                <a:gd name="T85" fmla="*/ 267 h 328"/>
                <a:gd name="T86" fmla="*/ 134 w 321"/>
                <a:gd name="T87" fmla="*/ 296 h 328"/>
                <a:gd name="T88" fmla="*/ 146 w 321"/>
                <a:gd name="T89" fmla="*/ 304 h 328"/>
                <a:gd name="T90" fmla="*/ 165 w 321"/>
                <a:gd name="T91" fmla="*/ 31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1" h="328">
                  <a:moveTo>
                    <a:pt x="170" y="324"/>
                  </a:moveTo>
                  <a:cubicBezTo>
                    <a:pt x="175" y="320"/>
                    <a:pt x="174" y="318"/>
                    <a:pt x="176" y="314"/>
                  </a:cubicBezTo>
                  <a:cubicBezTo>
                    <a:pt x="178" y="310"/>
                    <a:pt x="176" y="308"/>
                    <a:pt x="180" y="304"/>
                  </a:cubicBezTo>
                  <a:cubicBezTo>
                    <a:pt x="184" y="301"/>
                    <a:pt x="180" y="298"/>
                    <a:pt x="185" y="296"/>
                  </a:cubicBezTo>
                  <a:cubicBezTo>
                    <a:pt x="190" y="293"/>
                    <a:pt x="189" y="298"/>
                    <a:pt x="185" y="303"/>
                  </a:cubicBezTo>
                  <a:cubicBezTo>
                    <a:pt x="181" y="308"/>
                    <a:pt x="180" y="310"/>
                    <a:pt x="185" y="306"/>
                  </a:cubicBezTo>
                  <a:cubicBezTo>
                    <a:pt x="191" y="302"/>
                    <a:pt x="193" y="296"/>
                    <a:pt x="196" y="290"/>
                  </a:cubicBezTo>
                  <a:cubicBezTo>
                    <a:pt x="199" y="284"/>
                    <a:pt x="201" y="282"/>
                    <a:pt x="204" y="281"/>
                  </a:cubicBezTo>
                  <a:cubicBezTo>
                    <a:pt x="206" y="281"/>
                    <a:pt x="206" y="274"/>
                    <a:pt x="206" y="270"/>
                  </a:cubicBezTo>
                  <a:cubicBezTo>
                    <a:pt x="206" y="265"/>
                    <a:pt x="204" y="261"/>
                    <a:pt x="206" y="258"/>
                  </a:cubicBezTo>
                  <a:cubicBezTo>
                    <a:pt x="208" y="255"/>
                    <a:pt x="206" y="252"/>
                    <a:pt x="209" y="252"/>
                  </a:cubicBezTo>
                  <a:cubicBezTo>
                    <a:pt x="211" y="252"/>
                    <a:pt x="215" y="248"/>
                    <a:pt x="219" y="244"/>
                  </a:cubicBezTo>
                  <a:cubicBezTo>
                    <a:pt x="223" y="240"/>
                    <a:pt x="225" y="240"/>
                    <a:pt x="229" y="240"/>
                  </a:cubicBezTo>
                  <a:cubicBezTo>
                    <a:pt x="234" y="239"/>
                    <a:pt x="231" y="238"/>
                    <a:pt x="234" y="237"/>
                  </a:cubicBezTo>
                  <a:cubicBezTo>
                    <a:pt x="237" y="236"/>
                    <a:pt x="238" y="234"/>
                    <a:pt x="240" y="232"/>
                  </a:cubicBezTo>
                  <a:cubicBezTo>
                    <a:pt x="242" y="231"/>
                    <a:pt x="249" y="233"/>
                    <a:pt x="253" y="233"/>
                  </a:cubicBezTo>
                  <a:cubicBezTo>
                    <a:pt x="258" y="233"/>
                    <a:pt x="261" y="233"/>
                    <a:pt x="261" y="230"/>
                  </a:cubicBezTo>
                  <a:cubicBezTo>
                    <a:pt x="261" y="228"/>
                    <a:pt x="263" y="225"/>
                    <a:pt x="265" y="225"/>
                  </a:cubicBezTo>
                  <a:cubicBezTo>
                    <a:pt x="268" y="225"/>
                    <a:pt x="269" y="225"/>
                    <a:pt x="269" y="221"/>
                  </a:cubicBezTo>
                  <a:cubicBezTo>
                    <a:pt x="269" y="218"/>
                    <a:pt x="270" y="215"/>
                    <a:pt x="272" y="214"/>
                  </a:cubicBezTo>
                  <a:cubicBezTo>
                    <a:pt x="274" y="212"/>
                    <a:pt x="274" y="209"/>
                    <a:pt x="275" y="206"/>
                  </a:cubicBezTo>
                  <a:cubicBezTo>
                    <a:pt x="276" y="204"/>
                    <a:pt x="278" y="205"/>
                    <a:pt x="278" y="202"/>
                  </a:cubicBezTo>
                  <a:cubicBezTo>
                    <a:pt x="278" y="199"/>
                    <a:pt x="279" y="195"/>
                    <a:pt x="279" y="192"/>
                  </a:cubicBezTo>
                  <a:cubicBezTo>
                    <a:pt x="279" y="190"/>
                    <a:pt x="282" y="190"/>
                    <a:pt x="283" y="188"/>
                  </a:cubicBezTo>
                  <a:cubicBezTo>
                    <a:pt x="285" y="186"/>
                    <a:pt x="282" y="184"/>
                    <a:pt x="284" y="178"/>
                  </a:cubicBezTo>
                  <a:cubicBezTo>
                    <a:pt x="286" y="172"/>
                    <a:pt x="284" y="167"/>
                    <a:pt x="284" y="162"/>
                  </a:cubicBezTo>
                  <a:cubicBezTo>
                    <a:pt x="284" y="157"/>
                    <a:pt x="284" y="152"/>
                    <a:pt x="286" y="151"/>
                  </a:cubicBezTo>
                  <a:cubicBezTo>
                    <a:pt x="288" y="149"/>
                    <a:pt x="287" y="148"/>
                    <a:pt x="286" y="147"/>
                  </a:cubicBezTo>
                  <a:cubicBezTo>
                    <a:pt x="284" y="147"/>
                    <a:pt x="286" y="145"/>
                    <a:pt x="287" y="145"/>
                  </a:cubicBezTo>
                  <a:cubicBezTo>
                    <a:pt x="288" y="145"/>
                    <a:pt x="290" y="148"/>
                    <a:pt x="292" y="147"/>
                  </a:cubicBezTo>
                  <a:cubicBezTo>
                    <a:pt x="294" y="145"/>
                    <a:pt x="296" y="139"/>
                    <a:pt x="298" y="134"/>
                  </a:cubicBezTo>
                  <a:cubicBezTo>
                    <a:pt x="300" y="129"/>
                    <a:pt x="304" y="129"/>
                    <a:pt x="306" y="128"/>
                  </a:cubicBezTo>
                  <a:cubicBezTo>
                    <a:pt x="309" y="127"/>
                    <a:pt x="314" y="121"/>
                    <a:pt x="317" y="112"/>
                  </a:cubicBezTo>
                  <a:cubicBezTo>
                    <a:pt x="321" y="104"/>
                    <a:pt x="317" y="95"/>
                    <a:pt x="316" y="89"/>
                  </a:cubicBezTo>
                  <a:cubicBezTo>
                    <a:pt x="314" y="83"/>
                    <a:pt x="312" y="84"/>
                    <a:pt x="309" y="84"/>
                  </a:cubicBezTo>
                  <a:cubicBezTo>
                    <a:pt x="305" y="85"/>
                    <a:pt x="298" y="84"/>
                    <a:pt x="290" y="74"/>
                  </a:cubicBezTo>
                  <a:cubicBezTo>
                    <a:pt x="281" y="64"/>
                    <a:pt x="272" y="65"/>
                    <a:pt x="266" y="67"/>
                  </a:cubicBezTo>
                  <a:cubicBezTo>
                    <a:pt x="260" y="68"/>
                    <a:pt x="254" y="64"/>
                    <a:pt x="250" y="63"/>
                  </a:cubicBezTo>
                  <a:cubicBezTo>
                    <a:pt x="246" y="62"/>
                    <a:pt x="242" y="67"/>
                    <a:pt x="240" y="68"/>
                  </a:cubicBezTo>
                  <a:cubicBezTo>
                    <a:pt x="237" y="69"/>
                    <a:pt x="241" y="64"/>
                    <a:pt x="241" y="60"/>
                  </a:cubicBezTo>
                  <a:cubicBezTo>
                    <a:pt x="241" y="57"/>
                    <a:pt x="230" y="52"/>
                    <a:pt x="222" y="49"/>
                  </a:cubicBezTo>
                  <a:cubicBezTo>
                    <a:pt x="214" y="46"/>
                    <a:pt x="211" y="47"/>
                    <a:pt x="211" y="53"/>
                  </a:cubicBezTo>
                  <a:cubicBezTo>
                    <a:pt x="211" y="58"/>
                    <a:pt x="207" y="51"/>
                    <a:pt x="205" y="57"/>
                  </a:cubicBezTo>
                  <a:cubicBezTo>
                    <a:pt x="202" y="62"/>
                    <a:pt x="198" y="58"/>
                    <a:pt x="201" y="57"/>
                  </a:cubicBezTo>
                  <a:cubicBezTo>
                    <a:pt x="204" y="55"/>
                    <a:pt x="207" y="51"/>
                    <a:pt x="208" y="47"/>
                  </a:cubicBezTo>
                  <a:cubicBezTo>
                    <a:pt x="209" y="44"/>
                    <a:pt x="196" y="41"/>
                    <a:pt x="191" y="43"/>
                  </a:cubicBezTo>
                  <a:cubicBezTo>
                    <a:pt x="187" y="45"/>
                    <a:pt x="190" y="51"/>
                    <a:pt x="186" y="49"/>
                  </a:cubicBezTo>
                  <a:cubicBezTo>
                    <a:pt x="183" y="47"/>
                    <a:pt x="186" y="43"/>
                    <a:pt x="188" y="43"/>
                  </a:cubicBezTo>
                  <a:cubicBezTo>
                    <a:pt x="191" y="43"/>
                    <a:pt x="194" y="37"/>
                    <a:pt x="196" y="33"/>
                  </a:cubicBezTo>
                  <a:cubicBezTo>
                    <a:pt x="198" y="29"/>
                    <a:pt x="193" y="28"/>
                    <a:pt x="190" y="24"/>
                  </a:cubicBezTo>
                  <a:cubicBezTo>
                    <a:pt x="187" y="21"/>
                    <a:pt x="187" y="10"/>
                    <a:pt x="184" y="9"/>
                  </a:cubicBezTo>
                  <a:cubicBezTo>
                    <a:pt x="181" y="12"/>
                    <a:pt x="176" y="18"/>
                    <a:pt x="175" y="22"/>
                  </a:cubicBezTo>
                  <a:cubicBezTo>
                    <a:pt x="173" y="27"/>
                    <a:pt x="171" y="24"/>
                    <a:pt x="166" y="25"/>
                  </a:cubicBezTo>
                  <a:cubicBezTo>
                    <a:pt x="162" y="27"/>
                    <a:pt x="159" y="25"/>
                    <a:pt x="158" y="23"/>
                  </a:cubicBezTo>
                  <a:cubicBezTo>
                    <a:pt x="157" y="21"/>
                    <a:pt x="152" y="23"/>
                    <a:pt x="149" y="23"/>
                  </a:cubicBezTo>
                  <a:cubicBezTo>
                    <a:pt x="146" y="22"/>
                    <a:pt x="148" y="26"/>
                    <a:pt x="146" y="28"/>
                  </a:cubicBezTo>
                  <a:cubicBezTo>
                    <a:pt x="144" y="29"/>
                    <a:pt x="138" y="25"/>
                    <a:pt x="136" y="27"/>
                  </a:cubicBezTo>
                  <a:cubicBezTo>
                    <a:pt x="134" y="30"/>
                    <a:pt x="133" y="27"/>
                    <a:pt x="132" y="29"/>
                  </a:cubicBezTo>
                  <a:cubicBezTo>
                    <a:pt x="131" y="31"/>
                    <a:pt x="128" y="30"/>
                    <a:pt x="127" y="31"/>
                  </a:cubicBezTo>
                  <a:cubicBezTo>
                    <a:pt x="126" y="32"/>
                    <a:pt x="122" y="33"/>
                    <a:pt x="118" y="28"/>
                  </a:cubicBezTo>
                  <a:cubicBezTo>
                    <a:pt x="114" y="24"/>
                    <a:pt x="114" y="16"/>
                    <a:pt x="116" y="14"/>
                  </a:cubicBezTo>
                  <a:cubicBezTo>
                    <a:pt x="118" y="13"/>
                    <a:pt x="118" y="9"/>
                    <a:pt x="116" y="7"/>
                  </a:cubicBezTo>
                  <a:cubicBezTo>
                    <a:pt x="113" y="6"/>
                    <a:pt x="116" y="1"/>
                    <a:pt x="112" y="1"/>
                  </a:cubicBezTo>
                  <a:cubicBezTo>
                    <a:pt x="109" y="0"/>
                    <a:pt x="109" y="4"/>
                    <a:pt x="107" y="5"/>
                  </a:cubicBezTo>
                  <a:cubicBezTo>
                    <a:pt x="105" y="6"/>
                    <a:pt x="100" y="10"/>
                    <a:pt x="97" y="9"/>
                  </a:cubicBezTo>
                  <a:cubicBezTo>
                    <a:pt x="95" y="9"/>
                    <a:pt x="92" y="10"/>
                    <a:pt x="92" y="12"/>
                  </a:cubicBezTo>
                  <a:cubicBezTo>
                    <a:pt x="92" y="15"/>
                    <a:pt x="89" y="14"/>
                    <a:pt x="89" y="12"/>
                  </a:cubicBezTo>
                  <a:cubicBezTo>
                    <a:pt x="88" y="10"/>
                    <a:pt x="83" y="11"/>
                    <a:pt x="82" y="10"/>
                  </a:cubicBezTo>
                  <a:cubicBezTo>
                    <a:pt x="80" y="8"/>
                    <a:pt x="73" y="9"/>
                    <a:pt x="76" y="11"/>
                  </a:cubicBezTo>
                  <a:cubicBezTo>
                    <a:pt x="79" y="12"/>
                    <a:pt x="79" y="14"/>
                    <a:pt x="79" y="17"/>
                  </a:cubicBezTo>
                  <a:cubicBezTo>
                    <a:pt x="79" y="19"/>
                    <a:pt x="82" y="18"/>
                    <a:pt x="82" y="22"/>
                  </a:cubicBezTo>
                  <a:cubicBezTo>
                    <a:pt x="82" y="25"/>
                    <a:pt x="84" y="23"/>
                    <a:pt x="86" y="23"/>
                  </a:cubicBezTo>
                  <a:cubicBezTo>
                    <a:pt x="87" y="23"/>
                    <a:pt x="87" y="25"/>
                    <a:pt x="85" y="26"/>
                  </a:cubicBezTo>
                  <a:cubicBezTo>
                    <a:pt x="82" y="26"/>
                    <a:pt x="81" y="28"/>
                    <a:pt x="80" y="30"/>
                  </a:cubicBezTo>
                  <a:cubicBezTo>
                    <a:pt x="79" y="33"/>
                    <a:pt x="77" y="31"/>
                    <a:pt x="75" y="33"/>
                  </a:cubicBezTo>
                  <a:cubicBezTo>
                    <a:pt x="73" y="35"/>
                    <a:pt x="71" y="37"/>
                    <a:pt x="69" y="36"/>
                  </a:cubicBezTo>
                  <a:cubicBezTo>
                    <a:pt x="68" y="35"/>
                    <a:pt x="67" y="36"/>
                    <a:pt x="65" y="37"/>
                  </a:cubicBezTo>
                  <a:cubicBezTo>
                    <a:pt x="63" y="38"/>
                    <a:pt x="63" y="37"/>
                    <a:pt x="60" y="35"/>
                  </a:cubicBezTo>
                  <a:cubicBezTo>
                    <a:pt x="58" y="33"/>
                    <a:pt x="57" y="30"/>
                    <a:pt x="54" y="27"/>
                  </a:cubicBezTo>
                  <a:cubicBezTo>
                    <a:pt x="52" y="27"/>
                    <a:pt x="48" y="29"/>
                    <a:pt x="46" y="29"/>
                  </a:cubicBezTo>
                  <a:cubicBezTo>
                    <a:pt x="43" y="29"/>
                    <a:pt x="34" y="28"/>
                    <a:pt x="34" y="30"/>
                  </a:cubicBezTo>
                  <a:cubicBezTo>
                    <a:pt x="33" y="31"/>
                    <a:pt x="35" y="34"/>
                    <a:pt x="36" y="34"/>
                  </a:cubicBezTo>
                  <a:cubicBezTo>
                    <a:pt x="37" y="34"/>
                    <a:pt x="41" y="35"/>
                    <a:pt x="38" y="37"/>
                  </a:cubicBezTo>
                  <a:cubicBezTo>
                    <a:pt x="35" y="40"/>
                    <a:pt x="32" y="37"/>
                    <a:pt x="32" y="42"/>
                  </a:cubicBezTo>
                  <a:cubicBezTo>
                    <a:pt x="32" y="47"/>
                    <a:pt x="39" y="50"/>
                    <a:pt x="37" y="55"/>
                  </a:cubicBezTo>
                  <a:cubicBezTo>
                    <a:pt x="37" y="57"/>
                    <a:pt x="36" y="63"/>
                    <a:pt x="36" y="66"/>
                  </a:cubicBezTo>
                  <a:cubicBezTo>
                    <a:pt x="36" y="68"/>
                    <a:pt x="35" y="76"/>
                    <a:pt x="33" y="77"/>
                  </a:cubicBezTo>
                  <a:cubicBezTo>
                    <a:pt x="30" y="77"/>
                    <a:pt x="29" y="75"/>
                    <a:pt x="26" y="77"/>
                  </a:cubicBezTo>
                  <a:cubicBezTo>
                    <a:pt x="23" y="80"/>
                    <a:pt x="19" y="78"/>
                    <a:pt x="16" y="81"/>
                  </a:cubicBezTo>
                  <a:cubicBezTo>
                    <a:pt x="13" y="83"/>
                    <a:pt x="9" y="82"/>
                    <a:pt x="9" y="86"/>
                  </a:cubicBezTo>
                  <a:cubicBezTo>
                    <a:pt x="9" y="89"/>
                    <a:pt x="5" y="90"/>
                    <a:pt x="6" y="93"/>
                  </a:cubicBezTo>
                  <a:cubicBezTo>
                    <a:pt x="7" y="96"/>
                    <a:pt x="5" y="95"/>
                    <a:pt x="3" y="97"/>
                  </a:cubicBezTo>
                  <a:cubicBezTo>
                    <a:pt x="0" y="100"/>
                    <a:pt x="3" y="101"/>
                    <a:pt x="1" y="103"/>
                  </a:cubicBezTo>
                  <a:cubicBezTo>
                    <a:pt x="0" y="104"/>
                    <a:pt x="2" y="107"/>
                    <a:pt x="4" y="110"/>
                  </a:cubicBezTo>
                  <a:cubicBezTo>
                    <a:pt x="5" y="112"/>
                    <a:pt x="7" y="114"/>
                    <a:pt x="7" y="116"/>
                  </a:cubicBezTo>
                  <a:cubicBezTo>
                    <a:pt x="7" y="119"/>
                    <a:pt x="9" y="120"/>
                    <a:pt x="11" y="120"/>
                  </a:cubicBezTo>
                  <a:cubicBezTo>
                    <a:pt x="13" y="119"/>
                    <a:pt x="11" y="124"/>
                    <a:pt x="15" y="124"/>
                  </a:cubicBezTo>
                  <a:cubicBezTo>
                    <a:pt x="19" y="124"/>
                    <a:pt x="23" y="125"/>
                    <a:pt x="24" y="123"/>
                  </a:cubicBezTo>
                  <a:cubicBezTo>
                    <a:pt x="25" y="121"/>
                    <a:pt x="27" y="119"/>
                    <a:pt x="27" y="122"/>
                  </a:cubicBezTo>
                  <a:cubicBezTo>
                    <a:pt x="27" y="125"/>
                    <a:pt x="27" y="134"/>
                    <a:pt x="29" y="133"/>
                  </a:cubicBezTo>
                  <a:cubicBezTo>
                    <a:pt x="32" y="132"/>
                    <a:pt x="37" y="132"/>
                    <a:pt x="40" y="133"/>
                  </a:cubicBezTo>
                  <a:cubicBezTo>
                    <a:pt x="42" y="134"/>
                    <a:pt x="45" y="133"/>
                    <a:pt x="47" y="131"/>
                  </a:cubicBezTo>
                  <a:cubicBezTo>
                    <a:pt x="48" y="130"/>
                    <a:pt x="50" y="130"/>
                    <a:pt x="54" y="128"/>
                  </a:cubicBezTo>
                  <a:cubicBezTo>
                    <a:pt x="57" y="126"/>
                    <a:pt x="60" y="123"/>
                    <a:pt x="63" y="123"/>
                  </a:cubicBezTo>
                  <a:cubicBezTo>
                    <a:pt x="66" y="123"/>
                    <a:pt x="71" y="121"/>
                    <a:pt x="71" y="124"/>
                  </a:cubicBezTo>
                  <a:cubicBezTo>
                    <a:pt x="70" y="126"/>
                    <a:pt x="69" y="135"/>
                    <a:pt x="73" y="140"/>
                  </a:cubicBezTo>
                  <a:cubicBezTo>
                    <a:pt x="77" y="144"/>
                    <a:pt x="79" y="146"/>
                    <a:pt x="83" y="145"/>
                  </a:cubicBezTo>
                  <a:cubicBezTo>
                    <a:pt x="86" y="145"/>
                    <a:pt x="86" y="147"/>
                    <a:pt x="88" y="146"/>
                  </a:cubicBezTo>
                  <a:cubicBezTo>
                    <a:pt x="91" y="146"/>
                    <a:pt x="89" y="149"/>
                    <a:pt x="92" y="149"/>
                  </a:cubicBezTo>
                  <a:cubicBezTo>
                    <a:pt x="94" y="149"/>
                    <a:pt x="98" y="150"/>
                    <a:pt x="98" y="152"/>
                  </a:cubicBezTo>
                  <a:cubicBezTo>
                    <a:pt x="98" y="155"/>
                    <a:pt x="106" y="153"/>
                    <a:pt x="107" y="154"/>
                  </a:cubicBezTo>
                  <a:cubicBezTo>
                    <a:pt x="109" y="156"/>
                    <a:pt x="111" y="157"/>
                    <a:pt x="110" y="160"/>
                  </a:cubicBezTo>
                  <a:cubicBezTo>
                    <a:pt x="110" y="163"/>
                    <a:pt x="114" y="165"/>
                    <a:pt x="112" y="166"/>
                  </a:cubicBezTo>
                  <a:cubicBezTo>
                    <a:pt x="109" y="167"/>
                    <a:pt x="112" y="169"/>
                    <a:pt x="112" y="173"/>
                  </a:cubicBezTo>
                  <a:cubicBezTo>
                    <a:pt x="113" y="176"/>
                    <a:pt x="116" y="177"/>
                    <a:pt x="121" y="177"/>
                  </a:cubicBezTo>
                  <a:cubicBezTo>
                    <a:pt x="127" y="176"/>
                    <a:pt x="128" y="177"/>
                    <a:pt x="128" y="181"/>
                  </a:cubicBezTo>
                  <a:cubicBezTo>
                    <a:pt x="128" y="184"/>
                    <a:pt x="132" y="185"/>
                    <a:pt x="133" y="189"/>
                  </a:cubicBezTo>
                  <a:cubicBezTo>
                    <a:pt x="134" y="192"/>
                    <a:pt x="131" y="196"/>
                    <a:pt x="132" y="199"/>
                  </a:cubicBezTo>
                  <a:cubicBezTo>
                    <a:pt x="132" y="201"/>
                    <a:pt x="131" y="203"/>
                    <a:pt x="129" y="204"/>
                  </a:cubicBezTo>
                  <a:cubicBezTo>
                    <a:pt x="131" y="207"/>
                    <a:pt x="131" y="208"/>
                    <a:pt x="130" y="209"/>
                  </a:cubicBezTo>
                  <a:cubicBezTo>
                    <a:pt x="127" y="210"/>
                    <a:pt x="132" y="213"/>
                    <a:pt x="131" y="219"/>
                  </a:cubicBezTo>
                  <a:cubicBezTo>
                    <a:pt x="130" y="224"/>
                    <a:pt x="130" y="225"/>
                    <a:pt x="135" y="225"/>
                  </a:cubicBezTo>
                  <a:cubicBezTo>
                    <a:pt x="141" y="225"/>
                    <a:pt x="140" y="227"/>
                    <a:pt x="142" y="226"/>
                  </a:cubicBezTo>
                  <a:cubicBezTo>
                    <a:pt x="144" y="225"/>
                    <a:pt x="147" y="230"/>
                    <a:pt x="148" y="233"/>
                  </a:cubicBezTo>
                  <a:cubicBezTo>
                    <a:pt x="148" y="235"/>
                    <a:pt x="151" y="242"/>
                    <a:pt x="152" y="242"/>
                  </a:cubicBezTo>
                  <a:cubicBezTo>
                    <a:pt x="153" y="242"/>
                    <a:pt x="155" y="239"/>
                    <a:pt x="158" y="240"/>
                  </a:cubicBezTo>
                  <a:cubicBezTo>
                    <a:pt x="161" y="241"/>
                    <a:pt x="158" y="251"/>
                    <a:pt x="158" y="255"/>
                  </a:cubicBezTo>
                  <a:cubicBezTo>
                    <a:pt x="160" y="254"/>
                    <a:pt x="162" y="254"/>
                    <a:pt x="163" y="255"/>
                  </a:cubicBezTo>
                  <a:cubicBezTo>
                    <a:pt x="164" y="256"/>
                    <a:pt x="165" y="265"/>
                    <a:pt x="164" y="267"/>
                  </a:cubicBezTo>
                  <a:cubicBezTo>
                    <a:pt x="164" y="269"/>
                    <a:pt x="158" y="271"/>
                    <a:pt x="155" y="273"/>
                  </a:cubicBezTo>
                  <a:cubicBezTo>
                    <a:pt x="152" y="275"/>
                    <a:pt x="144" y="282"/>
                    <a:pt x="141" y="287"/>
                  </a:cubicBezTo>
                  <a:cubicBezTo>
                    <a:pt x="139" y="291"/>
                    <a:pt x="136" y="293"/>
                    <a:pt x="134" y="296"/>
                  </a:cubicBezTo>
                  <a:cubicBezTo>
                    <a:pt x="135" y="296"/>
                    <a:pt x="135" y="296"/>
                    <a:pt x="136" y="296"/>
                  </a:cubicBezTo>
                  <a:cubicBezTo>
                    <a:pt x="138" y="295"/>
                    <a:pt x="140" y="295"/>
                    <a:pt x="143" y="298"/>
                  </a:cubicBezTo>
                  <a:cubicBezTo>
                    <a:pt x="146" y="301"/>
                    <a:pt x="145" y="304"/>
                    <a:pt x="146" y="304"/>
                  </a:cubicBezTo>
                  <a:cubicBezTo>
                    <a:pt x="148" y="303"/>
                    <a:pt x="149" y="299"/>
                    <a:pt x="151" y="302"/>
                  </a:cubicBezTo>
                  <a:cubicBezTo>
                    <a:pt x="153" y="305"/>
                    <a:pt x="159" y="308"/>
                    <a:pt x="160" y="309"/>
                  </a:cubicBezTo>
                  <a:cubicBezTo>
                    <a:pt x="161" y="311"/>
                    <a:pt x="165" y="312"/>
                    <a:pt x="165" y="316"/>
                  </a:cubicBezTo>
                  <a:cubicBezTo>
                    <a:pt x="165" y="318"/>
                    <a:pt x="164" y="323"/>
                    <a:pt x="166" y="328"/>
                  </a:cubicBezTo>
                  <a:cubicBezTo>
                    <a:pt x="167" y="326"/>
                    <a:pt x="168" y="325"/>
                    <a:pt x="170" y="32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3" name="Freeform 290">
              <a:extLst>
                <a:ext uri="{FF2B5EF4-FFF2-40B4-BE49-F238E27FC236}">
                  <a16:creationId xmlns:a16="http://schemas.microsoft.com/office/drawing/2014/main" id="{23A09271-3D4B-776E-EBAB-59E5341195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430" y="5229368"/>
              <a:ext cx="150793" cy="165079"/>
            </a:xfrm>
            <a:custGeom>
              <a:avLst/>
              <a:gdLst>
                <a:gd name="T0" fmla="*/ 39 w 40"/>
                <a:gd name="T1" fmla="*/ 21 h 44"/>
                <a:gd name="T2" fmla="*/ 34 w 40"/>
                <a:gd name="T3" fmla="*/ 14 h 44"/>
                <a:gd name="T4" fmla="*/ 25 w 40"/>
                <a:gd name="T5" fmla="*/ 7 h 44"/>
                <a:gd name="T6" fmla="*/ 20 w 40"/>
                <a:gd name="T7" fmla="*/ 9 h 44"/>
                <a:gd name="T8" fmla="*/ 17 w 40"/>
                <a:gd name="T9" fmla="*/ 3 h 44"/>
                <a:gd name="T10" fmla="*/ 10 w 40"/>
                <a:gd name="T11" fmla="*/ 1 h 44"/>
                <a:gd name="T12" fmla="*/ 8 w 40"/>
                <a:gd name="T13" fmla="*/ 1 h 44"/>
                <a:gd name="T14" fmla="*/ 5 w 40"/>
                <a:gd name="T15" fmla="*/ 5 h 44"/>
                <a:gd name="T16" fmla="*/ 2 w 40"/>
                <a:gd name="T17" fmla="*/ 19 h 44"/>
                <a:gd name="T18" fmla="*/ 0 w 40"/>
                <a:gd name="T19" fmla="*/ 29 h 44"/>
                <a:gd name="T20" fmla="*/ 3 w 40"/>
                <a:gd name="T21" fmla="*/ 34 h 44"/>
                <a:gd name="T22" fmla="*/ 2 w 40"/>
                <a:gd name="T23" fmla="*/ 38 h 44"/>
                <a:gd name="T24" fmla="*/ 5 w 40"/>
                <a:gd name="T25" fmla="*/ 39 h 44"/>
                <a:gd name="T26" fmla="*/ 15 w 40"/>
                <a:gd name="T27" fmla="*/ 42 h 44"/>
                <a:gd name="T28" fmla="*/ 22 w 40"/>
                <a:gd name="T29" fmla="*/ 42 h 44"/>
                <a:gd name="T30" fmla="*/ 34 w 40"/>
                <a:gd name="T31" fmla="*/ 40 h 44"/>
                <a:gd name="T32" fmla="*/ 40 w 40"/>
                <a:gd name="T33" fmla="*/ 33 h 44"/>
                <a:gd name="T34" fmla="*/ 39 w 40"/>
                <a:gd name="T35" fmla="*/ 2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" h="44">
                  <a:moveTo>
                    <a:pt x="39" y="21"/>
                  </a:moveTo>
                  <a:cubicBezTo>
                    <a:pt x="39" y="17"/>
                    <a:pt x="35" y="16"/>
                    <a:pt x="34" y="14"/>
                  </a:cubicBezTo>
                  <a:cubicBezTo>
                    <a:pt x="33" y="13"/>
                    <a:pt x="27" y="10"/>
                    <a:pt x="25" y="7"/>
                  </a:cubicBezTo>
                  <a:cubicBezTo>
                    <a:pt x="23" y="4"/>
                    <a:pt x="22" y="8"/>
                    <a:pt x="20" y="9"/>
                  </a:cubicBezTo>
                  <a:cubicBezTo>
                    <a:pt x="19" y="9"/>
                    <a:pt x="20" y="6"/>
                    <a:pt x="17" y="3"/>
                  </a:cubicBezTo>
                  <a:cubicBezTo>
                    <a:pt x="14" y="0"/>
                    <a:pt x="12" y="0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6" y="2"/>
                    <a:pt x="5" y="4"/>
                    <a:pt x="5" y="5"/>
                  </a:cubicBezTo>
                  <a:cubicBezTo>
                    <a:pt x="5" y="9"/>
                    <a:pt x="3" y="12"/>
                    <a:pt x="2" y="19"/>
                  </a:cubicBezTo>
                  <a:cubicBezTo>
                    <a:pt x="2" y="25"/>
                    <a:pt x="0" y="24"/>
                    <a:pt x="0" y="29"/>
                  </a:cubicBezTo>
                  <a:cubicBezTo>
                    <a:pt x="0" y="34"/>
                    <a:pt x="2" y="34"/>
                    <a:pt x="3" y="34"/>
                  </a:cubicBezTo>
                  <a:cubicBezTo>
                    <a:pt x="3" y="35"/>
                    <a:pt x="2" y="36"/>
                    <a:pt x="2" y="38"/>
                  </a:cubicBezTo>
                  <a:cubicBezTo>
                    <a:pt x="3" y="38"/>
                    <a:pt x="3" y="39"/>
                    <a:pt x="5" y="39"/>
                  </a:cubicBezTo>
                  <a:cubicBezTo>
                    <a:pt x="8" y="39"/>
                    <a:pt x="12" y="40"/>
                    <a:pt x="15" y="42"/>
                  </a:cubicBezTo>
                  <a:cubicBezTo>
                    <a:pt x="19" y="44"/>
                    <a:pt x="18" y="41"/>
                    <a:pt x="22" y="42"/>
                  </a:cubicBezTo>
                  <a:cubicBezTo>
                    <a:pt x="25" y="42"/>
                    <a:pt x="30" y="43"/>
                    <a:pt x="34" y="40"/>
                  </a:cubicBezTo>
                  <a:cubicBezTo>
                    <a:pt x="37" y="39"/>
                    <a:pt x="38" y="36"/>
                    <a:pt x="40" y="33"/>
                  </a:cubicBezTo>
                  <a:cubicBezTo>
                    <a:pt x="38" y="28"/>
                    <a:pt x="39" y="23"/>
                    <a:pt x="39" y="2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4" name="Freeform 291">
              <a:extLst>
                <a:ext uri="{FF2B5EF4-FFF2-40B4-BE49-F238E27FC236}">
                  <a16:creationId xmlns:a16="http://schemas.microsoft.com/office/drawing/2014/main" id="{1F8C390E-D51C-22D8-F7CC-29629AF257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9347" y="4951597"/>
              <a:ext cx="611108" cy="1209518"/>
            </a:xfrm>
            <a:custGeom>
              <a:avLst/>
              <a:gdLst>
                <a:gd name="T0" fmla="*/ 46 w 163"/>
                <a:gd name="T1" fmla="*/ 305 h 322"/>
                <a:gd name="T2" fmla="*/ 43 w 163"/>
                <a:gd name="T3" fmla="*/ 298 h 322"/>
                <a:gd name="T4" fmla="*/ 40 w 163"/>
                <a:gd name="T5" fmla="*/ 320 h 322"/>
                <a:gd name="T6" fmla="*/ 57 w 163"/>
                <a:gd name="T7" fmla="*/ 321 h 322"/>
                <a:gd name="T8" fmla="*/ 62 w 163"/>
                <a:gd name="T9" fmla="*/ 315 h 322"/>
                <a:gd name="T10" fmla="*/ 156 w 163"/>
                <a:gd name="T11" fmla="*/ 34 h 322"/>
                <a:gd name="T12" fmla="*/ 152 w 163"/>
                <a:gd name="T13" fmla="*/ 46 h 322"/>
                <a:gd name="T14" fmla="*/ 138 w 163"/>
                <a:gd name="T15" fmla="*/ 51 h 322"/>
                <a:gd name="T16" fmla="*/ 123 w 163"/>
                <a:gd name="T17" fmla="*/ 48 h 322"/>
                <a:gd name="T18" fmla="*/ 132 w 163"/>
                <a:gd name="T19" fmla="*/ 32 h 322"/>
                <a:gd name="T20" fmla="*/ 108 w 163"/>
                <a:gd name="T21" fmla="*/ 20 h 322"/>
                <a:gd name="T22" fmla="*/ 88 w 163"/>
                <a:gd name="T23" fmla="*/ 3 h 322"/>
                <a:gd name="T24" fmla="*/ 75 w 163"/>
                <a:gd name="T25" fmla="*/ 8 h 322"/>
                <a:gd name="T26" fmla="*/ 59 w 163"/>
                <a:gd name="T27" fmla="*/ 4 h 322"/>
                <a:gd name="T28" fmla="*/ 51 w 163"/>
                <a:gd name="T29" fmla="*/ 19 h 322"/>
                <a:gd name="T30" fmla="*/ 42 w 163"/>
                <a:gd name="T31" fmla="*/ 32 h 322"/>
                <a:gd name="T32" fmla="*/ 43 w 163"/>
                <a:gd name="T33" fmla="*/ 46 h 322"/>
                <a:gd name="T34" fmla="*/ 35 w 163"/>
                <a:gd name="T35" fmla="*/ 56 h 322"/>
                <a:gd name="T36" fmla="*/ 30 w 163"/>
                <a:gd name="T37" fmla="*/ 68 h 322"/>
                <a:gd name="T38" fmla="*/ 26 w 163"/>
                <a:gd name="T39" fmla="*/ 82 h 322"/>
                <a:gd name="T40" fmla="*/ 29 w 163"/>
                <a:gd name="T41" fmla="*/ 99 h 322"/>
                <a:gd name="T42" fmla="*/ 29 w 163"/>
                <a:gd name="T43" fmla="*/ 113 h 322"/>
                <a:gd name="T44" fmla="*/ 26 w 163"/>
                <a:gd name="T45" fmla="*/ 129 h 322"/>
                <a:gd name="T46" fmla="*/ 20 w 163"/>
                <a:gd name="T47" fmla="*/ 147 h 322"/>
                <a:gd name="T48" fmla="*/ 18 w 163"/>
                <a:gd name="T49" fmla="*/ 155 h 322"/>
                <a:gd name="T50" fmla="*/ 15 w 163"/>
                <a:gd name="T51" fmla="*/ 166 h 322"/>
                <a:gd name="T52" fmla="*/ 15 w 163"/>
                <a:gd name="T53" fmla="*/ 177 h 322"/>
                <a:gd name="T54" fmla="*/ 13 w 163"/>
                <a:gd name="T55" fmla="*/ 194 h 322"/>
                <a:gd name="T56" fmla="*/ 15 w 163"/>
                <a:gd name="T57" fmla="*/ 204 h 322"/>
                <a:gd name="T58" fmla="*/ 19 w 163"/>
                <a:gd name="T59" fmla="*/ 212 h 322"/>
                <a:gd name="T60" fmla="*/ 17 w 163"/>
                <a:gd name="T61" fmla="*/ 219 h 322"/>
                <a:gd name="T62" fmla="*/ 15 w 163"/>
                <a:gd name="T63" fmla="*/ 231 h 322"/>
                <a:gd name="T64" fmla="*/ 9 w 163"/>
                <a:gd name="T65" fmla="*/ 242 h 322"/>
                <a:gd name="T66" fmla="*/ 6 w 163"/>
                <a:gd name="T67" fmla="*/ 254 h 322"/>
                <a:gd name="T68" fmla="*/ 2 w 163"/>
                <a:gd name="T69" fmla="*/ 267 h 322"/>
                <a:gd name="T70" fmla="*/ 11 w 163"/>
                <a:gd name="T71" fmla="*/ 274 h 322"/>
                <a:gd name="T72" fmla="*/ 15 w 163"/>
                <a:gd name="T73" fmla="*/ 287 h 322"/>
                <a:gd name="T74" fmla="*/ 34 w 163"/>
                <a:gd name="T75" fmla="*/ 289 h 322"/>
                <a:gd name="T76" fmla="*/ 37 w 163"/>
                <a:gd name="T77" fmla="*/ 283 h 322"/>
                <a:gd name="T78" fmla="*/ 38 w 163"/>
                <a:gd name="T79" fmla="*/ 269 h 322"/>
                <a:gd name="T80" fmla="*/ 47 w 163"/>
                <a:gd name="T81" fmla="*/ 260 h 322"/>
                <a:gd name="T82" fmla="*/ 62 w 163"/>
                <a:gd name="T83" fmla="*/ 243 h 322"/>
                <a:gd name="T84" fmla="*/ 56 w 163"/>
                <a:gd name="T85" fmla="*/ 233 h 322"/>
                <a:gd name="T86" fmla="*/ 64 w 163"/>
                <a:gd name="T87" fmla="*/ 214 h 322"/>
                <a:gd name="T88" fmla="*/ 68 w 163"/>
                <a:gd name="T89" fmla="*/ 204 h 322"/>
                <a:gd name="T90" fmla="*/ 73 w 163"/>
                <a:gd name="T91" fmla="*/ 193 h 322"/>
                <a:gd name="T92" fmla="*/ 78 w 163"/>
                <a:gd name="T93" fmla="*/ 192 h 322"/>
                <a:gd name="T94" fmla="*/ 75 w 163"/>
                <a:gd name="T95" fmla="*/ 188 h 322"/>
                <a:gd name="T96" fmla="*/ 70 w 163"/>
                <a:gd name="T97" fmla="*/ 179 h 322"/>
                <a:gd name="T98" fmla="*/ 82 w 163"/>
                <a:gd name="T99" fmla="*/ 175 h 322"/>
                <a:gd name="T100" fmla="*/ 92 w 163"/>
                <a:gd name="T101" fmla="*/ 163 h 322"/>
                <a:gd name="T102" fmla="*/ 95 w 163"/>
                <a:gd name="T103" fmla="*/ 154 h 322"/>
                <a:gd name="T104" fmla="*/ 131 w 163"/>
                <a:gd name="T105" fmla="*/ 145 h 322"/>
                <a:gd name="T106" fmla="*/ 135 w 163"/>
                <a:gd name="T107" fmla="*/ 129 h 322"/>
                <a:gd name="T108" fmla="*/ 129 w 163"/>
                <a:gd name="T109" fmla="*/ 118 h 322"/>
                <a:gd name="T110" fmla="*/ 126 w 163"/>
                <a:gd name="T111" fmla="*/ 112 h 322"/>
                <a:gd name="T112" fmla="*/ 124 w 163"/>
                <a:gd name="T113" fmla="*/ 103 h 322"/>
                <a:gd name="T114" fmla="*/ 129 w 163"/>
                <a:gd name="T115" fmla="*/ 79 h 322"/>
                <a:gd name="T116" fmla="*/ 153 w 163"/>
                <a:gd name="T117" fmla="*/ 52 h 322"/>
                <a:gd name="T118" fmla="*/ 161 w 163"/>
                <a:gd name="T119" fmla="*/ 34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3" h="322">
                  <a:moveTo>
                    <a:pt x="62" y="315"/>
                  </a:moveTo>
                  <a:cubicBezTo>
                    <a:pt x="58" y="315"/>
                    <a:pt x="49" y="307"/>
                    <a:pt x="46" y="305"/>
                  </a:cubicBezTo>
                  <a:cubicBezTo>
                    <a:pt x="44" y="303"/>
                    <a:pt x="46" y="301"/>
                    <a:pt x="42" y="301"/>
                  </a:cubicBezTo>
                  <a:cubicBezTo>
                    <a:pt x="39" y="302"/>
                    <a:pt x="41" y="299"/>
                    <a:pt x="43" y="298"/>
                  </a:cubicBezTo>
                  <a:cubicBezTo>
                    <a:pt x="45" y="297"/>
                    <a:pt x="42" y="294"/>
                    <a:pt x="40" y="293"/>
                  </a:cubicBezTo>
                  <a:cubicBezTo>
                    <a:pt x="40" y="298"/>
                    <a:pt x="39" y="320"/>
                    <a:pt x="40" y="320"/>
                  </a:cubicBezTo>
                  <a:cubicBezTo>
                    <a:pt x="42" y="320"/>
                    <a:pt x="51" y="319"/>
                    <a:pt x="54" y="321"/>
                  </a:cubicBezTo>
                  <a:cubicBezTo>
                    <a:pt x="55" y="321"/>
                    <a:pt x="56" y="322"/>
                    <a:pt x="57" y="321"/>
                  </a:cubicBezTo>
                  <a:cubicBezTo>
                    <a:pt x="59" y="319"/>
                    <a:pt x="65" y="320"/>
                    <a:pt x="67" y="318"/>
                  </a:cubicBezTo>
                  <a:cubicBezTo>
                    <a:pt x="70" y="316"/>
                    <a:pt x="67" y="316"/>
                    <a:pt x="62" y="315"/>
                  </a:cubicBezTo>
                  <a:close/>
                  <a:moveTo>
                    <a:pt x="161" y="34"/>
                  </a:moveTo>
                  <a:cubicBezTo>
                    <a:pt x="160" y="33"/>
                    <a:pt x="158" y="33"/>
                    <a:pt x="156" y="34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6" y="38"/>
                    <a:pt x="154" y="46"/>
                    <a:pt x="152" y="46"/>
                  </a:cubicBezTo>
                  <a:cubicBezTo>
                    <a:pt x="149" y="46"/>
                    <a:pt x="147" y="50"/>
                    <a:pt x="145" y="49"/>
                  </a:cubicBezTo>
                  <a:cubicBezTo>
                    <a:pt x="143" y="49"/>
                    <a:pt x="141" y="52"/>
                    <a:pt x="138" y="51"/>
                  </a:cubicBezTo>
                  <a:cubicBezTo>
                    <a:pt x="136" y="49"/>
                    <a:pt x="132" y="51"/>
                    <a:pt x="131" y="50"/>
                  </a:cubicBezTo>
                  <a:cubicBezTo>
                    <a:pt x="129" y="49"/>
                    <a:pt x="123" y="50"/>
                    <a:pt x="123" y="48"/>
                  </a:cubicBezTo>
                  <a:cubicBezTo>
                    <a:pt x="123" y="47"/>
                    <a:pt x="126" y="47"/>
                    <a:pt x="126" y="43"/>
                  </a:cubicBezTo>
                  <a:cubicBezTo>
                    <a:pt x="126" y="39"/>
                    <a:pt x="133" y="34"/>
                    <a:pt x="132" y="32"/>
                  </a:cubicBezTo>
                  <a:cubicBezTo>
                    <a:pt x="131" y="30"/>
                    <a:pt x="119" y="27"/>
                    <a:pt x="117" y="25"/>
                  </a:cubicBezTo>
                  <a:cubicBezTo>
                    <a:pt x="115" y="22"/>
                    <a:pt x="113" y="21"/>
                    <a:pt x="108" y="20"/>
                  </a:cubicBezTo>
                  <a:cubicBezTo>
                    <a:pt x="103" y="20"/>
                    <a:pt x="103" y="17"/>
                    <a:pt x="99" y="15"/>
                  </a:cubicBezTo>
                  <a:cubicBezTo>
                    <a:pt x="96" y="12"/>
                    <a:pt x="90" y="6"/>
                    <a:pt x="88" y="3"/>
                  </a:cubicBezTo>
                  <a:cubicBezTo>
                    <a:pt x="85" y="3"/>
                    <a:pt x="81" y="2"/>
                    <a:pt x="80" y="3"/>
                  </a:cubicBezTo>
                  <a:cubicBezTo>
                    <a:pt x="79" y="5"/>
                    <a:pt x="77" y="11"/>
                    <a:pt x="75" y="8"/>
                  </a:cubicBezTo>
                  <a:cubicBezTo>
                    <a:pt x="74" y="5"/>
                    <a:pt x="70" y="5"/>
                    <a:pt x="66" y="4"/>
                  </a:cubicBezTo>
                  <a:cubicBezTo>
                    <a:pt x="62" y="4"/>
                    <a:pt x="63" y="0"/>
                    <a:pt x="59" y="4"/>
                  </a:cubicBezTo>
                  <a:cubicBezTo>
                    <a:pt x="57" y="6"/>
                    <a:pt x="55" y="8"/>
                    <a:pt x="53" y="9"/>
                  </a:cubicBezTo>
                  <a:cubicBezTo>
                    <a:pt x="53" y="13"/>
                    <a:pt x="52" y="17"/>
                    <a:pt x="51" y="19"/>
                  </a:cubicBezTo>
                  <a:cubicBezTo>
                    <a:pt x="50" y="20"/>
                    <a:pt x="42" y="24"/>
                    <a:pt x="42" y="26"/>
                  </a:cubicBezTo>
                  <a:cubicBezTo>
                    <a:pt x="42" y="28"/>
                    <a:pt x="43" y="30"/>
                    <a:pt x="42" y="32"/>
                  </a:cubicBezTo>
                  <a:cubicBezTo>
                    <a:pt x="40" y="33"/>
                    <a:pt x="45" y="39"/>
                    <a:pt x="42" y="40"/>
                  </a:cubicBezTo>
                  <a:cubicBezTo>
                    <a:pt x="40" y="42"/>
                    <a:pt x="44" y="44"/>
                    <a:pt x="43" y="46"/>
                  </a:cubicBezTo>
                  <a:cubicBezTo>
                    <a:pt x="41" y="47"/>
                    <a:pt x="38" y="48"/>
                    <a:pt x="38" y="50"/>
                  </a:cubicBezTo>
                  <a:cubicBezTo>
                    <a:pt x="38" y="51"/>
                    <a:pt x="38" y="55"/>
                    <a:pt x="35" y="56"/>
                  </a:cubicBezTo>
                  <a:cubicBezTo>
                    <a:pt x="33" y="57"/>
                    <a:pt x="32" y="61"/>
                    <a:pt x="32" y="64"/>
                  </a:cubicBezTo>
                  <a:cubicBezTo>
                    <a:pt x="32" y="66"/>
                    <a:pt x="28" y="64"/>
                    <a:pt x="30" y="68"/>
                  </a:cubicBezTo>
                  <a:cubicBezTo>
                    <a:pt x="31" y="71"/>
                    <a:pt x="32" y="75"/>
                    <a:pt x="30" y="76"/>
                  </a:cubicBezTo>
                  <a:cubicBezTo>
                    <a:pt x="27" y="77"/>
                    <a:pt x="28" y="82"/>
                    <a:pt x="26" y="82"/>
                  </a:cubicBezTo>
                  <a:cubicBezTo>
                    <a:pt x="25" y="82"/>
                    <a:pt x="24" y="88"/>
                    <a:pt x="26" y="91"/>
                  </a:cubicBezTo>
                  <a:cubicBezTo>
                    <a:pt x="28" y="94"/>
                    <a:pt x="29" y="96"/>
                    <a:pt x="29" y="99"/>
                  </a:cubicBezTo>
                  <a:cubicBezTo>
                    <a:pt x="29" y="102"/>
                    <a:pt x="32" y="103"/>
                    <a:pt x="31" y="106"/>
                  </a:cubicBezTo>
                  <a:cubicBezTo>
                    <a:pt x="30" y="109"/>
                    <a:pt x="30" y="112"/>
                    <a:pt x="29" y="113"/>
                  </a:cubicBezTo>
                  <a:cubicBezTo>
                    <a:pt x="27" y="114"/>
                    <a:pt x="28" y="118"/>
                    <a:pt x="26" y="119"/>
                  </a:cubicBezTo>
                  <a:cubicBezTo>
                    <a:pt x="24" y="120"/>
                    <a:pt x="28" y="127"/>
                    <a:pt x="26" y="129"/>
                  </a:cubicBezTo>
                  <a:cubicBezTo>
                    <a:pt x="25" y="130"/>
                    <a:pt x="20" y="131"/>
                    <a:pt x="20" y="137"/>
                  </a:cubicBezTo>
                  <a:cubicBezTo>
                    <a:pt x="20" y="142"/>
                    <a:pt x="21" y="145"/>
                    <a:pt x="20" y="147"/>
                  </a:cubicBezTo>
                  <a:cubicBezTo>
                    <a:pt x="20" y="149"/>
                    <a:pt x="23" y="149"/>
                    <a:pt x="22" y="152"/>
                  </a:cubicBezTo>
                  <a:cubicBezTo>
                    <a:pt x="22" y="155"/>
                    <a:pt x="18" y="153"/>
                    <a:pt x="18" y="155"/>
                  </a:cubicBezTo>
                  <a:cubicBezTo>
                    <a:pt x="18" y="157"/>
                    <a:pt x="19" y="161"/>
                    <a:pt x="17" y="161"/>
                  </a:cubicBezTo>
                  <a:cubicBezTo>
                    <a:pt x="16" y="161"/>
                    <a:pt x="15" y="163"/>
                    <a:pt x="15" y="166"/>
                  </a:cubicBezTo>
                  <a:cubicBezTo>
                    <a:pt x="15" y="170"/>
                    <a:pt x="13" y="170"/>
                    <a:pt x="13" y="172"/>
                  </a:cubicBezTo>
                  <a:cubicBezTo>
                    <a:pt x="13" y="173"/>
                    <a:pt x="15" y="175"/>
                    <a:pt x="15" y="177"/>
                  </a:cubicBezTo>
                  <a:cubicBezTo>
                    <a:pt x="15" y="179"/>
                    <a:pt x="16" y="186"/>
                    <a:pt x="14" y="186"/>
                  </a:cubicBezTo>
                  <a:cubicBezTo>
                    <a:pt x="12" y="186"/>
                    <a:pt x="12" y="193"/>
                    <a:pt x="13" y="194"/>
                  </a:cubicBezTo>
                  <a:cubicBezTo>
                    <a:pt x="14" y="195"/>
                    <a:pt x="14" y="197"/>
                    <a:pt x="14" y="199"/>
                  </a:cubicBezTo>
                  <a:cubicBezTo>
                    <a:pt x="13" y="200"/>
                    <a:pt x="17" y="202"/>
                    <a:pt x="15" y="204"/>
                  </a:cubicBezTo>
                  <a:cubicBezTo>
                    <a:pt x="13" y="206"/>
                    <a:pt x="14" y="209"/>
                    <a:pt x="17" y="208"/>
                  </a:cubicBezTo>
                  <a:cubicBezTo>
                    <a:pt x="20" y="207"/>
                    <a:pt x="21" y="212"/>
                    <a:pt x="19" y="212"/>
                  </a:cubicBezTo>
                  <a:cubicBezTo>
                    <a:pt x="16" y="212"/>
                    <a:pt x="13" y="212"/>
                    <a:pt x="15" y="213"/>
                  </a:cubicBezTo>
                  <a:cubicBezTo>
                    <a:pt x="18" y="215"/>
                    <a:pt x="20" y="217"/>
                    <a:pt x="17" y="219"/>
                  </a:cubicBezTo>
                  <a:cubicBezTo>
                    <a:pt x="13" y="220"/>
                    <a:pt x="16" y="222"/>
                    <a:pt x="15" y="225"/>
                  </a:cubicBezTo>
                  <a:cubicBezTo>
                    <a:pt x="15" y="228"/>
                    <a:pt x="18" y="230"/>
                    <a:pt x="15" y="231"/>
                  </a:cubicBezTo>
                  <a:cubicBezTo>
                    <a:pt x="13" y="232"/>
                    <a:pt x="16" y="236"/>
                    <a:pt x="13" y="237"/>
                  </a:cubicBezTo>
                  <a:cubicBezTo>
                    <a:pt x="9" y="237"/>
                    <a:pt x="12" y="240"/>
                    <a:pt x="9" y="242"/>
                  </a:cubicBezTo>
                  <a:cubicBezTo>
                    <a:pt x="7" y="244"/>
                    <a:pt x="12" y="247"/>
                    <a:pt x="10" y="248"/>
                  </a:cubicBezTo>
                  <a:cubicBezTo>
                    <a:pt x="7" y="250"/>
                    <a:pt x="9" y="254"/>
                    <a:pt x="6" y="254"/>
                  </a:cubicBezTo>
                  <a:cubicBezTo>
                    <a:pt x="4" y="254"/>
                    <a:pt x="2" y="257"/>
                    <a:pt x="2" y="259"/>
                  </a:cubicBezTo>
                  <a:cubicBezTo>
                    <a:pt x="2" y="261"/>
                    <a:pt x="0" y="264"/>
                    <a:pt x="2" y="267"/>
                  </a:cubicBezTo>
                  <a:cubicBezTo>
                    <a:pt x="4" y="269"/>
                    <a:pt x="2" y="271"/>
                    <a:pt x="4" y="272"/>
                  </a:cubicBezTo>
                  <a:cubicBezTo>
                    <a:pt x="5" y="273"/>
                    <a:pt x="12" y="271"/>
                    <a:pt x="11" y="274"/>
                  </a:cubicBezTo>
                  <a:cubicBezTo>
                    <a:pt x="10" y="277"/>
                    <a:pt x="10" y="283"/>
                    <a:pt x="12" y="283"/>
                  </a:cubicBezTo>
                  <a:cubicBezTo>
                    <a:pt x="13" y="283"/>
                    <a:pt x="13" y="287"/>
                    <a:pt x="15" y="287"/>
                  </a:cubicBezTo>
                  <a:cubicBezTo>
                    <a:pt x="17" y="287"/>
                    <a:pt x="26" y="286"/>
                    <a:pt x="30" y="287"/>
                  </a:cubicBezTo>
                  <a:cubicBezTo>
                    <a:pt x="31" y="287"/>
                    <a:pt x="33" y="288"/>
                    <a:pt x="34" y="289"/>
                  </a:cubicBezTo>
                  <a:cubicBezTo>
                    <a:pt x="36" y="288"/>
                    <a:pt x="41" y="291"/>
                    <a:pt x="42" y="290"/>
                  </a:cubicBezTo>
                  <a:cubicBezTo>
                    <a:pt x="43" y="289"/>
                    <a:pt x="37" y="284"/>
                    <a:pt x="37" y="283"/>
                  </a:cubicBezTo>
                  <a:cubicBezTo>
                    <a:pt x="37" y="281"/>
                    <a:pt x="36" y="278"/>
                    <a:pt x="36" y="277"/>
                  </a:cubicBezTo>
                  <a:cubicBezTo>
                    <a:pt x="36" y="275"/>
                    <a:pt x="36" y="271"/>
                    <a:pt x="38" y="269"/>
                  </a:cubicBezTo>
                  <a:cubicBezTo>
                    <a:pt x="41" y="267"/>
                    <a:pt x="41" y="266"/>
                    <a:pt x="42" y="266"/>
                  </a:cubicBezTo>
                  <a:cubicBezTo>
                    <a:pt x="44" y="266"/>
                    <a:pt x="47" y="264"/>
                    <a:pt x="47" y="260"/>
                  </a:cubicBezTo>
                  <a:cubicBezTo>
                    <a:pt x="47" y="256"/>
                    <a:pt x="49" y="254"/>
                    <a:pt x="53" y="251"/>
                  </a:cubicBezTo>
                  <a:cubicBezTo>
                    <a:pt x="57" y="248"/>
                    <a:pt x="63" y="245"/>
                    <a:pt x="62" y="243"/>
                  </a:cubicBezTo>
                  <a:cubicBezTo>
                    <a:pt x="62" y="242"/>
                    <a:pt x="64" y="237"/>
                    <a:pt x="64" y="236"/>
                  </a:cubicBezTo>
                  <a:cubicBezTo>
                    <a:pt x="64" y="234"/>
                    <a:pt x="58" y="234"/>
                    <a:pt x="56" y="233"/>
                  </a:cubicBezTo>
                  <a:cubicBezTo>
                    <a:pt x="54" y="233"/>
                    <a:pt x="47" y="228"/>
                    <a:pt x="50" y="221"/>
                  </a:cubicBezTo>
                  <a:cubicBezTo>
                    <a:pt x="54" y="215"/>
                    <a:pt x="61" y="214"/>
                    <a:pt x="64" y="214"/>
                  </a:cubicBezTo>
                  <a:cubicBezTo>
                    <a:pt x="66" y="213"/>
                    <a:pt x="64" y="210"/>
                    <a:pt x="65" y="209"/>
                  </a:cubicBezTo>
                  <a:cubicBezTo>
                    <a:pt x="67" y="208"/>
                    <a:pt x="68" y="206"/>
                    <a:pt x="68" y="204"/>
                  </a:cubicBezTo>
                  <a:cubicBezTo>
                    <a:pt x="68" y="201"/>
                    <a:pt x="68" y="196"/>
                    <a:pt x="71" y="196"/>
                  </a:cubicBezTo>
                  <a:cubicBezTo>
                    <a:pt x="74" y="195"/>
                    <a:pt x="75" y="193"/>
                    <a:pt x="73" y="193"/>
                  </a:cubicBezTo>
                  <a:cubicBezTo>
                    <a:pt x="71" y="192"/>
                    <a:pt x="70" y="190"/>
                    <a:pt x="73" y="190"/>
                  </a:cubicBezTo>
                  <a:cubicBezTo>
                    <a:pt x="77" y="189"/>
                    <a:pt x="75" y="192"/>
                    <a:pt x="78" y="192"/>
                  </a:cubicBezTo>
                  <a:cubicBezTo>
                    <a:pt x="80" y="192"/>
                    <a:pt x="84" y="188"/>
                    <a:pt x="81" y="186"/>
                  </a:cubicBezTo>
                  <a:cubicBezTo>
                    <a:pt x="78" y="184"/>
                    <a:pt x="77" y="187"/>
                    <a:pt x="75" y="188"/>
                  </a:cubicBezTo>
                  <a:cubicBezTo>
                    <a:pt x="74" y="188"/>
                    <a:pt x="73" y="185"/>
                    <a:pt x="71" y="185"/>
                  </a:cubicBezTo>
                  <a:cubicBezTo>
                    <a:pt x="69" y="185"/>
                    <a:pt x="70" y="181"/>
                    <a:pt x="70" y="179"/>
                  </a:cubicBezTo>
                  <a:cubicBezTo>
                    <a:pt x="69" y="178"/>
                    <a:pt x="68" y="174"/>
                    <a:pt x="69" y="172"/>
                  </a:cubicBezTo>
                  <a:cubicBezTo>
                    <a:pt x="71" y="170"/>
                    <a:pt x="77" y="175"/>
                    <a:pt x="82" y="175"/>
                  </a:cubicBezTo>
                  <a:cubicBezTo>
                    <a:pt x="88" y="176"/>
                    <a:pt x="92" y="173"/>
                    <a:pt x="92" y="171"/>
                  </a:cubicBezTo>
                  <a:cubicBezTo>
                    <a:pt x="92" y="169"/>
                    <a:pt x="89" y="165"/>
                    <a:pt x="92" y="163"/>
                  </a:cubicBezTo>
                  <a:cubicBezTo>
                    <a:pt x="95" y="161"/>
                    <a:pt x="93" y="160"/>
                    <a:pt x="92" y="157"/>
                  </a:cubicBezTo>
                  <a:cubicBezTo>
                    <a:pt x="91" y="154"/>
                    <a:pt x="93" y="153"/>
                    <a:pt x="95" y="154"/>
                  </a:cubicBezTo>
                  <a:cubicBezTo>
                    <a:pt x="96" y="155"/>
                    <a:pt x="107" y="155"/>
                    <a:pt x="115" y="153"/>
                  </a:cubicBezTo>
                  <a:cubicBezTo>
                    <a:pt x="124" y="151"/>
                    <a:pt x="130" y="148"/>
                    <a:pt x="131" y="145"/>
                  </a:cubicBezTo>
                  <a:cubicBezTo>
                    <a:pt x="131" y="143"/>
                    <a:pt x="137" y="137"/>
                    <a:pt x="138" y="135"/>
                  </a:cubicBezTo>
                  <a:cubicBezTo>
                    <a:pt x="139" y="133"/>
                    <a:pt x="138" y="130"/>
                    <a:pt x="135" y="129"/>
                  </a:cubicBezTo>
                  <a:cubicBezTo>
                    <a:pt x="131" y="129"/>
                    <a:pt x="131" y="125"/>
                    <a:pt x="133" y="122"/>
                  </a:cubicBezTo>
                  <a:cubicBezTo>
                    <a:pt x="135" y="120"/>
                    <a:pt x="132" y="118"/>
                    <a:pt x="129" y="118"/>
                  </a:cubicBezTo>
                  <a:cubicBezTo>
                    <a:pt x="125" y="117"/>
                    <a:pt x="120" y="115"/>
                    <a:pt x="123" y="112"/>
                  </a:cubicBezTo>
                  <a:cubicBezTo>
                    <a:pt x="125" y="111"/>
                    <a:pt x="125" y="111"/>
                    <a:pt x="126" y="112"/>
                  </a:cubicBezTo>
                  <a:cubicBezTo>
                    <a:pt x="126" y="110"/>
                    <a:pt x="127" y="109"/>
                    <a:pt x="127" y="108"/>
                  </a:cubicBezTo>
                  <a:cubicBezTo>
                    <a:pt x="126" y="108"/>
                    <a:pt x="124" y="108"/>
                    <a:pt x="124" y="103"/>
                  </a:cubicBezTo>
                  <a:cubicBezTo>
                    <a:pt x="124" y="98"/>
                    <a:pt x="126" y="99"/>
                    <a:pt x="126" y="93"/>
                  </a:cubicBezTo>
                  <a:cubicBezTo>
                    <a:pt x="127" y="86"/>
                    <a:pt x="129" y="83"/>
                    <a:pt x="129" y="79"/>
                  </a:cubicBezTo>
                  <a:cubicBezTo>
                    <a:pt x="129" y="76"/>
                    <a:pt x="135" y="72"/>
                    <a:pt x="139" y="66"/>
                  </a:cubicBezTo>
                  <a:cubicBezTo>
                    <a:pt x="142" y="61"/>
                    <a:pt x="150" y="54"/>
                    <a:pt x="153" y="52"/>
                  </a:cubicBezTo>
                  <a:cubicBezTo>
                    <a:pt x="156" y="50"/>
                    <a:pt x="162" y="48"/>
                    <a:pt x="162" y="46"/>
                  </a:cubicBezTo>
                  <a:cubicBezTo>
                    <a:pt x="163" y="44"/>
                    <a:pt x="162" y="35"/>
                    <a:pt x="161" y="3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5" name="Freeform 292">
              <a:extLst>
                <a:ext uri="{FF2B5EF4-FFF2-40B4-BE49-F238E27FC236}">
                  <a16:creationId xmlns:a16="http://schemas.microsoft.com/office/drawing/2014/main" id="{B6E6EE0F-905D-1052-F8CD-4533D3857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856" y="4816676"/>
              <a:ext cx="266665" cy="1366661"/>
            </a:xfrm>
            <a:custGeom>
              <a:avLst/>
              <a:gdLst>
                <a:gd name="T0" fmla="*/ 28 w 71"/>
                <a:gd name="T1" fmla="*/ 310 h 364"/>
                <a:gd name="T2" fmla="*/ 19 w 71"/>
                <a:gd name="T3" fmla="*/ 295 h 364"/>
                <a:gd name="T4" fmla="*/ 26 w 71"/>
                <a:gd name="T5" fmla="*/ 278 h 364"/>
                <a:gd name="T6" fmla="*/ 32 w 71"/>
                <a:gd name="T7" fmla="*/ 261 h 364"/>
                <a:gd name="T8" fmla="*/ 36 w 71"/>
                <a:gd name="T9" fmla="*/ 248 h 364"/>
                <a:gd name="T10" fmla="*/ 31 w 71"/>
                <a:gd name="T11" fmla="*/ 235 h 364"/>
                <a:gd name="T12" fmla="*/ 32 w 71"/>
                <a:gd name="T13" fmla="*/ 213 h 364"/>
                <a:gd name="T14" fmla="*/ 34 w 71"/>
                <a:gd name="T15" fmla="*/ 197 h 364"/>
                <a:gd name="T16" fmla="*/ 37 w 71"/>
                <a:gd name="T17" fmla="*/ 183 h 364"/>
                <a:gd name="T18" fmla="*/ 43 w 71"/>
                <a:gd name="T19" fmla="*/ 155 h 364"/>
                <a:gd name="T20" fmla="*/ 46 w 71"/>
                <a:gd name="T21" fmla="*/ 135 h 364"/>
                <a:gd name="T22" fmla="*/ 47 w 71"/>
                <a:gd name="T23" fmla="*/ 112 h 364"/>
                <a:gd name="T24" fmla="*/ 52 w 71"/>
                <a:gd name="T25" fmla="*/ 92 h 364"/>
                <a:gd name="T26" fmla="*/ 59 w 71"/>
                <a:gd name="T27" fmla="*/ 76 h 364"/>
                <a:gd name="T28" fmla="*/ 68 w 71"/>
                <a:gd name="T29" fmla="*/ 55 h 364"/>
                <a:gd name="T30" fmla="*/ 63 w 71"/>
                <a:gd name="T31" fmla="*/ 38 h 364"/>
                <a:gd name="T32" fmla="*/ 59 w 71"/>
                <a:gd name="T33" fmla="*/ 18 h 364"/>
                <a:gd name="T34" fmla="*/ 50 w 71"/>
                <a:gd name="T35" fmla="*/ 2 h 364"/>
                <a:gd name="T36" fmla="*/ 45 w 71"/>
                <a:gd name="T37" fmla="*/ 17 h 364"/>
                <a:gd name="T38" fmla="*/ 44 w 71"/>
                <a:gd name="T39" fmla="*/ 54 h 364"/>
                <a:gd name="T40" fmla="*/ 37 w 71"/>
                <a:gd name="T41" fmla="*/ 91 h 364"/>
                <a:gd name="T42" fmla="*/ 33 w 71"/>
                <a:gd name="T43" fmla="*/ 117 h 364"/>
                <a:gd name="T44" fmla="*/ 29 w 71"/>
                <a:gd name="T45" fmla="*/ 150 h 364"/>
                <a:gd name="T46" fmla="*/ 18 w 71"/>
                <a:gd name="T47" fmla="*/ 179 h 364"/>
                <a:gd name="T48" fmla="*/ 17 w 71"/>
                <a:gd name="T49" fmla="*/ 204 h 364"/>
                <a:gd name="T50" fmla="*/ 11 w 71"/>
                <a:gd name="T51" fmla="*/ 228 h 364"/>
                <a:gd name="T52" fmla="*/ 22 w 71"/>
                <a:gd name="T53" fmla="*/ 215 h 364"/>
                <a:gd name="T54" fmla="*/ 24 w 71"/>
                <a:gd name="T55" fmla="*/ 229 h 364"/>
                <a:gd name="T56" fmla="*/ 21 w 71"/>
                <a:gd name="T57" fmla="*/ 244 h 364"/>
                <a:gd name="T58" fmla="*/ 17 w 71"/>
                <a:gd name="T59" fmla="*/ 255 h 364"/>
                <a:gd name="T60" fmla="*/ 16 w 71"/>
                <a:gd name="T61" fmla="*/ 253 h 364"/>
                <a:gd name="T62" fmla="*/ 10 w 71"/>
                <a:gd name="T63" fmla="*/ 255 h 364"/>
                <a:gd name="T64" fmla="*/ 1 w 71"/>
                <a:gd name="T65" fmla="*/ 267 h 364"/>
                <a:gd name="T66" fmla="*/ 11 w 71"/>
                <a:gd name="T67" fmla="*/ 268 h 364"/>
                <a:gd name="T68" fmla="*/ 17 w 71"/>
                <a:gd name="T69" fmla="*/ 278 h 364"/>
                <a:gd name="T70" fmla="*/ 7 w 71"/>
                <a:gd name="T71" fmla="*/ 280 h 364"/>
                <a:gd name="T72" fmla="*/ 8 w 71"/>
                <a:gd name="T73" fmla="*/ 286 h 364"/>
                <a:gd name="T74" fmla="*/ 3 w 71"/>
                <a:gd name="T75" fmla="*/ 294 h 364"/>
                <a:gd name="T76" fmla="*/ 10 w 71"/>
                <a:gd name="T77" fmla="*/ 297 h 364"/>
                <a:gd name="T78" fmla="*/ 11 w 71"/>
                <a:gd name="T79" fmla="*/ 305 h 364"/>
                <a:gd name="T80" fmla="*/ 6 w 71"/>
                <a:gd name="T81" fmla="*/ 315 h 364"/>
                <a:gd name="T82" fmla="*/ 16 w 71"/>
                <a:gd name="T83" fmla="*/ 317 h 364"/>
                <a:gd name="T84" fmla="*/ 20 w 71"/>
                <a:gd name="T85" fmla="*/ 320 h 364"/>
                <a:gd name="T86" fmla="*/ 15 w 71"/>
                <a:gd name="T87" fmla="*/ 330 h 364"/>
                <a:gd name="T88" fmla="*/ 28 w 71"/>
                <a:gd name="T89" fmla="*/ 330 h 364"/>
                <a:gd name="T90" fmla="*/ 19 w 71"/>
                <a:gd name="T91" fmla="*/ 337 h 364"/>
                <a:gd name="T92" fmla="*/ 30 w 71"/>
                <a:gd name="T93" fmla="*/ 335 h 364"/>
                <a:gd name="T94" fmla="*/ 18 w 71"/>
                <a:gd name="T95" fmla="*/ 344 h 364"/>
                <a:gd name="T96" fmla="*/ 28 w 71"/>
                <a:gd name="T97" fmla="*/ 345 h 364"/>
                <a:gd name="T98" fmla="*/ 45 w 71"/>
                <a:gd name="T99" fmla="*/ 329 h 364"/>
                <a:gd name="T100" fmla="*/ 50 w 71"/>
                <a:gd name="T101" fmla="*/ 338 h 364"/>
                <a:gd name="T102" fmla="*/ 43 w 71"/>
                <a:gd name="T103" fmla="*/ 341 h 364"/>
                <a:gd name="T104" fmla="*/ 35 w 71"/>
                <a:gd name="T105" fmla="*/ 347 h 364"/>
                <a:gd name="T106" fmla="*/ 41 w 71"/>
                <a:gd name="T107" fmla="*/ 359 h 364"/>
                <a:gd name="T108" fmla="*/ 52 w 71"/>
                <a:gd name="T109" fmla="*/ 357 h 364"/>
                <a:gd name="T110" fmla="*/ 64 w 71"/>
                <a:gd name="T111" fmla="*/ 358 h 364"/>
                <a:gd name="T112" fmla="*/ 57 w 71"/>
                <a:gd name="T113" fmla="*/ 356 h 364"/>
                <a:gd name="T114" fmla="*/ 50 w 71"/>
                <a:gd name="T115" fmla="*/ 326 h 364"/>
                <a:gd name="T116" fmla="*/ 32 w 71"/>
                <a:gd name="T117" fmla="*/ 323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" h="364">
                  <a:moveTo>
                    <a:pt x="32" y="323"/>
                  </a:moveTo>
                  <a:cubicBezTo>
                    <a:pt x="30" y="323"/>
                    <a:pt x="30" y="319"/>
                    <a:pt x="29" y="319"/>
                  </a:cubicBezTo>
                  <a:cubicBezTo>
                    <a:pt x="27" y="319"/>
                    <a:pt x="27" y="313"/>
                    <a:pt x="28" y="310"/>
                  </a:cubicBezTo>
                  <a:cubicBezTo>
                    <a:pt x="29" y="307"/>
                    <a:pt x="22" y="309"/>
                    <a:pt x="21" y="308"/>
                  </a:cubicBezTo>
                  <a:cubicBezTo>
                    <a:pt x="19" y="307"/>
                    <a:pt x="21" y="305"/>
                    <a:pt x="19" y="303"/>
                  </a:cubicBezTo>
                  <a:cubicBezTo>
                    <a:pt x="17" y="300"/>
                    <a:pt x="19" y="297"/>
                    <a:pt x="19" y="295"/>
                  </a:cubicBezTo>
                  <a:cubicBezTo>
                    <a:pt x="19" y="293"/>
                    <a:pt x="21" y="290"/>
                    <a:pt x="23" y="290"/>
                  </a:cubicBezTo>
                  <a:cubicBezTo>
                    <a:pt x="26" y="290"/>
                    <a:pt x="24" y="286"/>
                    <a:pt x="27" y="284"/>
                  </a:cubicBezTo>
                  <a:cubicBezTo>
                    <a:pt x="29" y="283"/>
                    <a:pt x="24" y="280"/>
                    <a:pt x="26" y="278"/>
                  </a:cubicBezTo>
                  <a:cubicBezTo>
                    <a:pt x="29" y="276"/>
                    <a:pt x="26" y="273"/>
                    <a:pt x="30" y="273"/>
                  </a:cubicBezTo>
                  <a:cubicBezTo>
                    <a:pt x="33" y="272"/>
                    <a:pt x="30" y="268"/>
                    <a:pt x="32" y="267"/>
                  </a:cubicBezTo>
                  <a:cubicBezTo>
                    <a:pt x="35" y="266"/>
                    <a:pt x="32" y="264"/>
                    <a:pt x="32" y="261"/>
                  </a:cubicBezTo>
                  <a:cubicBezTo>
                    <a:pt x="33" y="258"/>
                    <a:pt x="30" y="256"/>
                    <a:pt x="34" y="255"/>
                  </a:cubicBezTo>
                  <a:cubicBezTo>
                    <a:pt x="37" y="253"/>
                    <a:pt x="35" y="251"/>
                    <a:pt x="32" y="249"/>
                  </a:cubicBezTo>
                  <a:cubicBezTo>
                    <a:pt x="30" y="248"/>
                    <a:pt x="33" y="248"/>
                    <a:pt x="36" y="248"/>
                  </a:cubicBezTo>
                  <a:cubicBezTo>
                    <a:pt x="38" y="248"/>
                    <a:pt x="37" y="243"/>
                    <a:pt x="34" y="244"/>
                  </a:cubicBezTo>
                  <a:cubicBezTo>
                    <a:pt x="31" y="245"/>
                    <a:pt x="30" y="242"/>
                    <a:pt x="32" y="240"/>
                  </a:cubicBezTo>
                  <a:cubicBezTo>
                    <a:pt x="34" y="238"/>
                    <a:pt x="30" y="236"/>
                    <a:pt x="31" y="235"/>
                  </a:cubicBezTo>
                  <a:cubicBezTo>
                    <a:pt x="31" y="233"/>
                    <a:pt x="31" y="231"/>
                    <a:pt x="30" y="230"/>
                  </a:cubicBezTo>
                  <a:cubicBezTo>
                    <a:pt x="29" y="229"/>
                    <a:pt x="29" y="222"/>
                    <a:pt x="31" y="222"/>
                  </a:cubicBezTo>
                  <a:cubicBezTo>
                    <a:pt x="33" y="222"/>
                    <a:pt x="32" y="215"/>
                    <a:pt x="32" y="213"/>
                  </a:cubicBezTo>
                  <a:cubicBezTo>
                    <a:pt x="32" y="211"/>
                    <a:pt x="30" y="209"/>
                    <a:pt x="30" y="208"/>
                  </a:cubicBezTo>
                  <a:cubicBezTo>
                    <a:pt x="30" y="206"/>
                    <a:pt x="32" y="206"/>
                    <a:pt x="32" y="202"/>
                  </a:cubicBezTo>
                  <a:cubicBezTo>
                    <a:pt x="32" y="199"/>
                    <a:pt x="33" y="197"/>
                    <a:pt x="34" y="197"/>
                  </a:cubicBezTo>
                  <a:cubicBezTo>
                    <a:pt x="36" y="197"/>
                    <a:pt x="35" y="193"/>
                    <a:pt x="35" y="191"/>
                  </a:cubicBezTo>
                  <a:cubicBezTo>
                    <a:pt x="35" y="189"/>
                    <a:pt x="39" y="191"/>
                    <a:pt x="39" y="188"/>
                  </a:cubicBezTo>
                  <a:cubicBezTo>
                    <a:pt x="40" y="185"/>
                    <a:pt x="37" y="185"/>
                    <a:pt x="37" y="183"/>
                  </a:cubicBezTo>
                  <a:cubicBezTo>
                    <a:pt x="38" y="181"/>
                    <a:pt x="37" y="178"/>
                    <a:pt x="37" y="173"/>
                  </a:cubicBezTo>
                  <a:cubicBezTo>
                    <a:pt x="37" y="167"/>
                    <a:pt x="42" y="166"/>
                    <a:pt x="43" y="165"/>
                  </a:cubicBezTo>
                  <a:cubicBezTo>
                    <a:pt x="45" y="163"/>
                    <a:pt x="41" y="156"/>
                    <a:pt x="43" y="155"/>
                  </a:cubicBezTo>
                  <a:cubicBezTo>
                    <a:pt x="45" y="154"/>
                    <a:pt x="44" y="150"/>
                    <a:pt x="46" y="149"/>
                  </a:cubicBezTo>
                  <a:cubicBezTo>
                    <a:pt x="47" y="148"/>
                    <a:pt x="47" y="145"/>
                    <a:pt x="48" y="142"/>
                  </a:cubicBezTo>
                  <a:cubicBezTo>
                    <a:pt x="49" y="139"/>
                    <a:pt x="46" y="138"/>
                    <a:pt x="46" y="135"/>
                  </a:cubicBezTo>
                  <a:cubicBezTo>
                    <a:pt x="46" y="132"/>
                    <a:pt x="45" y="130"/>
                    <a:pt x="43" y="127"/>
                  </a:cubicBezTo>
                  <a:cubicBezTo>
                    <a:pt x="41" y="124"/>
                    <a:pt x="42" y="118"/>
                    <a:pt x="43" y="118"/>
                  </a:cubicBezTo>
                  <a:cubicBezTo>
                    <a:pt x="45" y="118"/>
                    <a:pt x="44" y="113"/>
                    <a:pt x="47" y="112"/>
                  </a:cubicBezTo>
                  <a:cubicBezTo>
                    <a:pt x="49" y="111"/>
                    <a:pt x="48" y="107"/>
                    <a:pt x="47" y="104"/>
                  </a:cubicBezTo>
                  <a:cubicBezTo>
                    <a:pt x="45" y="100"/>
                    <a:pt x="49" y="102"/>
                    <a:pt x="49" y="100"/>
                  </a:cubicBezTo>
                  <a:cubicBezTo>
                    <a:pt x="49" y="97"/>
                    <a:pt x="50" y="93"/>
                    <a:pt x="52" y="92"/>
                  </a:cubicBezTo>
                  <a:cubicBezTo>
                    <a:pt x="55" y="91"/>
                    <a:pt x="55" y="87"/>
                    <a:pt x="55" y="86"/>
                  </a:cubicBezTo>
                  <a:cubicBezTo>
                    <a:pt x="55" y="84"/>
                    <a:pt x="58" y="83"/>
                    <a:pt x="60" y="82"/>
                  </a:cubicBezTo>
                  <a:cubicBezTo>
                    <a:pt x="61" y="80"/>
                    <a:pt x="57" y="78"/>
                    <a:pt x="59" y="76"/>
                  </a:cubicBezTo>
                  <a:cubicBezTo>
                    <a:pt x="62" y="75"/>
                    <a:pt x="57" y="69"/>
                    <a:pt x="59" y="68"/>
                  </a:cubicBezTo>
                  <a:cubicBezTo>
                    <a:pt x="60" y="66"/>
                    <a:pt x="59" y="64"/>
                    <a:pt x="59" y="62"/>
                  </a:cubicBezTo>
                  <a:cubicBezTo>
                    <a:pt x="59" y="60"/>
                    <a:pt x="67" y="56"/>
                    <a:pt x="68" y="55"/>
                  </a:cubicBezTo>
                  <a:cubicBezTo>
                    <a:pt x="69" y="53"/>
                    <a:pt x="70" y="49"/>
                    <a:pt x="70" y="45"/>
                  </a:cubicBezTo>
                  <a:cubicBezTo>
                    <a:pt x="68" y="47"/>
                    <a:pt x="65" y="48"/>
                    <a:pt x="65" y="47"/>
                  </a:cubicBezTo>
                  <a:cubicBezTo>
                    <a:pt x="64" y="45"/>
                    <a:pt x="65" y="40"/>
                    <a:pt x="63" y="38"/>
                  </a:cubicBezTo>
                  <a:cubicBezTo>
                    <a:pt x="61" y="36"/>
                    <a:pt x="62" y="32"/>
                    <a:pt x="60" y="31"/>
                  </a:cubicBezTo>
                  <a:cubicBezTo>
                    <a:pt x="58" y="30"/>
                    <a:pt x="55" y="25"/>
                    <a:pt x="57" y="24"/>
                  </a:cubicBezTo>
                  <a:cubicBezTo>
                    <a:pt x="59" y="23"/>
                    <a:pt x="57" y="20"/>
                    <a:pt x="59" y="18"/>
                  </a:cubicBezTo>
                  <a:cubicBezTo>
                    <a:pt x="61" y="17"/>
                    <a:pt x="58" y="17"/>
                    <a:pt x="56" y="14"/>
                  </a:cubicBezTo>
                  <a:cubicBezTo>
                    <a:pt x="53" y="11"/>
                    <a:pt x="57" y="7"/>
                    <a:pt x="54" y="5"/>
                  </a:cubicBezTo>
                  <a:cubicBezTo>
                    <a:pt x="51" y="3"/>
                    <a:pt x="51" y="0"/>
                    <a:pt x="50" y="2"/>
                  </a:cubicBezTo>
                  <a:cubicBezTo>
                    <a:pt x="49" y="3"/>
                    <a:pt x="49" y="7"/>
                    <a:pt x="47" y="8"/>
                  </a:cubicBezTo>
                  <a:cubicBezTo>
                    <a:pt x="46" y="8"/>
                    <a:pt x="46" y="9"/>
                    <a:pt x="45" y="9"/>
                  </a:cubicBezTo>
                  <a:cubicBezTo>
                    <a:pt x="45" y="11"/>
                    <a:pt x="44" y="15"/>
                    <a:pt x="45" y="17"/>
                  </a:cubicBezTo>
                  <a:cubicBezTo>
                    <a:pt x="46" y="19"/>
                    <a:pt x="47" y="32"/>
                    <a:pt x="46" y="37"/>
                  </a:cubicBezTo>
                  <a:cubicBezTo>
                    <a:pt x="45" y="42"/>
                    <a:pt x="44" y="46"/>
                    <a:pt x="43" y="49"/>
                  </a:cubicBezTo>
                  <a:cubicBezTo>
                    <a:pt x="41" y="52"/>
                    <a:pt x="45" y="53"/>
                    <a:pt x="44" y="54"/>
                  </a:cubicBezTo>
                  <a:cubicBezTo>
                    <a:pt x="42" y="55"/>
                    <a:pt x="43" y="59"/>
                    <a:pt x="43" y="65"/>
                  </a:cubicBezTo>
                  <a:cubicBezTo>
                    <a:pt x="43" y="70"/>
                    <a:pt x="39" y="80"/>
                    <a:pt x="39" y="83"/>
                  </a:cubicBezTo>
                  <a:cubicBezTo>
                    <a:pt x="39" y="86"/>
                    <a:pt x="37" y="88"/>
                    <a:pt x="37" y="91"/>
                  </a:cubicBezTo>
                  <a:cubicBezTo>
                    <a:pt x="37" y="95"/>
                    <a:pt x="35" y="97"/>
                    <a:pt x="33" y="98"/>
                  </a:cubicBezTo>
                  <a:cubicBezTo>
                    <a:pt x="31" y="100"/>
                    <a:pt x="37" y="105"/>
                    <a:pt x="36" y="108"/>
                  </a:cubicBezTo>
                  <a:cubicBezTo>
                    <a:pt x="36" y="111"/>
                    <a:pt x="33" y="112"/>
                    <a:pt x="33" y="117"/>
                  </a:cubicBezTo>
                  <a:cubicBezTo>
                    <a:pt x="35" y="123"/>
                    <a:pt x="33" y="132"/>
                    <a:pt x="33" y="134"/>
                  </a:cubicBezTo>
                  <a:cubicBezTo>
                    <a:pt x="33" y="136"/>
                    <a:pt x="31" y="136"/>
                    <a:pt x="32" y="140"/>
                  </a:cubicBezTo>
                  <a:cubicBezTo>
                    <a:pt x="32" y="144"/>
                    <a:pt x="29" y="145"/>
                    <a:pt x="29" y="150"/>
                  </a:cubicBezTo>
                  <a:cubicBezTo>
                    <a:pt x="28" y="155"/>
                    <a:pt x="24" y="163"/>
                    <a:pt x="23" y="167"/>
                  </a:cubicBezTo>
                  <a:cubicBezTo>
                    <a:pt x="21" y="171"/>
                    <a:pt x="21" y="173"/>
                    <a:pt x="19" y="173"/>
                  </a:cubicBezTo>
                  <a:cubicBezTo>
                    <a:pt x="17" y="173"/>
                    <a:pt x="16" y="176"/>
                    <a:pt x="18" y="179"/>
                  </a:cubicBezTo>
                  <a:cubicBezTo>
                    <a:pt x="19" y="183"/>
                    <a:pt x="17" y="186"/>
                    <a:pt x="19" y="190"/>
                  </a:cubicBezTo>
                  <a:cubicBezTo>
                    <a:pt x="21" y="193"/>
                    <a:pt x="20" y="194"/>
                    <a:pt x="19" y="198"/>
                  </a:cubicBezTo>
                  <a:cubicBezTo>
                    <a:pt x="18" y="201"/>
                    <a:pt x="17" y="201"/>
                    <a:pt x="17" y="204"/>
                  </a:cubicBezTo>
                  <a:cubicBezTo>
                    <a:pt x="17" y="208"/>
                    <a:pt x="14" y="210"/>
                    <a:pt x="16" y="214"/>
                  </a:cubicBezTo>
                  <a:cubicBezTo>
                    <a:pt x="17" y="218"/>
                    <a:pt x="17" y="219"/>
                    <a:pt x="15" y="219"/>
                  </a:cubicBezTo>
                  <a:cubicBezTo>
                    <a:pt x="13" y="219"/>
                    <a:pt x="12" y="222"/>
                    <a:pt x="11" y="228"/>
                  </a:cubicBezTo>
                  <a:cubicBezTo>
                    <a:pt x="11" y="233"/>
                    <a:pt x="11" y="233"/>
                    <a:pt x="15" y="233"/>
                  </a:cubicBezTo>
                  <a:cubicBezTo>
                    <a:pt x="20" y="233"/>
                    <a:pt x="16" y="218"/>
                    <a:pt x="19" y="218"/>
                  </a:cubicBezTo>
                  <a:cubicBezTo>
                    <a:pt x="21" y="218"/>
                    <a:pt x="19" y="216"/>
                    <a:pt x="22" y="215"/>
                  </a:cubicBezTo>
                  <a:cubicBezTo>
                    <a:pt x="25" y="215"/>
                    <a:pt x="22" y="218"/>
                    <a:pt x="24" y="218"/>
                  </a:cubicBezTo>
                  <a:cubicBezTo>
                    <a:pt x="26" y="219"/>
                    <a:pt x="27" y="220"/>
                    <a:pt x="25" y="222"/>
                  </a:cubicBezTo>
                  <a:cubicBezTo>
                    <a:pt x="22" y="224"/>
                    <a:pt x="25" y="227"/>
                    <a:pt x="24" y="229"/>
                  </a:cubicBezTo>
                  <a:cubicBezTo>
                    <a:pt x="23" y="231"/>
                    <a:pt x="21" y="233"/>
                    <a:pt x="22" y="235"/>
                  </a:cubicBezTo>
                  <a:cubicBezTo>
                    <a:pt x="23" y="237"/>
                    <a:pt x="21" y="237"/>
                    <a:pt x="20" y="240"/>
                  </a:cubicBezTo>
                  <a:cubicBezTo>
                    <a:pt x="20" y="243"/>
                    <a:pt x="22" y="244"/>
                    <a:pt x="21" y="244"/>
                  </a:cubicBezTo>
                  <a:cubicBezTo>
                    <a:pt x="20" y="245"/>
                    <a:pt x="22" y="247"/>
                    <a:pt x="21" y="248"/>
                  </a:cubicBezTo>
                  <a:cubicBezTo>
                    <a:pt x="19" y="248"/>
                    <a:pt x="20" y="250"/>
                    <a:pt x="21" y="252"/>
                  </a:cubicBezTo>
                  <a:cubicBezTo>
                    <a:pt x="22" y="255"/>
                    <a:pt x="19" y="253"/>
                    <a:pt x="17" y="255"/>
                  </a:cubicBezTo>
                  <a:cubicBezTo>
                    <a:pt x="15" y="256"/>
                    <a:pt x="19" y="258"/>
                    <a:pt x="18" y="260"/>
                  </a:cubicBezTo>
                  <a:cubicBezTo>
                    <a:pt x="16" y="262"/>
                    <a:pt x="14" y="259"/>
                    <a:pt x="12" y="258"/>
                  </a:cubicBezTo>
                  <a:cubicBezTo>
                    <a:pt x="11" y="257"/>
                    <a:pt x="14" y="255"/>
                    <a:pt x="16" y="253"/>
                  </a:cubicBezTo>
                  <a:cubicBezTo>
                    <a:pt x="18" y="251"/>
                    <a:pt x="14" y="246"/>
                    <a:pt x="12" y="247"/>
                  </a:cubicBezTo>
                  <a:cubicBezTo>
                    <a:pt x="9" y="248"/>
                    <a:pt x="14" y="251"/>
                    <a:pt x="14" y="253"/>
                  </a:cubicBezTo>
                  <a:cubicBezTo>
                    <a:pt x="14" y="256"/>
                    <a:pt x="10" y="253"/>
                    <a:pt x="10" y="255"/>
                  </a:cubicBezTo>
                  <a:cubicBezTo>
                    <a:pt x="10" y="258"/>
                    <a:pt x="7" y="257"/>
                    <a:pt x="5" y="259"/>
                  </a:cubicBezTo>
                  <a:cubicBezTo>
                    <a:pt x="4" y="260"/>
                    <a:pt x="8" y="262"/>
                    <a:pt x="6" y="262"/>
                  </a:cubicBezTo>
                  <a:cubicBezTo>
                    <a:pt x="4" y="263"/>
                    <a:pt x="1" y="265"/>
                    <a:pt x="1" y="267"/>
                  </a:cubicBezTo>
                  <a:cubicBezTo>
                    <a:pt x="1" y="269"/>
                    <a:pt x="3" y="269"/>
                    <a:pt x="3" y="268"/>
                  </a:cubicBezTo>
                  <a:cubicBezTo>
                    <a:pt x="3" y="266"/>
                    <a:pt x="6" y="265"/>
                    <a:pt x="7" y="268"/>
                  </a:cubicBezTo>
                  <a:cubicBezTo>
                    <a:pt x="7" y="270"/>
                    <a:pt x="9" y="268"/>
                    <a:pt x="11" y="268"/>
                  </a:cubicBezTo>
                  <a:cubicBezTo>
                    <a:pt x="14" y="269"/>
                    <a:pt x="13" y="272"/>
                    <a:pt x="12" y="272"/>
                  </a:cubicBezTo>
                  <a:cubicBezTo>
                    <a:pt x="10" y="272"/>
                    <a:pt x="9" y="275"/>
                    <a:pt x="9" y="277"/>
                  </a:cubicBezTo>
                  <a:cubicBezTo>
                    <a:pt x="10" y="280"/>
                    <a:pt x="15" y="277"/>
                    <a:pt x="17" y="278"/>
                  </a:cubicBezTo>
                  <a:cubicBezTo>
                    <a:pt x="19" y="279"/>
                    <a:pt x="18" y="282"/>
                    <a:pt x="17" y="281"/>
                  </a:cubicBezTo>
                  <a:cubicBezTo>
                    <a:pt x="16" y="280"/>
                    <a:pt x="13" y="278"/>
                    <a:pt x="12" y="280"/>
                  </a:cubicBezTo>
                  <a:cubicBezTo>
                    <a:pt x="10" y="282"/>
                    <a:pt x="8" y="281"/>
                    <a:pt x="7" y="280"/>
                  </a:cubicBezTo>
                  <a:cubicBezTo>
                    <a:pt x="5" y="280"/>
                    <a:pt x="0" y="283"/>
                    <a:pt x="2" y="285"/>
                  </a:cubicBezTo>
                  <a:cubicBezTo>
                    <a:pt x="3" y="286"/>
                    <a:pt x="3" y="288"/>
                    <a:pt x="5" y="288"/>
                  </a:cubicBezTo>
                  <a:cubicBezTo>
                    <a:pt x="6" y="288"/>
                    <a:pt x="8" y="287"/>
                    <a:pt x="8" y="286"/>
                  </a:cubicBezTo>
                  <a:cubicBezTo>
                    <a:pt x="9" y="284"/>
                    <a:pt x="12" y="283"/>
                    <a:pt x="12" y="286"/>
                  </a:cubicBezTo>
                  <a:cubicBezTo>
                    <a:pt x="12" y="289"/>
                    <a:pt x="8" y="288"/>
                    <a:pt x="8" y="290"/>
                  </a:cubicBezTo>
                  <a:cubicBezTo>
                    <a:pt x="7" y="291"/>
                    <a:pt x="6" y="293"/>
                    <a:pt x="3" y="294"/>
                  </a:cubicBezTo>
                  <a:cubicBezTo>
                    <a:pt x="1" y="296"/>
                    <a:pt x="3" y="299"/>
                    <a:pt x="5" y="298"/>
                  </a:cubicBezTo>
                  <a:cubicBezTo>
                    <a:pt x="7" y="297"/>
                    <a:pt x="5" y="300"/>
                    <a:pt x="7" y="300"/>
                  </a:cubicBezTo>
                  <a:cubicBezTo>
                    <a:pt x="10" y="301"/>
                    <a:pt x="10" y="299"/>
                    <a:pt x="10" y="297"/>
                  </a:cubicBezTo>
                  <a:cubicBezTo>
                    <a:pt x="9" y="295"/>
                    <a:pt x="11" y="291"/>
                    <a:pt x="13" y="293"/>
                  </a:cubicBezTo>
                  <a:cubicBezTo>
                    <a:pt x="15" y="295"/>
                    <a:pt x="12" y="297"/>
                    <a:pt x="12" y="299"/>
                  </a:cubicBezTo>
                  <a:cubicBezTo>
                    <a:pt x="12" y="301"/>
                    <a:pt x="11" y="303"/>
                    <a:pt x="11" y="305"/>
                  </a:cubicBezTo>
                  <a:cubicBezTo>
                    <a:pt x="11" y="307"/>
                    <a:pt x="8" y="306"/>
                    <a:pt x="9" y="308"/>
                  </a:cubicBezTo>
                  <a:cubicBezTo>
                    <a:pt x="9" y="310"/>
                    <a:pt x="4" y="309"/>
                    <a:pt x="6" y="310"/>
                  </a:cubicBezTo>
                  <a:cubicBezTo>
                    <a:pt x="8" y="312"/>
                    <a:pt x="5" y="314"/>
                    <a:pt x="6" y="315"/>
                  </a:cubicBezTo>
                  <a:cubicBezTo>
                    <a:pt x="7" y="316"/>
                    <a:pt x="8" y="313"/>
                    <a:pt x="10" y="314"/>
                  </a:cubicBezTo>
                  <a:cubicBezTo>
                    <a:pt x="12" y="315"/>
                    <a:pt x="12" y="315"/>
                    <a:pt x="14" y="314"/>
                  </a:cubicBezTo>
                  <a:cubicBezTo>
                    <a:pt x="17" y="313"/>
                    <a:pt x="18" y="316"/>
                    <a:pt x="16" y="317"/>
                  </a:cubicBezTo>
                  <a:cubicBezTo>
                    <a:pt x="13" y="317"/>
                    <a:pt x="11" y="320"/>
                    <a:pt x="12" y="320"/>
                  </a:cubicBezTo>
                  <a:cubicBezTo>
                    <a:pt x="13" y="321"/>
                    <a:pt x="16" y="319"/>
                    <a:pt x="17" y="321"/>
                  </a:cubicBezTo>
                  <a:cubicBezTo>
                    <a:pt x="18" y="323"/>
                    <a:pt x="19" y="323"/>
                    <a:pt x="20" y="320"/>
                  </a:cubicBezTo>
                  <a:cubicBezTo>
                    <a:pt x="20" y="318"/>
                    <a:pt x="24" y="320"/>
                    <a:pt x="25" y="322"/>
                  </a:cubicBezTo>
                  <a:cubicBezTo>
                    <a:pt x="25" y="324"/>
                    <a:pt x="20" y="325"/>
                    <a:pt x="18" y="325"/>
                  </a:cubicBezTo>
                  <a:cubicBezTo>
                    <a:pt x="15" y="324"/>
                    <a:pt x="13" y="327"/>
                    <a:pt x="15" y="330"/>
                  </a:cubicBezTo>
                  <a:cubicBezTo>
                    <a:pt x="17" y="332"/>
                    <a:pt x="19" y="330"/>
                    <a:pt x="21" y="328"/>
                  </a:cubicBezTo>
                  <a:cubicBezTo>
                    <a:pt x="23" y="326"/>
                    <a:pt x="33" y="326"/>
                    <a:pt x="33" y="328"/>
                  </a:cubicBezTo>
                  <a:cubicBezTo>
                    <a:pt x="34" y="330"/>
                    <a:pt x="29" y="329"/>
                    <a:pt x="28" y="330"/>
                  </a:cubicBezTo>
                  <a:cubicBezTo>
                    <a:pt x="28" y="331"/>
                    <a:pt x="24" y="332"/>
                    <a:pt x="23" y="331"/>
                  </a:cubicBezTo>
                  <a:cubicBezTo>
                    <a:pt x="23" y="329"/>
                    <a:pt x="19" y="331"/>
                    <a:pt x="19" y="334"/>
                  </a:cubicBezTo>
                  <a:cubicBezTo>
                    <a:pt x="19" y="336"/>
                    <a:pt x="16" y="336"/>
                    <a:pt x="19" y="337"/>
                  </a:cubicBezTo>
                  <a:cubicBezTo>
                    <a:pt x="22" y="338"/>
                    <a:pt x="21" y="333"/>
                    <a:pt x="26" y="334"/>
                  </a:cubicBezTo>
                  <a:cubicBezTo>
                    <a:pt x="31" y="334"/>
                    <a:pt x="34" y="329"/>
                    <a:pt x="36" y="332"/>
                  </a:cubicBezTo>
                  <a:cubicBezTo>
                    <a:pt x="37" y="335"/>
                    <a:pt x="31" y="337"/>
                    <a:pt x="30" y="335"/>
                  </a:cubicBezTo>
                  <a:cubicBezTo>
                    <a:pt x="28" y="334"/>
                    <a:pt x="25" y="337"/>
                    <a:pt x="25" y="339"/>
                  </a:cubicBezTo>
                  <a:cubicBezTo>
                    <a:pt x="26" y="342"/>
                    <a:pt x="20" y="339"/>
                    <a:pt x="17" y="338"/>
                  </a:cubicBezTo>
                  <a:cubicBezTo>
                    <a:pt x="14" y="338"/>
                    <a:pt x="15" y="341"/>
                    <a:pt x="18" y="344"/>
                  </a:cubicBezTo>
                  <a:cubicBezTo>
                    <a:pt x="20" y="346"/>
                    <a:pt x="22" y="343"/>
                    <a:pt x="25" y="345"/>
                  </a:cubicBezTo>
                  <a:cubicBezTo>
                    <a:pt x="28" y="347"/>
                    <a:pt x="28" y="349"/>
                    <a:pt x="30" y="347"/>
                  </a:cubicBezTo>
                  <a:cubicBezTo>
                    <a:pt x="32" y="345"/>
                    <a:pt x="30" y="346"/>
                    <a:pt x="28" y="345"/>
                  </a:cubicBezTo>
                  <a:cubicBezTo>
                    <a:pt x="27" y="344"/>
                    <a:pt x="28" y="341"/>
                    <a:pt x="32" y="342"/>
                  </a:cubicBezTo>
                  <a:cubicBezTo>
                    <a:pt x="35" y="344"/>
                    <a:pt x="39" y="341"/>
                    <a:pt x="38" y="337"/>
                  </a:cubicBezTo>
                  <a:cubicBezTo>
                    <a:pt x="37" y="332"/>
                    <a:pt x="41" y="330"/>
                    <a:pt x="45" y="329"/>
                  </a:cubicBezTo>
                  <a:cubicBezTo>
                    <a:pt x="49" y="328"/>
                    <a:pt x="47" y="332"/>
                    <a:pt x="44" y="333"/>
                  </a:cubicBezTo>
                  <a:cubicBezTo>
                    <a:pt x="41" y="334"/>
                    <a:pt x="40" y="335"/>
                    <a:pt x="43" y="338"/>
                  </a:cubicBezTo>
                  <a:cubicBezTo>
                    <a:pt x="45" y="340"/>
                    <a:pt x="48" y="336"/>
                    <a:pt x="50" y="338"/>
                  </a:cubicBezTo>
                  <a:cubicBezTo>
                    <a:pt x="52" y="340"/>
                    <a:pt x="46" y="340"/>
                    <a:pt x="46" y="341"/>
                  </a:cubicBezTo>
                  <a:cubicBezTo>
                    <a:pt x="45" y="343"/>
                    <a:pt x="49" y="346"/>
                    <a:pt x="46" y="347"/>
                  </a:cubicBezTo>
                  <a:cubicBezTo>
                    <a:pt x="43" y="349"/>
                    <a:pt x="44" y="341"/>
                    <a:pt x="43" y="341"/>
                  </a:cubicBezTo>
                  <a:cubicBezTo>
                    <a:pt x="41" y="340"/>
                    <a:pt x="39" y="341"/>
                    <a:pt x="41" y="346"/>
                  </a:cubicBezTo>
                  <a:cubicBezTo>
                    <a:pt x="43" y="350"/>
                    <a:pt x="39" y="346"/>
                    <a:pt x="37" y="344"/>
                  </a:cubicBezTo>
                  <a:cubicBezTo>
                    <a:pt x="35" y="342"/>
                    <a:pt x="33" y="345"/>
                    <a:pt x="35" y="347"/>
                  </a:cubicBezTo>
                  <a:cubicBezTo>
                    <a:pt x="37" y="349"/>
                    <a:pt x="31" y="347"/>
                    <a:pt x="31" y="350"/>
                  </a:cubicBezTo>
                  <a:cubicBezTo>
                    <a:pt x="31" y="354"/>
                    <a:pt x="33" y="351"/>
                    <a:pt x="37" y="352"/>
                  </a:cubicBezTo>
                  <a:cubicBezTo>
                    <a:pt x="40" y="352"/>
                    <a:pt x="38" y="357"/>
                    <a:pt x="41" y="359"/>
                  </a:cubicBezTo>
                  <a:cubicBezTo>
                    <a:pt x="43" y="361"/>
                    <a:pt x="41" y="353"/>
                    <a:pt x="44" y="353"/>
                  </a:cubicBezTo>
                  <a:cubicBezTo>
                    <a:pt x="46" y="352"/>
                    <a:pt x="44" y="358"/>
                    <a:pt x="49" y="360"/>
                  </a:cubicBezTo>
                  <a:cubicBezTo>
                    <a:pt x="55" y="362"/>
                    <a:pt x="50" y="359"/>
                    <a:pt x="52" y="357"/>
                  </a:cubicBezTo>
                  <a:cubicBezTo>
                    <a:pt x="55" y="355"/>
                    <a:pt x="58" y="363"/>
                    <a:pt x="61" y="363"/>
                  </a:cubicBezTo>
                  <a:cubicBezTo>
                    <a:pt x="63" y="364"/>
                    <a:pt x="61" y="360"/>
                    <a:pt x="59" y="358"/>
                  </a:cubicBezTo>
                  <a:cubicBezTo>
                    <a:pt x="58" y="356"/>
                    <a:pt x="61" y="357"/>
                    <a:pt x="64" y="358"/>
                  </a:cubicBezTo>
                  <a:cubicBezTo>
                    <a:pt x="67" y="359"/>
                    <a:pt x="69" y="359"/>
                    <a:pt x="69" y="357"/>
                  </a:cubicBezTo>
                  <a:cubicBezTo>
                    <a:pt x="70" y="356"/>
                    <a:pt x="70" y="356"/>
                    <a:pt x="71" y="357"/>
                  </a:cubicBezTo>
                  <a:cubicBezTo>
                    <a:pt x="68" y="355"/>
                    <a:pt x="59" y="356"/>
                    <a:pt x="57" y="356"/>
                  </a:cubicBezTo>
                  <a:cubicBezTo>
                    <a:pt x="56" y="356"/>
                    <a:pt x="57" y="334"/>
                    <a:pt x="57" y="329"/>
                  </a:cubicBezTo>
                  <a:cubicBezTo>
                    <a:pt x="57" y="329"/>
                    <a:pt x="57" y="329"/>
                    <a:pt x="57" y="329"/>
                  </a:cubicBezTo>
                  <a:cubicBezTo>
                    <a:pt x="54" y="329"/>
                    <a:pt x="49" y="330"/>
                    <a:pt x="50" y="326"/>
                  </a:cubicBezTo>
                  <a:cubicBezTo>
                    <a:pt x="50" y="326"/>
                    <a:pt x="51" y="325"/>
                    <a:pt x="51" y="325"/>
                  </a:cubicBezTo>
                  <a:cubicBezTo>
                    <a:pt x="50" y="324"/>
                    <a:pt x="48" y="323"/>
                    <a:pt x="47" y="323"/>
                  </a:cubicBezTo>
                  <a:cubicBezTo>
                    <a:pt x="43" y="322"/>
                    <a:pt x="34" y="323"/>
                    <a:pt x="32" y="32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6" name="Freeform 293">
              <a:extLst>
                <a:ext uri="{FF2B5EF4-FFF2-40B4-BE49-F238E27FC236}">
                  <a16:creationId xmlns:a16="http://schemas.microsoft.com/office/drawing/2014/main" id="{AEE6226B-1758-AEAC-D8EB-59186D3B1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504" y="4875408"/>
              <a:ext cx="266665" cy="271428"/>
            </a:xfrm>
            <a:custGeom>
              <a:avLst/>
              <a:gdLst>
                <a:gd name="T0" fmla="*/ 68 w 71"/>
                <a:gd name="T1" fmla="*/ 39 h 72"/>
                <a:gd name="T2" fmla="*/ 62 w 71"/>
                <a:gd name="T3" fmla="*/ 41 h 72"/>
                <a:gd name="T4" fmla="*/ 58 w 71"/>
                <a:gd name="T5" fmla="*/ 32 h 72"/>
                <a:gd name="T6" fmla="*/ 52 w 71"/>
                <a:gd name="T7" fmla="*/ 25 h 72"/>
                <a:gd name="T8" fmla="*/ 45 w 71"/>
                <a:gd name="T9" fmla="*/ 24 h 72"/>
                <a:gd name="T10" fmla="*/ 41 w 71"/>
                <a:gd name="T11" fmla="*/ 18 h 72"/>
                <a:gd name="T12" fmla="*/ 40 w 71"/>
                <a:gd name="T13" fmla="*/ 8 h 72"/>
                <a:gd name="T14" fmla="*/ 39 w 71"/>
                <a:gd name="T15" fmla="*/ 3 h 72"/>
                <a:gd name="T16" fmla="*/ 38 w 71"/>
                <a:gd name="T17" fmla="*/ 4 h 72"/>
                <a:gd name="T18" fmla="*/ 30 w 71"/>
                <a:gd name="T19" fmla="*/ 1 h 72"/>
                <a:gd name="T20" fmla="*/ 21 w 71"/>
                <a:gd name="T21" fmla="*/ 2 h 72"/>
                <a:gd name="T22" fmla="*/ 11 w 71"/>
                <a:gd name="T23" fmla="*/ 3 h 72"/>
                <a:gd name="T24" fmla="*/ 5 w 71"/>
                <a:gd name="T25" fmla="*/ 11 h 72"/>
                <a:gd name="T26" fmla="*/ 3 w 71"/>
                <a:gd name="T27" fmla="*/ 23 h 72"/>
                <a:gd name="T28" fmla="*/ 0 w 71"/>
                <a:gd name="T29" fmla="*/ 23 h 72"/>
                <a:gd name="T30" fmla="*/ 11 w 71"/>
                <a:gd name="T31" fmla="*/ 35 h 72"/>
                <a:gd name="T32" fmla="*/ 20 w 71"/>
                <a:gd name="T33" fmla="*/ 40 h 72"/>
                <a:gd name="T34" fmla="*/ 29 w 71"/>
                <a:gd name="T35" fmla="*/ 45 h 72"/>
                <a:gd name="T36" fmla="*/ 44 w 71"/>
                <a:gd name="T37" fmla="*/ 52 h 72"/>
                <a:gd name="T38" fmla="*/ 38 w 71"/>
                <a:gd name="T39" fmla="*/ 63 h 72"/>
                <a:gd name="T40" fmla="*/ 35 w 71"/>
                <a:gd name="T41" fmla="*/ 68 h 72"/>
                <a:gd name="T42" fmla="*/ 43 w 71"/>
                <a:gd name="T43" fmla="*/ 70 h 72"/>
                <a:gd name="T44" fmla="*/ 50 w 71"/>
                <a:gd name="T45" fmla="*/ 71 h 72"/>
                <a:gd name="T46" fmla="*/ 57 w 71"/>
                <a:gd name="T47" fmla="*/ 69 h 72"/>
                <a:gd name="T48" fmla="*/ 64 w 71"/>
                <a:gd name="T49" fmla="*/ 66 h 72"/>
                <a:gd name="T50" fmla="*/ 68 w 71"/>
                <a:gd name="T51" fmla="*/ 54 h 72"/>
                <a:gd name="T52" fmla="*/ 68 w 71"/>
                <a:gd name="T53" fmla="*/ 3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72">
                  <a:moveTo>
                    <a:pt x="68" y="39"/>
                  </a:moveTo>
                  <a:cubicBezTo>
                    <a:pt x="65" y="38"/>
                    <a:pt x="63" y="41"/>
                    <a:pt x="62" y="41"/>
                  </a:cubicBezTo>
                  <a:cubicBezTo>
                    <a:pt x="61" y="41"/>
                    <a:pt x="58" y="34"/>
                    <a:pt x="58" y="32"/>
                  </a:cubicBezTo>
                  <a:cubicBezTo>
                    <a:pt x="57" y="29"/>
                    <a:pt x="54" y="24"/>
                    <a:pt x="52" y="25"/>
                  </a:cubicBezTo>
                  <a:cubicBezTo>
                    <a:pt x="50" y="26"/>
                    <a:pt x="51" y="24"/>
                    <a:pt x="45" y="24"/>
                  </a:cubicBezTo>
                  <a:cubicBezTo>
                    <a:pt x="40" y="24"/>
                    <a:pt x="40" y="23"/>
                    <a:pt x="41" y="18"/>
                  </a:cubicBezTo>
                  <a:cubicBezTo>
                    <a:pt x="42" y="12"/>
                    <a:pt x="37" y="9"/>
                    <a:pt x="40" y="8"/>
                  </a:cubicBezTo>
                  <a:cubicBezTo>
                    <a:pt x="41" y="7"/>
                    <a:pt x="41" y="6"/>
                    <a:pt x="39" y="3"/>
                  </a:cubicBezTo>
                  <a:cubicBezTo>
                    <a:pt x="39" y="4"/>
                    <a:pt x="38" y="4"/>
                    <a:pt x="38" y="4"/>
                  </a:cubicBezTo>
                  <a:cubicBezTo>
                    <a:pt x="36" y="4"/>
                    <a:pt x="34" y="1"/>
                    <a:pt x="30" y="1"/>
                  </a:cubicBezTo>
                  <a:cubicBezTo>
                    <a:pt x="27" y="1"/>
                    <a:pt x="23" y="0"/>
                    <a:pt x="21" y="2"/>
                  </a:cubicBezTo>
                  <a:cubicBezTo>
                    <a:pt x="19" y="3"/>
                    <a:pt x="14" y="1"/>
                    <a:pt x="11" y="3"/>
                  </a:cubicBezTo>
                  <a:cubicBezTo>
                    <a:pt x="8" y="5"/>
                    <a:pt x="5" y="9"/>
                    <a:pt x="5" y="11"/>
                  </a:cubicBezTo>
                  <a:cubicBezTo>
                    <a:pt x="5" y="12"/>
                    <a:pt x="4" y="23"/>
                    <a:pt x="3" y="23"/>
                  </a:cubicBezTo>
                  <a:cubicBezTo>
                    <a:pt x="2" y="23"/>
                    <a:pt x="1" y="23"/>
                    <a:pt x="0" y="23"/>
                  </a:cubicBezTo>
                  <a:cubicBezTo>
                    <a:pt x="2" y="26"/>
                    <a:pt x="8" y="32"/>
                    <a:pt x="11" y="35"/>
                  </a:cubicBezTo>
                  <a:cubicBezTo>
                    <a:pt x="15" y="37"/>
                    <a:pt x="15" y="40"/>
                    <a:pt x="20" y="40"/>
                  </a:cubicBezTo>
                  <a:cubicBezTo>
                    <a:pt x="25" y="41"/>
                    <a:pt x="27" y="42"/>
                    <a:pt x="29" y="45"/>
                  </a:cubicBezTo>
                  <a:cubicBezTo>
                    <a:pt x="31" y="47"/>
                    <a:pt x="43" y="50"/>
                    <a:pt x="44" y="52"/>
                  </a:cubicBezTo>
                  <a:cubicBezTo>
                    <a:pt x="45" y="54"/>
                    <a:pt x="38" y="59"/>
                    <a:pt x="38" y="63"/>
                  </a:cubicBezTo>
                  <a:cubicBezTo>
                    <a:pt x="38" y="67"/>
                    <a:pt x="35" y="67"/>
                    <a:pt x="35" y="68"/>
                  </a:cubicBezTo>
                  <a:cubicBezTo>
                    <a:pt x="35" y="70"/>
                    <a:pt x="41" y="69"/>
                    <a:pt x="43" y="70"/>
                  </a:cubicBezTo>
                  <a:cubicBezTo>
                    <a:pt x="44" y="71"/>
                    <a:pt x="48" y="69"/>
                    <a:pt x="50" y="71"/>
                  </a:cubicBezTo>
                  <a:cubicBezTo>
                    <a:pt x="53" y="72"/>
                    <a:pt x="55" y="69"/>
                    <a:pt x="57" y="69"/>
                  </a:cubicBezTo>
                  <a:cubicBezTo>
                    <a:pt x="59" y="70"/>
                    <a:pt x="61" y="66"/>
                    <a:pt x="64" y="66"/>
                  </a:cubicBezTo>
                  <a:cubicBezTo>
                    <a:pt x="66" y="66"/>
                    <a:pt x="68" y="58"/>
                    <a:pt x="68" y="54"/>
                  </a:cubicBezTo>
                  <a:cubicBezTo>
                    <a:pt x="67" y="51"/>
                    <a:pt x="71" y="41"/>
                    <a:pt x="68" y="3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7" name="Freeform 294">
              <a:extLst>
                <a:ext uri="{FF2B5EF4-FFF2-40B4-BE49-F238E27FC236}">
                  <a16:creationId xmlns:a16="http://schemas.microsoft.com/office/drawing/2014/main" id="{E66E041B-FC18-B12F-8BCD-90E06797E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920" y="3943666"/>
              <a:ext cx="101587" cy="79365"/>
            </a:xfrm>
            <a:custGeom>
              <a:avLst/>
              <a:gdLst>
                <a:gd name="T0" fmla="*/ 26 w 27"/>
                <a:gd name="T1" fmla="*/ 17 h 21"/>
                <a:gd name="T2" fmla="*/ 27 w 27"/>
                <a:gd name="T3" fmla="*/ 12 h 21"/>
                <a:gd name="T4" fmla="*/ 19 w 27"/>
                <a:gd name="T5" fmla="*/ 2 h 21"/>
                <a:gd name="T6" fmla="*/ 15 w 27"/>
                <a:gd name="T7" fmla="*/ 1 h 21"/>
                <a:gd name="T8" fmla="*/ 7 w 27"/>
                <a:gd name="T9" fmla="*/ 0 h 21"/>
                <a:gd name="T10" fmla="*/ 2 w 27"/>
                <a:gd name="T11" fmla="*/ 0 h 21"/>
                <a:gd name="T12" fmla="*/ 2 w 27"/>
                <a:gd name="T13" fmla="*/ 3 h 21"/>
                <a:gd name="T14" fmla="*/ 4 w 27"/>
                <a:gd name="T15" fmla="*/ 10 h 21"/>
                <a:gd name="T16" fmla="*/ 9 w 27"/>
                <a:gd name="T17" fmla="*/ 9 h 21"/>
                <a:gd name="T18" fmla="*/ 12 w 27"/>
                <a:gd name="T19" fmla="*/ 12 h 21"/>
                <a:gd name="T20" fmla="*/ 18 w 27"/>
                <a:gd name="T21" fmla="*/ 17 h 21"/>
                <a:gd name="T22" fmla="*/ 23 w 27"/>
                <a:gd name="T23" fmla="*/ 21 h 21"/>
                <a:gd name="T24" fmla="*/ 24 w 27"/>
                <a:gd name="T25" fmla="*/ 21 h 21"/>
                <a:gd name="T26" fmla="*/ 26 w 27"/>
                <a:gd name="T27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1">
                  <a:moveTo>
                    <a:pt x="26" y="17"/>
                  </a:moveTo>
                  <a:cubicBezTo>
                    <a:pt x="25" y="16"/>
                    <a:pt x="25" y="14"/>
                    <a:pt x="27" y="12"/>
                  </a:cubicBezTo>
                  <a:cubicBezTo>
                    <a:pt x="24" y="9"/>
                    <a:pt x="21" y="4"/>
                    <a:pt x="19" y="2"/>
                  </a:cubicBezTo>
                  <a:cubicBezTo>
                    <a:pt x="17" y="2"/>
                    <a:pt x="16" y="2"/>
                    <a:pt x="15" y="1"/>
                  </a:cubicBezTo>
                  <a:cubicBezTo>
                    <a:pt x="13" y="0"/>
                    <a:pt x="9" y="1"/>
                    <a:pt x="7" y="0"/>
                  </a:cubicBezTo>
                  <a:cubicBezTo>
                    <a:pt x="6" y="0"/>
                    <a:pt x="4" y="0"/>
                    <a:pt x="2" y="0"/>
                  </a:cubicBezTo>
                  <a:cubicBezTo>
                    <a:pt x="3" y="1"/>
                    <a:pt x="3" y="2"/>
                    <a:pt x="2" y="3"/>
                  </a:cubicBezTo>
                  <a:cubicBezTo>
                    <a:pt x="0" y="4"/>
                    <a:pt x="0" y="8"/>
                    <a:pt x="4" y="10"/>
                  </a:cubicBezTo>
                  <a:cubicBezTo>
                    <a:pt x="8" y="11"/>
                    <a:pt x="7" y="9"/>
                    <a:pt x="9" y="9"/>
                  </a:cubicBezTo>
                  <a:cubicBezTo>
                    <a:pt x="11" y="9"/>
                    <a:pt x="10" y="12"/>
                    <a:pt x="12" y="12"/>
                  </a:cubicBezTo>
                  <a:cubicBezTo>
                    <a:pt x="14" y="12"/>
                    <a:pt x="18" y="14"/>
                    <a:pt x="18" y="17"/>
                  </a:cubicBezTo>
                  <a:cubicBezTo>
                    <a:pt x="18" y="20"/>
                    <a:pt x="19" y="21"/>
                    <a:pt x="23" y="21"/>
                  </a:cubicBezTo>
                  <a:cubicBezTo>
                    <a:pt x="23" y="21"/>
                    <a:pt x="24" y="21"/>
                    <a:pt x="24" y="21"/>
                  </a:cubicBezTo>
                  <a:cubicBezTo>
                    <a:pt x="25" y="19"/>
                    <a:pt x="26" y="18"/>
                    <a:pt x="26" y="1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8" name="Freeform 295">
              <a:extLst>
                <a:ext uri="{FF2B5EF4-FFF2-40B4-BE49-F238E27FC236}">
                  <a16:creationId xmlns:a16="http://schemas.microsoft.com/office/drawing/2014/main" id="{0A79CFB7-119E-5946-AFF6-FBBC1085D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402" y="3981762"/>
              <a:ext cx="176190" cy="87302"/>
            </a:xfrm>
            <a:custGeom>
              <a:avLst/>
              <a:gdLst>
                <a:gd name="T0" fmla="*/ 42 w 47"/>
                <a:gd name="T1" fmla="*/ 7 h 23"/>
                <a:gd name="T2" fmla="*/ 31 w 47"/>
                <a:gd name="T3" fmla="*/ 1 h 23"/>
                <a:gd name="T4" fmla="*/ 20 w 47"/>
                <a:gd name="T5" fmla="*/ 6 h 23"/>
                <a:gd name="T6" fmla="*/ 7 w 47"/>
                <a:gd name="T7" fmla="*/ 5 h 23"/>
                <a:gd name="T8" fmla="*/ 3 w 47"/>
                <a:gd name="T9" fmla="*/ 2 h 23"/>
                <a:gd name="T10" fmla="*/ 2 w 47"/>
                <a:gd name="T11" fmla="*/ 7 h 23"/>
                <a:gd name="T12" fmla="*/ 0 w 47"/>
                <a:gd name="T13" fmla="*/ 11 h 23"/>
                <a:gd name="T14" fmla="*/ 11 w 47"/>
                <a:gd name="T15" fmla="*/ 16 h 23"/>
                <a:gd name="T16" fmla="*/ 17 w 47"/>
                <a:gd name="T17" fmla="*/ 20 h 23"/>
                <a:gd name="T18" fmla="*/ 23 w 47"/>
                <a:gd name="T19" fmla="*/ 18 h 23"/>
                <a:gd name="T20" fmla="*/ 21 w 47"/>
                <a:gd name="T21" fmla="*/ 14 h 23"/>
                <a:gd name="T22" fmla="*/ 25 w 47"/>
                <a:gd name="T23" fmla="*/ 10 h 23"/>
                <a:gd name="T24" fmla="*/ 34 w 47"/>
                <a:gd name="T25" fmla="*/ 7 h 23"/>
                <a:gd name="T26" fmla="*/ 36 w 47"/>
                <a:gd name="T27" fmla="*/ 13 h 23"/>
                <a:gd name="T28" fmla="*/ 41 w 47"/>
                <a:gd name="T29" fmla="*/ 21 h 23"/>
                <a:gd name="T30" fmla="*/ 46 w 47"/>
                <a:gd name="T31" fmla="*/ 16 h 23"/>
                <a:gd name="T32" fmla="*/ 47 w 47"/>
                <a:gd name="T33" fmla="*/ 13 h 23"/>
                <a:gd name="T34" fmla="*/ 42 w 47"/>
                <a:gd name="T35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23">
                  <a:moveTo>
                    <a:pt x="42" y="7"/>
                  </a:moveTo>
                  <a:cubicBezTo>
                    <a:pt x="40" y="3"/>
                    <a:pt x="34" y="3"/>
                    <a:pt x="31" y="1"/>
                  </a:cubicBezTo>
                  <a:cubicBezTo>
                    <a:pt x="28" y="0"/>
                    <a:pt x="24" y="2"/>
                    <a:pt x="20" y="6"/>
                  </a:cubicBezTo>
                  <a:cubicBezTo>
                    <a:pt x="16" y="10"/>
                    <a:pt x="10" y="7"/>
                    <a:pt x="7" y="5"/>
                  </a:cubicBezTo>
                  <a:cubicBezTo>
                    <a:pt x="6" y="5"/>
                    <a:pt x="4" y="3"/>
                    <a:pt x="3" y="2"/>
                  </a:cubicBezTo>
                  <a:cubicBezTo>
                    <a:pt x="1" y="4"/>
                    <a:pt x="1" y="6"/>
                    <a:pt x="2" y="7"/>
                  </a:cubicBezTo>
                  <a:cubicBezTo>
                    <a:pt x="2" y="8"/>
                    <a:pt x="1" y="9"/>
                    <a:pt x="0" y="11"/>
                  </a:cubicBezTo>
                  <a:cubicBezTo>
                    <a:pt x="4" y="12"/>
                    <a:pt x="9" y="13"/>
                    <a:pt x="11" y="16"/>
                  </a:cubicBezTo>
                  <a:cubicBezTo>
                    <a:pt x="13" y="19"/>
                    <a:pt x="15" y="17"/>
                    <a:pt x="17" y="20"/>
                  </a:cubicBezTo>
                  <a:cubicBezTo>
                    <a:pt x="18" y="23"/>
                    <a:pt x="22" y="20"/>
                    <a:pt x="23" y="18"/>
                  </a:cubicBezTo>
                  <a:cubicBezTo>
                    <a:pt x="24" y="16"/>
                    <a:pt x="21" y="16"/>
                    <a:pt x="21" y="14"/>
                  </a:cubicBezTo>
                  <a:cubicBezTo>
                    <a:pt x="20" y="12"/>
                    <a:pt x="24" y="13"/>
                    <a:pt x="25" y="10"/>
                  </a:cubicBezTo>
                  <a:cubicBezTo>
                    <a:pt x="26" y="7"/>
                    <a:pt x="31" y="6"/>
                    <a:pt x="34" y="7"/>
                  </a:cubicBezTo>
                  <a:cubicBezTo>
                    <a:pt x="36" y="8"/>
                    <a:pt x="38" y="10"/>
                    <a:pt x="36" y="13"/>
                  </a:cubicBezTo>
                  <a:cubicBezTo>
                    <a:pt x="34" y="15"/>
                    <a:pt x="38" y="18"/>
                    <a:pt x="41" y="21"/>
                  </a:cubicBezTo>
                  <a:cubicBezTo>
                    <a:pt x="43" y="19"/>
                    <a:pt x="45" y="16"/>
                    <a:pt x="46" y="16"/>
                  </a:cubicBezTo>
                  <a:cubicBezTo>
                    <a:pt x="47" y="15"/>
                    <a:pt x="47" y="14"/>
                    <a:pt x="47" y="13"/>
                  </a:cubicBezTo>
                  <a:cubicBezTo>
                    <a:pt x="46" y="12"/>
                    <a:pt x="44" y="10"/>
                    <a:pt x="42" y="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59" name="Freeform 296">
              <a:extLst>
                <a:ext uri="{FF2B5EF4-FFF2-40B4-BE49-F238E27FC236}">
                  <a16:creationId xmlns:a16="http://schemas.microsoft.com/office/drawing/2014/main" id="{C8D4182D-2BE7-E59A-BF27-66AA8A5AA8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448" y="3896045"/>
              <a:ext cx="365077" cy="514284"/>
            </a:xfrm>
            <a:custGeom>
              <a:avLst/>
              <a:gdLst>
                <a:gd name="T0" fmla="*/ 15 w 97"/>
                <a:gd name="T1" fmla="*/ 100 h 137"/>
                <a:gd name="T2" fmla="*/ 21 w 97"/>
                <a:gd name="T3" fmla="*/ 100 h 137"/>
                <a:gd name="T4" fmla="*/ 27 w 97"/>
                <a:gd name="T5" fmla="*/ 104 h 137"/>
                <a:gd name="T6" fmla="*/ 28 w 97"/>
                <a:gd name="T7" fmla="*/ 105 h 137"/>
                <a:gd name="T8" fmla="*/ 35 w 97"/>
                <a:gd name="T9" fmla="*/ 104 h 137"/>
                <a:gd name="T10" fmla="*/ 39 w 97"/>
                <a:gd name="T11" fmla="*/ 111 h 137"/>
                <a:gd name="T12" fmla="*/ 44 w 97"/>
                <a:gd name="T13" fmla="*/ 116 h 137"/>
                <a:gd name="T14" fmla="*/ 47 w 97"/>
                <a:gd name="T15" fmla="*/ 121 h 137"/>
                <a:gd name="T16" fmla="*/ 57 w 97"/>
                <a:gd name="T17" fmla="*/ 122 h 137"/>
                <a:gd name="T18" fmla="*/ 61 w 97"/>
                <a:gd name="T19" fmla="*/ 122 h 137"/>
                <a:gd name="T20" fmla="*/ 67 w 97"/>
                <a:gd name="T21" fmla="*/ 121 h 137"/>
                <a:gd name="T22" fmla="*/ 73 w 97"/>
                <a:gd name="T23" fmla="*/ 126 h 137"/>
                <a:gd name="T24" fmla="*/ 68 w 97"/>
                <a:gd name="T25" fmla="*/ 133 h 137"/>
                <a:gd name="T26" fmla="*/ 73 w 97"/>
                <a:gd name="T27" fmla="*/ 137 h 137"/>
                <a:gd name="T28" fmla="*/ 74 w 97"/>
                <a:gd name="T29" fmla="*/ 137 h 137"/>
                <a:gd name="T30" fmla="*/ 77 w 97"/>
                <a:gd name="T31" fmla="*/ 126 h 137"/>
                <a:gd name="T32" fmla="*/ 78 w 97"/>
                <a:gd name="T33" fmla="*/ 115 h 137"/>
                <a:gd name="T34" fmla="*/ 73 w 97"/>
                <a:gd name="T35" fmla="*/ 102 h 137"/>
                <a:gd name="T36" fmla="*/ 79 w 97"/>
                <a:gd name="T37" fmla="*/ 97 h 137"/>
                <a:gd name="T38" fmla="*/ 77 w 97"/>
                <a:gd name="T39" fmla="*/ 94 h 137"/>
                <a:gd name="T40" fmla="*/ 75 w 97"/>
                <a:gd name="T41" fmla="*/ 90 h 137"/>
                <a:gd name="T42" fmla="*/ 87 w 97"/>
                <a:gd name="T43" fmla="*/ 89 h 137"/>
                <a:gd name="T44" fmla="*/ 96 w 97"/>
                <a:gd name="T45" fmla="*/ 86 h 137"/>
                <a:gd name="T46" fmla="*/ 95 w 97"/>
                <a:gd name="T47" fmla="*/ 82 h 137"/>
                <a:gd name="T48" fmla="*/ 95 w 97"/>
                <a:gd name="T49" fmla="*/ 76 h 137"/>
                <a:gd name="T50" fmla="*/ 92 w 97"/>
                <a:gd name="T51" fmla="*/ 70 h 137"/>
                <a:gd name="T52" fmla="*/ 94 w 97"/>
                <a:gd name="T53" fmla="*/ 55 h 137"/>
                <a:gd name="T54" fmla="*/ 84 w 97"/>
                <a:gd name="T55" fmla="*/ 52 h 137"/>
                <a:gd name="T56" fmla="*/ 73 w 97"/>
                <a:gd name="T57" fmla="*/ 47 h 137"/>
                <a:gd name="T58" fmla="*/ 59 w 97"/>
                <a:gd name="T59" fmla="*/ 46 h 137"/>
                <a:gd name="T60" fmla="*/ 54 w 97"/>
                <a:gd name="T61" fmla="*/ 36 h 137"/>
                <a:gd name="T62" fmla="*/ 51 w 97"/>
                <a:gd name="T63" fmla="*/ 30 h 137"/>
                <a:gd name="T64" fmla="*/ 47 w 97"/>
                <a:gd name="T65" fmla="*/ 29 h 137"/>
                <a:gd name="T66" fmla="*/ 48 w 97"/>
                <a:gd name="T67" fmla="*/ 25 h 137"/>
                <a:gd name="T68" fmla="*/ 49 w 97"/>
                <a:gd name="T69" fmla="*/ 19 h 137"/>
                <a:gd name="T70" fmla="*/ 56 w 97"/>
                <a:gd name="T71" fmla="*/ 10 h 137"/>
                <a:gd name="T72" fmla="*/ 59 w 97"/>
                <a:gd name="T73" fmla="*/ 8 h 137"/>
                <a:gd name="T74" fmla="*/ 61 w 97"/>
                <a:gd name="T75" fmla="*/ 7 h 137"/>
                <a:gd name="T76" fmla="*/ 63 w 97"/>
                <a:gd name="T77" fmla="*/ 2 h 137"/>
                <a:gd name="T78" fmla="*/ 54 w 97"/>
                <a:gd name="T79" fmla="*/ 6 h 137"/>
                <a:gd name="T80" fmla="*/ 47 w 97"/>
                <a:gd name="T81" fmla="*/ 10 h 137"/>
                <a:gd name="T82" fmla="*/ 39 w 97"/>
                <a:gd name="T83" fmla="*/ 12 h 137"/>
                <a:gd name="T84" fmla="*/ 36 w 97"/>
                <a:gd name="T85" fmla="*/ 12 h 137"/>
                <a:gd name="T86" fmla="*/ 28 w 97"/>
                <a:gd name="T87" fmla="*/ 19 h 137"/>
                <a:gd name="T88" fmla="*/ 25 w 97"/>
                <a:gd name="T89" fmla="*/ 26 h 137"/>
                <a:gd name="T90" fmla="*/ 17 w 97"/>
                <a:gd name="T91" fmla="*/ 36 h 137"/>
                <a:gd name="T92" fmla="*/ 15 w 97"/>
                <a:gd name="T93" fmla="*/ 36 h 137"/>
                <a:gd name="T94" fmla="*/ 14 w 97"/>
                <a:gd name="T95" fmla="*/ 39 h 137"/>
                <a:gd name="T96" fmla="*/ 9 w 97"/>
                <a:gd name="T97" fmla="*/ 44 h 137"/>
                <a:gd name="T98" fmla="*/ 11 w 97"/>
                <a:gd name="T99" fmla="*/ 46 h 137"/>
                <a:gd name="T100" fmla="*/ 13 w 97"/>
                <a:gd name="T101" fmla="*/ 53 h 137"/>
                <a:gd name="T102" fmla="*/ 13 w 97"/>
                <a:gd name="T103" fmla="*/ 57 h 137"/>
                <a:gd name="T104" fmla="*/ 14 w 97"/>
                <a:gd name="T105" fmla="*/ 70 h 137"/>
                <a:gd name="T106" fmla="*/ 13 w 97"/>
                <a:gd name="T107" fmla="*/ 77 h 137"/>
                <a:gd name="T108" fmla="*/ 6 w 97"/>
                <a:gd name="T109" fmla="*/ 82 h 137"/>
                <a:gd name="T110" fmla="*/ 2 w 97"/>
                <a:gd name="T111" fmla="*/ 87 h 137"/>
                <a:gd name="T112" fmla="*/ 0 w 97"/>
                <a:gd name="T113" fmla="*/ 90 h 137"/>
                <a:gd name="T114" fmla="*/ 10 w 97"/>
                <a:gd name="T115" fmla="*/ 96 h 137"/>
                <a:gd name="T116" fmla="*/ 15 w 97"/>
                <a:gd name="T117" fmla="*/ 10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7" h="137">
                  <a:moveTo>
                    <a:pt x="15" y="100"/>
                  </a:moveTo>
                  <a:cubicBezTo>
                    <a:pt x="18" y="101"/>
                    <a:pt x="21" y="101"/>
                    <a:pt x="21" y="100"/>
                  </a:cubicBezTo>
                  <a:cubicBezTo>
                    <a:pt x="22" y="99"/>
                    <a:pt x="24" y="101"/>
                    <a:pt x="27" y="104"/>
                  </a:cubicBezTo>
                  <a:cubicBezTo>
                    <a:pt x="27" y="104"/>
                    <a:pt x="27" y="104"/>
                    <a:pt x="28" y="105"/>
                  </a:cubicBezTo>
                  <a:cubicBezTo>
                    <a:pt x="30" y="104"/>
                    <a:pt x="33" y="104"/>
                    <a:pt x="35" y="104"/>
                  </a:cubicBezTo>
                  <a:cubicBezTo>
                    <a:pt x="37" y="106"/>
                    <a:pt x="36" y="111"/>
                    <a:pt x="39" y="111"/>
                  </a:cubicBezTo>
                  <a:cubicBezTo>
                    <a:pt x="42" y="111"/>
                    <a:pt x="45" y="114"/>
                    <a:pt x="44" y="116"/>
                  </a:cubicBezTo>
                  <a:cubicBezTo>
                    <a:pt x="44" y="118"/>
                    <a:pt x="48" y="119"/>
                    <a:pt x="47" y="121"/>
                  </a:cubicBezTo>
                  <a:cubicBezTo>
                    <a:pt x="47" y="124"/>
                    <a:pt x="56" y="123"/>
                    <a:pt x="57" y="122"/>
                  </a:cubicBezTo>
                  <a:cubicBezTo>
                    <a:pt x="58" y="121"/>
                    <a:pt x="60" y="121"/>
                    <a:pt x="61" y="122"/>
                  </a:cubicBezTo>
                  <a:cubicBezTo>
                    <a:pt x="63" y="123"/>
                    <a:pt x="65" y="121"/>
                    <a:pt x="67" y="121"/>
                  </a:cubicBezTo>
                  <a:cubicBezTo>
                    <a:pt x="68" y="122"/>
                    <a:pt x="74" y="124"/>
                    <a:pt x="73" y="126"/>
                  </a:cubicBezTo>
                  <a:cubicBezTo>
                    <a:pt x="71" y="128"/>
                    <a:pt x="68" y="131"/>
                    <a:pt x="68" y="133"/>
                  </a:cubicBezTo>
                  <a:cubicBezTo>
                    <a:pt x="69" y="134"/>
                    <a:pt x="72" y="135"/>
                    <a:pt x="73" y="137"/>
                  </a:cubicBezTo>
                  <a:cubicBezTo>
                    <a:pt x="73" y="137"/>
                    <a:pt x="73" y="137"/>
                    <a:pt x="74" y="137"/>
                  </a:cubicBezTo>
                  <a:cubicBezTo>
                    <a:pt x="76" y="136"/>
                    <a:pt x="77" y="128"/>
                    <a:pt x="77" y="126"/>
                  </a:cubicBezTo>
                  <a:cubicBezTo>
                    <a:pt x="77" y="123"/>
                    <a:pt x="78" y="117"/>
                    <a:pt x="78" y="115"/>
                  </a:cubicBezTo>
                  <a:cubicBezTo>
                    <a:pt x="80" y="110"/>
                    <a:pt x="73" y="107"/>
                    <a:pt x="73" y="102"/>
                  </a:cubicBezTo>
                  <a:cubicBezTo>
                    <a:pt x="73" y="97"/>
                    <a:pt x="76" y="100"/>
                    <a:pt x="79" y="97"/>
                  </a:cubicBezTo>
                  <a:cubicBezTo>
                    <a:pt x="82" y="95"/>
                    <a:pt x="78" y="94"/>
                    <a:pt x="77" y="94"/>
                  </a:cubicBezTo>
                  <a:cubicBezTo>
                    <a:pt x="76" y="94"/>
                    <a:pt x="74" y="91"/>
                    <a:pt x="75" y="90"/>
                  </a:cubicBezTo>
                  <a:cubicBezTo>
                    <a:pt x="75" y="88"/>
                    <a:pt x="84" y="89"/>
                    <a:pt x="87" y="89"/>
                  </a:cubicBezTo>
                  <a:cubicBezTo>
                    <a:pt x="90" y="89"/>
                    <a:pt x="96" y="86"/>
                    <a:pt x="96" y="86"/>
                  </a:cubicBezTo>
                  <a:cubicBezTo>
                    <a:pt x="96" y="85"/>
                    <a:pt x="97" y="83"/>
                    <a:pt x="95" y="82"/>
                  </a:cubicBezTo>
                  <a:cubicBezTo>
                    <a:pt x="92" y="80"/>
                    <a:pt x="93" y="78"/>
                    <a:pt x="95" y="76"/>
                  </a:cubicBezTo>
                  <a:cubicBezTo>
                    <a:pt x="97" y="74"/>
                    <a:pt x="94" y="72"/>
                    <a:pt x="92" y="70"/>
                  </a:cubicBezTo>
                  <a:cubicBezTo>
                    <a:pt x="90" y="67"/>
                    <a:pt x="91" y="59"/>
                    <a:pt x="94" y="55"/>
                  </a:cubicBezTo>
                  <a:cubicBezTo>
                    <a:pt x="96" y="51"/>
                    <a:pt x="89" y="52"/>
                    <a:pt x="84" y="52"/>
                  </a:cubicBezTo>
                  <a:cubicBezTo>
                    <a:pt x="80" y="53"/>
                    <a:pt x="76" y="51"/>
                    <a:pt x="73" y="47"/>
                  </a:cubicBezTo>
                  <a:cubicBezTo>
                    <a:pt x="70" y="44"/>
                    <a:pt x="66" y="46"/>
                    <a:pt x="59" y="46"/>
                  </a:cubicBezTo>
                  <a:cubicBezTo>
                    <a:pt x="52" y="46"/>
                    <a:pt x="54" y="39"/>
                    <a:pt x="54" y="36"/>
                  </a:cubicBezTo>
                  <a:cubicBezTo>
                    <a:pt x="54" y="33"/>
                    <a:pt x="51" y="32"/>
                    <a:pt x="51" y="30"/>
                  </a:cubicBezTo>
                  <a:cubicBezTo>
                    <a:pt x="51" y="28"/>
                    <a:pt x="49" y="28"/>
                    <a:pt x="47" y="29"/>
                  </a:cubicBezTo>
                  <a:cubicBezTo>
                    <a:pt x="45" y="29"/>
                    <a:pt x="47" y="26"/>
                    <a:pt x="48" y="25"/>
                  </a:cubicBezTo>
                  <a:cubicBezTo>
                    <a:pt x="49" y="23"/>
                    <a:pt x="49" y="22"/>
                    <a:pt x="49" y="19"/>
                  </a:cubicBezTo>
                  <a:cubicBezTo>
                    <a:pt x="49" y="16"/>
                    <a:pt x="54" y="13"/>
                    <a:pt x="56" y="10"/>
                  </a:cubicBezTo>
                  <a:cubicBezTo>
                    <a:pt x="57" y="9"/>
                    <a:pt x="58" y="9"/>
                    <a:pt x="59" y="8"/>
                  </a:cubicBezTo>
                  <a:cubicBezTo>
                    <a:pt x="59" y="7"/>
                    <a:pt x="60" y="7"/>
                    <a:pt x="61" y="7"/>
                  </a:cubicBezTo>
                  <a:cubicBezTo>
                    <a:pt x="64" y="6"/>
                    <a:pt x="66" y="4"/>
                    <a:pt x="63" y="2"/>
                  </a:cubicBezTo>
                  <a:cubicBezTo>
                    <a:pt x="59" y="0"/>
                    <a:pt x="57" y="5"/>
                    <a:pt x="54" y="6"/>
                  </a:cubicBezTo>
                  <a:cubicBezTo>
                    <a:pt x="50" y="6"/>
                    <a:pt x="49" y="9"/>
                    <a:pt x="47" y="10"/>
                  </a:cubicBezTo>
                  <a:cubicBezTo>
                    <a:pt x="44" y="11"/>
                    <a:pt x="39" y="10"/>
                    <a:pt x="39" y="12"/>
                  </a:cubicBezTo>
                  <a:cubicBezTo>
                    <a:pt x="39" y="15"/>
                    <a:pt x="38" y="12"/>
                    <a:pt x="36" y="12"/>
                  </a:cubicBezTo>
                  <a:cubicBezTo>
                    <a:pt x="33" y="11"/>
                    <a:pt x="28" y="16"/>
                    <a:pt x="28" y="19"/>
                  </a:cubicBezTo>
                  <a:cubicBezTo>
                    <a:pt x="28" y="21"/>
                    <a:pt x="29" y="24"/>
                    <a:pt x="25" y="26"/>
                  </a:cubicBezTo>
                  <a:cubicBezTo>
                    <a:pt x="21" y="29"/>
                    <a:pt x="19" y="34"/>
                    <a:pt x="17" y="36"/>
                  </a:cubicBezTo>
                  <a:cubicBezTo>
                    <a:pt x="17" y="36"/>
                    <a:pt x="16" y="36"/>
                    <a:pt x="15" y="36"/>
                  </a:cubicBezTo>
                  <a:cubicBezTo>
                    <a:pt x="15" y="37"/>
                    <a:pt x="15" y="38"/>
                    <a:pt x="14" y="39"/>
                  </a:cubicBezTo>
                  <a:cubicBezTo>
                    <a:pt x="13" y="39"/>
                    <a:pt x="11" y="42"/>
                    <a:pt x="9" y="44"/>
                  </a:cubicBezTo>
                  <a:cubicBezTo>
                    <a:pt x="10" y="45"/>
                    <a:pt x="11" y="46"/>
                    <a:pt x="11" y="46"/>
                  </a:cubicBezTo>
                  <a:cubicBezTo>
                    <a:pt x="14" y="49"/>
                    <a:pt x="12" y="51"/>
                    <a:pt x="13" y="53"/>
                  </a:cubicBezTo>
                  <a:cubicBezTo>
                    <a:pt x="14" y="54"/>
                    <a:pt x="14" y="56"/>
                    <a:pt x="13" y="57"/>
                  </a:cubicBezTo>
                  <a:cubicBezTo>
                    <a:pt x="12" y="58"/>
                    <a:pt x="13" y="68"/>
                    <a:pt x="14" y="70"/>
                  </a:cubicBezTo>
                  <a:cubicBezTo>
                    <a:pt x="16" y="71"/>
                    <a:pt x="14" y="73"/>
                    <a:pt x="13" y="77"/>
                  </a:cubicBezTo>
                  <a:cubicBezTo>
                    <a:pt x="11" y="80"/>
                    <a:pt x="9" y="82"/>
                    <a:pt x="6" y="82"/>
                  </a:cubicBezTo>
                  <a:cubicBezTo>
                    <a:pt x="3" y="82"/>
                    <a:pt x="3" y="87"/>
                    <a:pt x="2" y="87"/>
                  </a:cubicBezTo>
                  <a:cubicBezTo>
                    <a:pt x="1" y="87"/>
                    <a:pt x="1" y="89"/>
                    <a:pt x="0" y="90"/>
                  </a:cubicBezTo>
                  <a:cubicBezTo>
                    <a:pt x="3" y="93"/>
                    <a:pt x="9" y="96"/>
                    <a:pt x="10" y="96"/>
                  </a:cubicBezTo>
                  <a:cubicBezTo>
                    <a:pt x="12" y="96"/>
                    <a:pt x="13" y="98"/>
                    <a:pt x="15" y="10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0" name="Freeform 297">
              <a:extLst>
                <a:ext uri="{FF2B5EF4-FFF2-40B4-BE49-F238E27FC236}">
                  <a16:creationId xmlns:a16="http://schemas.microsoft.com/office/drawing/2014/main" id="{C8A7FEF2-2730-E0BA-F430-BD4B56CDEB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3161" y="4575404"/>
              <a:ext cx="371427" cy="420633"/>
            </a:xfrm>
            <a:custGeom>
              <a:avLst/>
              <a:gdLst>
                <a:gd name="T0" fmla="*/ 98 w 99"/>
                <a:gd name="T1" fmla="*/ 68 h 112"/>
                <a:gd name="T2" fmla="*/ 93 w 99"/>
                <a:gd name="T3" fmla="*/ 60 h 112"/>
                <a:gd name="T4" fmla="*/ 86 w 99"/>
                <a:gd name="T5" fmla="*/ 56 h 112"/>
                <a:gd name="T6" fmla="*/ 77 w 99"/>
                <a:gd name="T7" fmla="*/ 52 h 112"/>
                <a:gd name="T8" fmla="*/ 77 w 99"/>
                <a:gd name="T9" fmla="*/ 45 h 112"/>
                <a:gd name="T10" fmla="*/ 75 w 99"/>
                <a:gd name="T11" fmla="*/ 39 h 112"/>
                <a:gd name="T12" fmla="*/ 72 w 99"/>
                <a:gd name="T13" fmla="*/ 33 h 112"/>
                <a:gd name="T14" fmla="*/ 63 w 99"/>
                <a:gd name="T15" fmla="*/ 31 h 112"/>
                <a:gd name="T16" fmla="*/ 57 w 99"/>
                <a:gd name="T17" fmla="*/ 28 h 112"/>
                <a:gd name="T18" fmla="*/ 53 w 99"/>
                <a:gd name="T19" fmla="*/ 25 h 112"/>
                <a:gd name="T20" fmla="*/ 48 w 99"/>
                <a:gd name="T21" fmla="*/ 24 h 112"/>
                <a:gd name="T22" fmla="*/ 38 w 99"/>
                <a:gd name="T23" fmla="*/ 19 h 112"/>
                <a:gd name="T24" fmla="*/ 36 w 99"/>
                <a:gd name="T25" fmla="*/ 3 h 112"/>
                <a:gd name="T26" fmla="*/ 28 w 99"/>
                <a:gd name="T27" fmla="*/ 2 h 112"/>
                <a:gd name="T28" fmla="*/ 19 w 99"/>
                <a:gd name="T29" fmla="*/ 7 h 112"/>
                <a:gd name="T30" fmla="*/ 12 w 99"/>
                <a:gd name="T31" fmla="*/ 10 h 112"/>
                <a:gd name="T32" fmla="*/ 5 w 99"/>
                <a:gd name="T33" fmla="*/ 12 h 112"/>
                <a:gd name="T34" fmla="*/ 2 w 99"/>
                <a:gd name="T35" fmla="*/ 11 h 112"/>
                <a:gd name="T36" fmla="*/ 8 w 99"/>
                <a:gd name="T37" fmla="*/ 23 h 112"/>
                <a:gd name="T38" fmla="*/ 5 w 99"/>
                <a:gd name="T39" fmla="*/ 27 h 112"/>
                <a:gd name="T40" fmla="*/ 6 w 99"/>
                <a:gd name="T41" fmla="*/ 38 h 112"/>
                <a:gd name="T42" fmla="*/ 4 w 99"/>
                <a:gd name="T43" fmla="*/ 45 h 112"/>
                <a:gd name="T44" fmla="*/ 2 w 99"/>
                <a:gd name="T45" fmla="*/ 52 h 112"/>
                <a:gd name="T46" fmla="*/ 5 w 99"/>
                <a:gd name="T47" fmla="*/ 56 h 112"/>
                <a:gd name="T48" fmla="*/ 1 w 99"/>
                <a:gd name="T49" fmla="*/ 62 h 112"/>
                <a:gd name="T50" fmla="*/ 0 w 99"/>
                <a:gd name="T51" fmla="*/ 65 h 112"/>
                <a:gd name="T52" fmla="*/ 4 w 99"/>
                <a:gd name="T53" fmla="*/ 69 h 112"/>
                <a:gd name="T54" fmla="*/ 6 w 99"/>
                <a:gd name="T55" fmla="*/ 78 h 112"/>
                <a:gd name="T56" fmla="*/ 9 w 99"/>
                <a:gd name="T57" fmla="*/ 82 h 112"/>
                <a:gd name="T58" fmla="*/ 7 w 99"/>
                <a:gd name="T59" fmla="*/ 88 h 112"/>
                <a:gd name="T60" fmla="*/ 10 w 99"/>
                <a:gd name="T61" fmla="*/ 95 h 112"/>
                <a:gd name="T62" fmla="*/ 13 w 99"/>
                <a:gd name="T63" fmla="*/ 102 h 112"/>
                <a:gd name="T64" fmla="*/ 15 w 99"/>
                <a:gd name="T65" fmla="*/ 111 h 112"/>
                <a:gd name="T66" fmla="*/ 26 w 99"/>
                <a:gd name="T67" fmla="*/ 104 h 112"/>
                <a:gd name="T68" fmla="*/ 33 w 99"/>
                <a:gd name="T69" fmla="*/ 104 h 112"/>
                <a:gd name="T70" fmla="*/ 42 w 99"/>
                <a:gd name="T71" fmla="*/ 108 h 112"/>
                <a:gd name="T72" fmla="*/ 47 w 99"/>
                <a:gd name="T73" fmla="*/ 103 h 112"/>
                <a:gd name="T74" fmla="*/ 58 w 99"/>
                <a:gd name="T75" fmla="*/ 103 h 112"/>
                <a:gd name="T76" fmla="*/ 60 w 99"/>
                <a:gd name="T77" fmla="*/ 91 h 112"/>
                <a:gd name="T78" fmla="*/ 66 w 99"/>
                <a:gd name="T79" fmla="*/ 83 h 112"/>
                <a:gd name="T80" fmla="*/ 76 w 99"/>
                <a:gd name="T81" fmla="*/ 82 h 112"/>
                <a:gd name="T82" fmla="*/ 85 w 99"/>
                <a:gd name="T83" fmla="*/ 81 h 112"/>
                <a:gd name="T84" fmla="*/ 93 w 99"/>
                <a:gd name="T85" fmla="*/ 84 h 112"/>
                <a:gd name="T86" fmla="*/ 97 w 99"/>
                <a:gd name="T87" fmla="*/ 78 h 112"/>
                <a:gd name="T88" fmla="*/ 98 w 99"/>
                <a:gd name="T89" fmla="*/ 6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9" h="112">
                  <a:moveTo>
                    <a:pt x="98" y="68"/>
                  </a:moveTo>
                  <a:cubicBezTo>
                    <a:pt x="97" y="64"/>
                    <a:pt x="93" y="63"/>
                    <a:pt x="93" y="60"/>
                  </a:cubicBezTo>
                  <a:cubicBezTo>
                    <a:pt x="93" y="56"/>
                    <a:pt x="92" y="55"/>
                    <a:pt x="86" y="56"/>
                  </a:cubicBezTo>
                  <a:cubicBezTo>
                    <a:pt x="81" y="56"/>
                    <a:pt x="78" y="55"/>
                    <a:pt x="77" y="52"/>
                  </a:cubicBezTo>
                  <a:cubicBezTo>
                    <a:pt x="77" y="48"/>
                    <a:pt x="74" y="46"/>
                    <a:pt x="77" y="45"/>
                  </a:cubicBezTo>
                  <a:cubicBezTo>
                    <a:pt x="79" y="44"/>
                    <a:pt x="75" y="42"/>
                    <a:pt x="75" y="39"/>
                  </a:cubicBezTo>
                  <a:cubicBezTo>
                    <a:pt x="76" y="36"/>
                    <a:pt x="74" y="35"/>
                    <a:pt x="72" y="33"/>
                  </a:cubicBezTo>
                  <a:cubicBezTo>
                    <a:pt x="71" y="32"/>
                    <a:pt x="63" y="34"/>
                    <a:pt x="63" y="31"/>
                  </a:cubicBezTo>
                  <a:cubicBezTo>
                    <a:pt x="63" y="29"/>
                    <a:pt x="59" y="28"/>
                    <a:pt x="57" y="28"/>
                  </a:cubicBezTo>
                  <a:cubicBezTo>
                    <a:pt x="54" y="28"/>
                    <a:pt x="56" y="25"/>
                    <a:pt x="53" y="25"/>
                  </a:cubicBezTo>
                  <a:cubicBezTo>
                    <a:pt x="51" y="26"/>
                    <a:pt x="51" y="24"/>
                    <a:pt x="48" y="24"/>
                  </a:cubicBezTo>
                  <a:cubicBezTo>
                    <a:pt x="44" y="25"/>
                    <a:pt x="42" y="23"/>
                    <a:pt x="38" y="19"/>
                  </a:cubicBezTo>
                  <a:cubicBezTo>
                    <a:pt x="34" y="14"/>
                    <a:pt x="35" y="5"/>
                    <a:pt x="36" y="3"/>
                  </a:cubicBezTo>
                  <a:cubicBezTo>
                    <a:pt x="36" y="0"/>
                    <a:pt x="31" y="2"/>
                    <a:pt x="28" y="2"/>
                  </a:cubicBezTo>
                  <a:cubicBezTo>
                    <a:pt x="25" y="2"/>
                    <a:pt x="22" y="5"/>
                    <a:pt x="19" y="7"/>
                  </a:cubicBezTo>
                  <a:cubicBezTo>
                    <a:pt x="15" y="9"/>
                    <a:pt x="13" y="9"/>
                    <a:pt x="12" y="10"/>
                  </a:cubicBezTo>
                  <a:cubicBezTo>
                    <a:pt x="10" y="12"/>
                    <a:pt x="7" y="13"/>
                    <a:pt x="5" y="12"/>
                  </a:cubicBezTo>
                  <a:cubicBezTo>
                    <a:pt x="4" y="12"/>
                    <a:pt x="3" y="11"/>
                    <a:pt x="2" y="11"/>
                  </a:cubicBezTo>
                  <a:cubicBezTo>
                    <a:pt x="3" y="15"/>
                    <a:pt x="7" y="20"/>
                    <a:pt x="8" y="23"/>
                  </a:cubicBezTo>
                  <a:cubicBezTo>
                    <a:pt x="9" y="25"/>
                    <a:pt x="6" y="26"/>
                    <a:pt x="5" y="27"/>
                  </a:cubicBezTo>
                  <a:cubicBezTo>
                    <a:pt x="4" y="28"/>
                    <a:pt x="6" y="36"/>
                    <a:pt x="6" y="38"/>
                  </a:cubicBezTo>
                  <a:cubicBezTo>
                    <a:pt x="6" y="40"/>
                    <a:pt x="3" y="44"/>
                    <a:pt x="4" y="45"/>
                  </a:cubicBezTo>
                  <a:cubicBezTo>
                    <a:pt x="6" y="46"/>
                    <a:pt x="2" y="50"/>
                    <a:pt x="2" y="52"/>
                  </a:cubicBezTo>
                  <a:cubicBezTo>
                    <a:pt x="2" y="54"/>
                    <a:pt x="5" y="54"/>
                    <a:pt x="5" y="56"/>
                  </a:cubicBezTo>
                  <a:cubicBezTo>
                    <a:pt x="5" y="57"/>
                    <a:pt x="3" y="61"/>
                    <a:pt x="1" y="62"/>
                  </a:cubicBezTo>
                  <a:cubicBezTo>
                    <a:pt x="0" y="63"/>
                    <a:pt x="0" y="64"/>
                    <a:pt x="0" y="65"/>
                  </a:cubicBezTo>
                  <a:cubicBezTo>
                    <a:pt x="1" y="65"/>
                    <a:pt x="1" y="67"/>
                    <a:pt x="4" y="69"/>
                  </a:cubicBezTo>
                  <a:cubicBezTo>
                    <a:pt x="7" y="71"/>
                    <a:pt x="3" y="75"/>
                    <a:pt x="6" y="78"/>
                  </a:cubicBezTo>
                  <a:cubicBezTo>
                    <a:pt x="8" y="81"/>
                    <a:pt x="11" y="81"/>
                    <a:pt x="9" y="82"/>
                  </a:cubicBezTo>
                  <a:cubicBezTo>
                    <a:pt x="7" y="84"/>
                    <a:pt x="9" y="87"/>
                    <a:pt x="7" y="88"/>
                  </a:cubicBezTo>
                  <a:cubicBezTo>
                    <a:pt x="5" y="89"/>
                    <a:pt x="8" y="94"/>
                    <a:pt x="10" y="95"/>
                  </a:cubicBezTo>
                  <a:cubicBezTo>
                    <a:pt x="12" y="96"/>
                    <a:pt x="11" y="100"/>
                    <a:pt x="13" y="102"/>
                  </a:cubicBezTo>
                  <a:cubicBezTo>
                    <a:pt x="15" y="104"/>
                    <a:pt x="14" y="109"/>
                    <a:pt x="15" y="111"/>
                  </a:cubicBezTo>
                  <a:cubicBezTo>
                    <a:pt x="16" y="112"/>
                    <a:pt x="22" y="108"/>
                    <a:pt x="26" y="104"/>
                  </a:cubicBezTo>
                  <a:cubicBezTo>
                    <a:pt x="30" y="100"/>
                    <a:pt x="29" y="104"/>
                    <a:pt x="33" y="104"/>
                  </a:cubicBezTo>
                  <a:cubicBezTo>
                    <a:pt x="37" y="105"/>
                    <a:pt x="41" y="105"/>
                    <a:pt x="42" y="108"/>
                  </a:cubicBezTo>
                  <a:cubicBezTo>
                    <a:pt x="44" y="111"/>
                    <a:pt x="46" y="105"/>
                    <a:pt x="47" y="103"/>
                  </a:cubicBezTo>
                  <a:cubicBezTo>
                    <a:pt x="48" y="102"/>
                    <a:pt x="56" y="104"/>
                    <a:pt x="58" y="103"/>
                  </a:cubicBezTo>
                  <a:cubicBezTo>
                    <a:pt x="59" y="103"/>
                    <a:pt x="60" y="92"/>
                    <a:pt x="60" y="91"/>
                  </a:cubicBezTo>
                  <a:cubicBezTo>
                    <a:pt x="60" y="89"/>
                    <a:pt x="63" y="85"/>
                    <a:pt x="66" y="83"/>
                  </a:cubicBezTo>
                  <a:cubicBezTo>
                    <a:pt x="69" y="81"/>
                    <a:pt x="74" y="83"/>
                    <a:pt x="76" y="82"/>
                  </a:cubicBezTo>
                  <a:cubicBezTo>
                    <a:pt x="78" y="80"/>
                    <a:pt x="82" y="81"/>
                    <a:pt x="85" y="81"/>
                  </a:cubicBezTo>
                  <a:cubicBezTo>
                    <a:pt x="89" y="81"/>
                    <a:pt x="91" y="84"/>
                    <a:pt x="93" y="84"/>
                  </a:cubicBezTo>
                  <a:cubicBezTo>
                    <a:pt x="95" y="84"/>
                    <a:pt x="97" y="81"/>
                    <a:pt x="97" y="78"/>
                  </a:cubicBezTo>
                  <a:cubicBezTo>
                    <a:pt x="96" y="75"/>
                    <a:pt x="99" y="71"/>
                    <a:pt x="98" y="6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1" name="Freeform 298">
              <a:extLst>
                <a:ext uri="{FF2B5EF4-FFF2-40B4-BE49-F238E27FC236}">
                  <a16:creationId xmlns:a16="http://schemas.microsoft.com/office/drawing/2014/main" id="{ABA048E9-EF34-1416-9060-D44A915CB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2842" y="4286522"/>
              <a:ext cx="393649" cy="563490"/>
            </a:xfrm>
            <a:custGeom>
              <a:avLst/>
              <a:gdLst>
                <a:gd name="T0" fmla="*/ 96 w 105"/>
                <a:gd name="T1" fmla="*/ 143 h 150"/>
                <a:gd name="T2" fmla="*/ 96 w 105"/>
                <a:gd name="T3" fmla="*/ 142 h 150"/>
                <a:gd name="T4" fmla="*/ 97 w 105"/>
                <a:gd name="T5" fmla="*/ 139 h 150"/>
                <a:gd name="T6" fmla="*/ 101 w 105"/>
                <a:gd name="T7" fmla="*/ 133 h 150"/>
                <a:gd name="T8" fmla="*/ 98 w 105"/>
                <a:gd name="T9" fmla="*/ 129 h 150"/>
                <a:gd name="T10" fmla="*/ 100 w 105"/>
                <a:gd name="T11" fmla="*/ 122 h 150"/>
                <a:gd name="T12" fmla="*/ 102 w 105"/>
                <a:gd name="T13" fmla="*/ 115 h 150"/>
                <a:gd name="T14" fmla="*/ 101 w 105"/>
                <a:gd name="T15" fmla="*/ 104 h 150"/>
                <a:gd name="T16" fmla="*/ 104 w 105"/>
                <a:gd name="T17" fmla="*/ 100 h 150"/>
                <a:gd name="T18" fmla="*/ 98 w 105"/>
                <a:gd name="T19" fmla="*/ 88 h 150"/>
                <a:gd name="T20" fmla="*/ 90 w 105"/>
                <a:gd name="T21" fmla="*/ 89 h 150"/>
                <a:gd name="T22" fmla="*/ 88 w 105"/>
                <a:gd name="T23" fmla="*/ 78 h 150"/>
                <a:gd name="T24" fmla="*/ 85 w 105"/>
                <a:gd name="T25" fmla="*/ 79 h 150"/>
                <a:gd name="T26" fmla="*/ 76 w 105"/>
                <a:gd name="T27" fmla="*/ 80 h 150"/>
                <a:gd name="T28" fmla="*/ 72 w 105"/>
                <a:gd name="T29" fmla="*/ 76 h 150"/>
                <a:gd name="T30" fmla="*/ 68 w 105"/>
                <a:gd name="T31" fmla="*/ 72 h 150"/>
                <a:gd name="T32" fmla="*/ 65 w 105"/>
                <a:gd name="T33" fmla="*/ 66 h 150"/>
                <a:gd name="T34" fmla="*/ 62 w 105"/>
                <a:gd name="T35" fmla="*/ 59 h 150"/>
                <a:gd name="T36" fmla="*/ 64 w 105"/>
                <a:gd name="T37" fmla="*/ 53 h 150"/>
                <a:gd name="T38" fmla="*/ 67 w 105"/>
                <a:gd name="T39" fmla="*/ 49 h 150"/>
                <a:gd name="T40" fmla="*/ 70 w 105"/>
                <a:gd name="T41" fmla="*/ 42 h 150"/>
                <a:gd name="T42" fmla="*/ 77 w 105"/>
                <a:gd name="T43" fmla="*/ 37 h 150"/>
                <a:gd name="T44" fmla="*/ 87 w 105"/>
                <a:gd name="T45" fmla="*/ 33 h 150"/>
                <a:gd name="T46" fmla="*/ 93 w 105"/>
                <a:gd name="T47" fmla="*/ 33 h 150"/>
                <a:gd name="T48" fmla="*/ 88 w 105"/>
                <a:gd name="T49" fmla="*/ 29 h 150"/>
                <a:gd name="T50" fmla="*/ 93 w 105"/>
                <a:gd name="T51" fmla="*/ 22 h 150"/>
                <a:gd name="T52" fmla="*/ 87 w 105"/>
                <a:gd name="T53" fmla="*/ 17 h 150"/>
                <a:gd name="T54" fmla="*/ 81 w 105"/>
                <a:gd name="T55" fmla="*/ 18 h 150"/>
                <a:gd name="T56" fmla="*/ 77 w 105"/>
                <a:gd name="T57" fmla="*/ 18 h 150"/>
                <a:gd name="T58" fmla="*/ 67 w 105"/>
                <a:gd name="T59" fmla="*/ 17 h 150"/>
                <a:gd name="T60" fmla="*/ 64 w 105"/>
                <a:gd name="T61" fmla="*/ 12 h 150"/>
                <a:gd name="T62" fmla="*/ 59 w 105"/>
                <a:gd name="T63" fmla="*/ 7 h 150"/>
                <a:gd name="T64" fmla="*/ 55 w 105"/>
                <a:gd name="T65" fmla="*/ 0 h 150"/>
                <a:gd name="T66" fmla="*/ 48 w 105"/>
                <a:gd name="T67" fmla="*/ 1 h 150"/>
                <a:gd name="T68" fmla="*/ 49 w 105"/>
                <a:gd name="T69" fmla="*/ 6 h 150"/>
                <a:gd name="T70" fmla="*/ 45 w 105"/>
                <a:gd name="T71" fmla="*/ 15 h 150"/>
                <a:gd name="T72" fmla="*/ 29 w 105"/>
                <a:gd name="T73" fmla="*/ 23 h 150"/>
                <a:gd name="T74" fmla="*/ 22 w 105"/>
                <a:gd name="T75" fmla="*/ 36 h 150"/>
                <a:gd name="T76" fmla="*/ 16 w 105"/>
                <a:gd name="T77" fmla="*/ 36 h 150"/>
                <a:gd name="T78" fmla="*/ 10 w 105"/>
                <a:gd name="T79" fmla="*/ 35 h 150"/>
                <a:gd name="T80" fmla="*/ 10 w 105"/>
                <a:gd name="T81" fmla="*/ 31 h 150"/>
                <a:gd name="T82" fmla="*/ 9 w 105"/>
                <a:gd name="T83" fmla="*/ 26 h 150"/>
                <a:gd name="T84" fmla="*/ 2 w 105"/>
                <a:gd name="T85" fmla="*/ 33 h 150"/>
                <a:gd name="T86" fmla="*/ 5 w 105"/>
                <a:gd name="T87" fmla="*/ 44 h 150"/>
                <a:gd name="T88" fmla="*/ 2 w 105"/>
                <a:gd name="T89" fmla="*/ 47 h 150"/>
                <a:gd name="T90" fmla="*/ 11 w 105"/>
                <a:gd name="T91" fmla="*/ 54 h 150"/>
                <a:gd name="T92" fmla="*/ 19 w 105"/>
                <a:gd name="T93" fmla="*/ 65 h 150"/>
                <a:gd name="T94" fmla="*/ 25 w 105"/>
                <a:gd name="T95" fmla="*/ 77 h 150"/>
                <a:gd name="T96" fmla="*/ 37 w 105"/>
                <a:gd name="T97" fmla="*/ 101 h 150"/>
                <a:gd name="T98" fmla="*/ 42 w 105"/>
                <a:gd name="T99" fmla="*/ 111 h 150"/>
                <a:gd name="T100" fmla="*/ 45 w 105"/>
                <a:gd name="T101" fmla="*/ 118 h 150"/>
                <a:gd name="T102" fmla="*/ 58 w 105"/>
                <a:gd name="T103" fmla="*/ 127 h 150"/>
                <a:gd name="T104" fmla="*/ 81 w 105"/>
                <a:gd name="T105" fmla="*/ 141 h 150"/>
                <a:gd name="T106" fmla="*/ 91 w 105"/>
                <a:gd name="T107" fmla="*/ 149 h 150"/>
                <a:gd name="T108" fmla="*/ 91 w 105"/>
                <a:gd name="T109" fmla="*/ 150 h 150"/>
                <a:gd name="T110" fmla="*/ 93 w 105"/>
                <a:gd name="T111" fmla="*/ 149 h 150"/>
                <a:gd name="T112" fmla="*/ 96 w 105"/>
                <a:gd name="T113" fmla="*/ 14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5" h="150">
                  <a:moveTo>
                    <a:pt x="96" y="143"/>
                  </a:moveTo>
                  <a:cubicBezTo>
                    <a:pt x="96" y="142"/>
                    <a:pt x="96" y="142"/>
                    <a:pt x="96" y="142"/>
                  </a:cubicBezTo>
                  <a:cubicBezTo>
                    <a:pt x="96" y="141"/>
                    <a:pt x="96" y="140"/>
                    <a:pt x="97" y="139"/>
                  </a:cubicBezTo>
                  <a:cubicBezTo>
                    <a:pt x="99" y="138"/>
                    <a:pt x="101" y="134"/>
                    <a:pt x="101" y="133"/>
                  </a:cubicBezTo>
                  <a:cubicBezTo>
                    <a:pt x="101" y="131"/>
                    <a:pt x="98" y="131"/>
                    <a:pt x="98" y="129"/>
                  </a:cubicBezTo>
                  <a:cubicBezTo>
                    <a:pt x="98" y="127"/>
                    <a:pt x="102" y="123"/>
                    <a:pt x="100" y="122"/>
                  </a:cubicBezTo>
                  <a:cubicBezTo>
                    <a:pt x="99" y="121"/>
                    <a:pt x="102" y="117"/>
                    <a:pt x="102" y="115"/>
                  </a:cubicBezTo>
                  <a:cubicBezTo>
                    <a:pt x="102" y="113"/>
                    <a:pt x="100" y="105"/>
                    <a:pt x="101" y="104"/>
                  </a:cubicBezTo>
                  <a:cubicBezTo>
                    <a:pt x="102" y="103"/>
                    <a:pt x="105" y="102"/>
                    <a:pt x="104" y="100"/>
                  </a:cubicBezTo>
                  <a:cubicBezTo>
                    <a:pt x="103" y="97"/>
                    <a:pt x="99" y="92"/>
                    <a:pt x="98" y="88"/>
                  </a:cubicBezTo>
                  <a:cubicBezTo>
                    <a:pt x="95" y="88"/>
                    <a:pt x="92" y="88"/>
                    <a:pt x="90" y="89"/>
                  </a:cubicBezTo>
                  <a:cubicBezTo>
                    <a:pt x="88" y="90"/>
                    <a:pt x="88" y="81"/>
                    <a:pt x="88" y="78"/>
                  </a:cubicBezTo>
                  <a:cubicBezTo>
                    <a:pt x="88" y="75"/>
                    <a:pt x="86" y="77"/>
                    <a:pt x="85" y="79"/>
                  </a:cubicBezTo>
                  <a:cubicBezTo>
                    <a:pt x="84" y="81"/>
                    <a:pt x="80" y="80"/>
                    <a:pt x="76" y="80"/>
                  </a:cubicBezTo>
                  <a:cubicBezTo>
                    <a:pt x="72" y="80"/>
                    <a:pt x="74" y="75"/>
                    <a:pt x="72" y="76"/>
                  </a:cubicBezTo>
                  <a:cubicBezTo>
                    <a:pt x="70" y="76"/>
                    <a:pt x="68" y="75"/>
                    <a:pt x="68" y="72"/>
                  </a:cubicBezTo>
                  <a:cubicBezTo>
                    <a:pt x="68" y="70"/>
                    <a:pt x="66" y="68"/>
                    <a:pt x="65" y="66"/>
                  </a:cubicBezTo>
                  <a:cubicBezTo>
                    <a:pt x="63" y="63"/>
                    <a:pt x="61" y="60"/>
                    <a:pt x="62" y="59"/>
                  </a:cubicBezTo>
                  <a:cubicBezTo>
                    <a:pt x="64" y="57"/>
                    <a:pt x="61" y="56"/>
                    <a:pt x="64" y="53"/>
                  </a:cubicBezTo>
                  <a:cubicBezTo>
                    <a:pt x="66" y="51"/>
                    <a:pt x="68" y="52"/>
                    <a:pt x="67" y="49"/>
                  </a:cubicBezTo>
                  <a:cubicBezTo>
                    <a:pt x="66" y="46"/>
                    <a:pt x="70" y="45"/>
                    <a:pt x="70" y="42"/>
                  </a:cubicBezTo>
                  <a:cubicBezTo>
                    <a:pt x="70" y="38"/>
                    <a:pt x="74" y="39"/>
                    <a:pt x="77" y="37"/>
                  </a:cubicBezTo>
                  <a:cubicBezTo>
                    <a:pt x="80" y="34"/>
                    <a:pt x="84" y="36"/>
                    <a:pt x="87" y="33"/>
                  </a:cubicBezTo>
                  <a:cubicBezTo>
                    <a:pt x="89" y="31"/>
                    <a:pt x="91" y="33"/>
                    <a:pt x="93" y="33"/>
                  </a:cubicBezTo>
                  <a:cubicBezTo>
                    <a:pt x="92" y="31"/>
                    <a:pt x="89" y="30"/>
                    <a:pt x="88" y="29"/>
                  </a:cubicBezTo>
                  <a:cubicBezTo>
                    <a:pt x="88" y="27"/>
                    <a:pt x="91" y="24"/>
                    <a:pt x="93" y="22"/>
                  </a:cubicBezTo>
                  <a:cubicBezTo>
                    <a:pt x="94" y="20"/>
                    <a:pt x="88" y="18"/>
                    <a:pt x="87" y="17"/>
                  </a:cubicBezTo>
                  <a:cubicBezTo>
                    <a:pt x="85" y="17"/>
                    <a:pt x="83" y="19"/>
                    <a:pt x="81" y="18"/>
                  </a:cubicBezTo>
                  <a:cubicBezTo>
                    <a:pt x="80" y="17"/>
                    <a:pt x="78" y="17"/>
                    <a:pt x="77" y="18"/>
                  </a:cubicBezTo>
                  <a:cubicBezTo>
                    <a:pt x="76" y="19"/>
                    <a:pt x="67" y="20"/>
                    <a:pt x="67" y="17"/>
                  </a:cubicBezTo>
                  <a:cubicBezTo>
                    <a:pt x="68" y="15"/>
                    <a:pt x="64" y="14"/>
                    <a:pt x="64" y="12"/>
                  </a:cubicBezTo>
                  <a:cubicBezTo>
                    <a:pt x="65" y="10"/>
                    <a:pt x="62" y="7"/>
                    <a:pt x="59" y="7"/>
                  </a:cubicBezTo>
                  <a:cubicBezTo>
                    <a:pt x="56" y="7"/>
                    <a:pt x="57" y="2"/>
                    <a:pt x="55" y="0"/>
                  </a:cubicBezTo>
                  <a:cubicBezTo>
                    <a:pt x="53" y="0"/>
                    <a:pt x="50" y="0"/>
                    <a:pt x="48" y="1"/>
                  </a:cubicBezTo>
                  <a:cubicBezTo>
                    <a:pt x="50" y="4"/>
                    <a:pt x="51" y="5"/>
                    <a:pt x="49" y="6"/>
                  </a:cubicBezTo>
                  <a:cubicBezTo>
                    <a:pt x="47" y="8"/>
                    <a:pt x="49" y="9"/>
                    <a:pt x="45" y="15"/>
                  </a:cubicBezTo>
                  <a:cubicBezTo>
                    <a:pt x="41" y="20"/>
                    <a:pt x="33" y="22"/>
                    <a:pt x="29" y="23"/>
                  </a:cubicBezTo>
                  <a:cubicBezTo>
                    <a:pt x="26" y="24"/>
                    <a:pt x="24" y="31"/>
                    <a:pt x="22" y="36"/>
                  </a:cubicBezTo>
                  <a:cubicBezTo>
                    <a:pt x="20" y="41"/>
                    <a:pt x="18" y="39"/>
                    <a:pt x="16" y="36"/>
                  </a:cubicBezTo>
                  <a:cubicBezTo>
                    <a:pt x="14" y="33"/>
                    <a:pt x="12" y="37"/>
                    <a:pt x="10" y="35"/>
                  </a:cubicBezTo>
                  <a:cubicBezTo>
                    <a:pt x="8" y="32"/>
                    <a:pt x="9" y="32"/>
                    <a:pt x="10" y="31"/>
                  </a:cubicBezTo>
                  <a:cubicBezTo>
                    <a:pt x="11" y="30"/>
                    <a:pt x="10" y="28"/>
                    <a:pt x="9" y="26"/>
                  </a:cubicBezTo>
                  <a:cubicBezTo>
                    <a:pt x="6" y="27"/>
                    <a:pt x="3" y="31"/>
                    <a:pt x="2" y="33"/>
                  </a:cubicBezTo>
                  <a:cubicBezTo>
                    <a:pt x="0" y="36"/>
                    <a:pt x="4" y="42"/>
                    <a:pt x="5" y="44"/>
                  </a:cubicBezTo>
                  <a:cubicBezTo>
                    <a:pt x="5" y="47"/>
                    <a:pt x="3" y="45"/>
                    <a:pt x="2" y="47"/>
                  </a:cubicBezTo>
                  <a:cubicBezTo>
                    <a:pt x="2" y="49"/>
                    <a:pt x="8" y="51"/>
                    <a:pt x="11" y="54"/>
                  </a:cubicBezTo>
                  <a:cubicBezTo>
                    <a:pt x="14" y="56"/>
                    <a:pt x="16" y="62"/>
                    <a:pt x="19" y="65"/>
                  </a:cubicBezTo>
                  <a:cubicBezTo>
                    <a:pt x="22" y="67"/>
                    <a:pt x="22" y="70"/>
                    <a:pt x="25" y="77"/>
                  </a:cubicBezTo>
                  <a:cubicBezTo>
                    <a:pt x="28" y="84"/>
                    <a:pt x="33" y="96"/>
                    <a:pt x="37" y="101"/>
                  </a:cubicBezTo>
                  <a:cubicBezTo>
                    <a:pt x="41" y="106"/>
                    <a:pt x="43" y="110"/>
                    <a:pt x="42" y="111"/>
                  </a:cubicBezTo>
                  <a:cubicBezTo>
                    <a:pt x="41" y="112"/>
                    <a:pt x="42" y="116"/>
                    <a:pt x="45" y="118"/>
                  </a:cubicBezTo>
                  <a:cubicBezTo>
                    <a:pt x="48" y="120"/>
                    <a:pt x="50" y="123"/>
                    <a:pt x="58" y="127"/>
                  </a:cubicBezTo>
                  <a:cubicBezTo>
                    <a:pt x="65" y="131"/>
                    <a:pt x="79" y="138"/>
                    <a:pt x="81" y="141"/>
                  </a:cubicBezTo>
                  <a:cubicBezTo>
                    <a:pt x="83" y="145"/>
                    <a:pt x="89" y="148"/>
                    <a:pt x="91" y="149"/>
                  </a:cubicBezTo>
                  <a:cubicBezTo>
                    <a:pt x="91" y="149"/>
                    <a:pt x="91" y="150"/>
                    <a:pt x="91" y="150"/>
                  </a:cubicBezTo>
                  <a:cubicBezTo>
                    <a:pt x="92" y="150"/>
                    <a:pt x="92" y="149"/>
                    <a:pt x="93" y="149"/>
                  </a:cubicBezTo>
                  <a:cubicBezTo>
                    <a:pt x="95" y="148"/>
                    <a:pt x="95" y="144"/>
                    <a:pt x="96" y="14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2" name="Freeform 299">
              <a:extLst>
                <a:ext uri="{FF2B5EF4-FFF2-40B4-BE49-F238E27FC236}">
                  <a16:creationId xmlns:a16="http://schemas.microsoft.com/office/drawing/2014/main" id="{CB9A5BED-F7AC-B9C2-4E62-AAEFD8076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7284" y="3910332"/>
              <a:ext cx="420633" cy="353967"/>
            </a:xfrm>
            <a:custGeom>
              <a:avLst/>
              <a:gdLst>
                <a:gd name="T0" fmla="*/ 11 w 112"/>
                <a:gd name="T1" fmla="*/ 6 h 94"/>
                <a:gd name="T2" fmla="*/ 4 w 112"/>
                <a:gd name="T3" fmla="*/ 15 h 94"/>
                <a:gd name="T4" fmla="*/ 3 w 112"/>
                <a:gd name="T5" fmla="*/ 21 h 94"/>
                <a:gd name="T6" fmla="*/ 2 w 112"/>
                <a:gd name="T7" fmla="*/ 25 h 94"/>
                <a:gd name="T8" fmla="*/ 6 w 112"/>
                <a:gd name="T9" fmla="*/ 26 h 94"/>
                <a:gd name="T10" fmla="*/ 9 w 112"/>
                <a:gd name="T11" fmla="*/ 32 h 94"/>
                <a:gd name="T12" fmla="*/ 14 w 112"/>
                <a:gd name="T13" fmla="*/ 42 h 94"/>
                <a:gd name="T14" fmla="*/ 28 w 112"/>
                <a:gd name="T15" fmla="*/ 43 h 94"/>
                <a:gd name="T16" fmla="*/ 39 w 112"/>
                <a:gd name="T17" fmla="*/ 48 h 94"/>
                <a:gd name="T18" fmla="*/ 49 w 112"/>
                <a:gd name="T19" fmla="*/ 51 h 94"/>
                <a:gd name="T20" fmla="*/ 47 w 112"/>
                <a:gd name="T21" fmla="*/ 66 h 94"/>
                <a:gd name="T22" fmla="*/ 50 w 112"/>
                <a:gd name="T23" fmla="*/ 72 h 94"/>
                <a:gd name="T24" fmla="*/ 50 w 112"/>
                <a:gd name="T25" fmla="*/ 78 h 94"/>
                <a:gd name="T26" fmla="*/ 51 w 112"/>
                <a:gd name="T27" fmla="*/ 82 h 94"/>
                <a:gd name="T28" fmla="*/ 50 w 112"/>
                <a:gd name="T29" fmla="*/ 83 h 94"/>
                <a:gd name="T30" fmla="*/ 56 w 112"/>
                <a:gd name="T31" fmla="*/ 91 h 94"/>
                <a:gd name="T32" fmla="*/ 61 w 112"/>
                <a:gd name="T33" fmla="*/ 93 h 94"/>
                <a:gd name="T34" fmla="*/ 65 w 112"/>
                <a:gd name="T35" fmla="*/ 92 h 94"/>
                <a:gd name="T36" fmla="*/ 71 w 112"/>
                <a:gd name="T37" fmla="*/ 89 h 94"/>
                <a:gd name="T38" fmla="*/ 76 w 112"/>
                <a:gd name="T39" fmla="*/ 86 h 94"/>
                <a:gd name="T40" fmla="*/ 81 w 112"/>
                <a:gd name="T41" fmla="*/ 82 h 94"/>
                <a:gd name="T42" fmla="*/ 82 w 112"/>
                <a:gd name="T43" fmla="*/ 79 h 94"/>
                <a:gd name="T44" fmla="*/ 78 w 112"/>
                <a:gd name="T45" fmla="*/ 78 h 94"/>
                <a:gd name="T46" fmla="*/ 75 w 112"/>
                <a:gd name="T47" fmla="*/ 73 h 94"/>
                <a:gd name="T48" fmla="*/ 72 w 112"/>
                <a:gd name="T49" fmla="*/ 67 h 94"/>
                <a:gd name="T50" fmla="*/ 78 w 112"/>
                <a:gd name="T51" fmla="*/ 66 h 94"/>
                <a:gd name="T52" fmla="*/ 85 w 112"/>
                <a:gd name="T53" fmla="*/ 68 h 94"/>
                <a:gd name="T54" fmla="*/ 88 w 112"/>
                <a:gd name="T55" fmla="*/ 68 h 94"/>
                <a:gd name="T56" fmla="*/ 93 w 112"/>
                <a:gd name="T57" fmla="*/ 65 h 94"/>
                <a:gd name="T58" fmla="*/ 103 w 112"/>
                <a:gd name="T59" fmla="*/ 61 h 94"/>
                <a:gd name="T60" fmla="*/ 105 w 112"/>
                <a:gd name="T61" fmla="*/ 58 h 94"/>
                <a:gd name="T62" fmla="*/ 100 w 112"/>
                <a:gd name="T63" fmla="*/ 52 h 94"/>
                <a:gd name="T64" fmla="*/ 101 w 112"/>
                <a:gd name="T65" fmla="*/ 48 h 94"/>
                <a:gd name="T66" fmla="*/ 105 w 112"/>
                <a:gd name="T67" fmla="*/ 44 h 94"/>
                <a:gd name="T68" fmla="*/ 106 w 112"/>
                <a:gd name="T69" fmla="*/ 39 h 94"/>
                <a:gd name="T70" fmla="*/ 109 w 112"/>
                <a:gd name="T71" fmla="*/ 34 h 94"/>
                <a:gd name="T72" fmla="*/ 112 w 112"/>
                <a:gd name="T73" fmla="*/ 30 h 94"/>
                <a:gd name="T74" fmla="*/ 100 w 112"/>
                <a:gd name="T75" fmla="*/ 29 h 94"/>
                <a:gd name="T76" fmla="*/ 102 w 112"/>
                <a:gd name="T77" fmla="*/ 22 h 94"/>
                <a:gd name="T78" fmla="*/ 90 w 112"/>
                <a:gd name="T79" fmla="*/ 18 h 94"/>
                <a:gd name="T80" fmla="*/ 91 w 112"/>
                <a:gd name="T81" fmla="*/ 13 h 94"/>
                <a:gd name="T82" fmla="*/ 85 w 112"/>
                <a:gd name="T83" fmla="*/ 11 h 94"/>
                <a:gd name="T84" fmla="*/ 69 w 112"/>
                <a:gd name="T85" fmla="*/ 17 h 94"/>
                <a:gd name="T86" fmla="*/ 54 w 112"/>
                <a:gd name="T87" fmla="*/ 12 h 94"/>
                <a:gd name="T88" fmla="*/ 43 w 112"/>
                <a:gd name="T89" fmla="*/ 11 h 94"/>
                <a:gd name="T90" fmla="*/ 37 w 112"/>
                <a:gd name="T91" fmla="*/ 4 h 94"/>
                <a:gd name="T92" fmla="*/ 30 w 112"/>
                <a:gd name="T93" fmla="*/ 0 h 94"/>
                <a:gd name="T94" fmla="*/ 28 w 112"/>
                <a:gd name="T95" fmla="*/ 5 h 94"/>
                <a:gd name="T96" fmla="*/ 17 w 112"/>
                <a:gd name="T97" fmla="*/ 11 h 94"/>
                <a:gd name="T98" fmla="*/ 20 w 112"/>
                <a:gd name="T99" fmla="*/ 23 h 94"/>
                <a:gd name="T100" fmla="*/ 11 w 112"/>
                <a:gd name="T101" fmla="*/ 20 h 94"/>
                <a:gd name="T102" fmla="*/ 15 w 112"/>
                <a:gd name="T103" fmla="*/ 10 h 94"/>
                <a:gd name="T104" fmla="*/ 14 w 112"/>
                <a:gd name="T105" fmla="*/ 4 h 94"/>
                <a:gd name="T106" fmla="*/ 11 w 112"/>
                <a:gd name="T107" fmla="*/ 6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2" h="94">
                  <a:moveTo>
                    <a:pt x="11" y="6"/>
                  </a:moveTo>
                  <a:cubicBezTo>
                    <a:pt x="9" y="9"/>
                    <a:pt x="4" y="12"/>
                    <a:pt x="4" y="15"/>
                  </a:cubicBezTo>
                  <a:cubicBezTo>
                    <a:pt x="4" y="18"/>
                    <a:pt x="4" y="19"/>
                    <a:pt x="3" y="21"/>
                  </a:cubicBezTo>
                  <a:cubicBezTo>
                    <a:pt x="2" y="22"/>
                    <a:pt x="0" y="25"/>
                    <a:pt x="2" y="25"/>
                  </a:cubicBezTo>
                  <a:cubicBezTo>
                    <a:pt x="4" y="24"/>
                    <a:pt x="6" y="24"/>
                    <a:pt x="6" y="26"/>
                  </a:cubicBezTo>
                  <a:cubicBezTo>
                    <a:pt x="6" y="28"/>
                    <a:pt x="9" y="29"/>
                    <a:pt x="9" y="32"/>
                  </a:cubicBezTo>
                  <a:cubicBezTo>
                    <a:pt x="9" y="35"/>
                    <a:pt x="7" y="42"/>
                    <a:pt x="14" y="42"/>
                  </a:cubicBezTo>
                  <a:cubicBezTo>
                    <a:pt x="21" y="42"/>
                    <a:pt x="25" y="40"/>
                    <a:pt x="28" y="43"/>
                  </a:cubicBezTo>
                  <a:cubicBezTo>
                    <a:pt x="31" y="47"/>
                    <a:pt x="35" y="49"/>
                    <a:pt x="39" y="48"/>
                  </a:cubicBezTo>
                  <a:cubicBezTo>
                    <a:pt x="44" y="48"/>
                    <a:pt x="51" y="47"/>
                    <a:pt x="49" y="51"/>
                  </a:cubicBezTo>
                  <a:cubicBezTo>
                    <a:pt x="46" y="55"/>
                    <a:pt x="45" y="63"/>
                    <a:pt x="47" y="66"/>
                  </a:cubicBezTo>
                  <a:cubicBezTo>
                    <a:pt x="49" y="68"/>
                    <a:pt x="52" y="70"/>
                    <a:pt x="50" y="72"/>
                  </a:cubicBezTo>
                  <a:cubicBezTo>
                    <a:pt x="48" y="74"/>
                    <a:pt x="47" y="76"/>
                    <a:pt x="50" y="78"/>
                  </a:cubicBezTo>
                  <a:cubicBezTo>
                    <a:pt x="52" y="79"/>
                    <a:pt x="51" y="81"/>
                    <a:pt x="51" y="82"/>
                  </a:cubicBezTo>
                  <a:cubicBezTo>
                    <a:pt x="51" y="82"/>
                    <a:pt x="51" y="82"/>
                    <a:pt x="50" y="83"/>
                  </a:cubicBezTo>
                  <a:cubicBezTo>
                    <a:pt x="53" y="86"/>
                    <a:pt x="54" y="89"/>
                    <a:pt x="56" y="91"/>
                  </a:cubicBezTo>
                  <a:cubicBezTo>
                    <a:pt x="59" y="93"/>
                    <a:pt x="59" y="94"/>
                    <a:pt x="61" y="93"/>
                  </a:cubicBezTo>
                  <a:cubicBezTo>
                    <a:pt x="63" y="92"/>
                    <a:pt x="64" y="91"/>
                    <a:pt x="65" y="92"/>
                  </a:cubicBezTo>
                  <a:cubicBezTo>
                    <a:pt x="67" y="93"/>
                    <a:pt x="69" y="91"/>
                    <a:pt x="71" y="89"/>
                  </a:cubicBezTo>
                  <a:cubicBezTo>
                    <a:pt x="73" y="87"/>
                    <a:pt x="75" y="89"/>
                    <a:pt x="76" y="86"/>
                  </a:cubicBezTo>
                  <a:cubicBezTo>
                    <a:pt x="77" y="84"/>
                    <a:pt x="78" y="82"/>
                    <a:pt x="81" y="82"/>
                  </a:cubicBezTo>
                  <a:cubicBezTo>
                    <a:pt x="83" y="81"/>
                    <a:pt x="83" y="79"/>
                    <a:pt x="82" y="79"/>
                  </a:cubicBezTo>
                  <a:cubicBezTo>
                    <a:pt x="80" y="79"/>
                    <a:pt x="78" y="81"/>
                    <a:pt x="78" y="78"/>
                  </a:cubicBezTo>
                  <a:cubicBezTo>
                    <a:pt x="78" y="74"/>
                    <a:pt x="75" y="75"/>
                    <a:pt x="75" y="73"/>
                  </a:cubicBezTo>
                  <a:cubicBezTo>
                    <a:pt x="75" y="70"/>
                    <a:pt x="75" y="68"/>
                    <a:pt x="72" y="67"/>
                  </a:cubicBezTo>
                  <a:cubicBezTo>
                    <a:pt x="69" y="65"/>
                    <a:pt x="76" y="64"/>
                    <a:pt x="78" y="66"/>
                  </a:cubicBezTo>
                  <a:cubicBezTo>
                    <a:pt x="79" y="67"/>
                    <a:pt x="84" y="66"/>
                    <a:pt x="85" y="68"/>
                  </a:cubicBezTo>
                  <a:cubicBezTo>
                    <a:pt x="85" y="70"/>
                    <a:pt x="88" y="71"/>
                    <a:pt x="88" y="68"/>
                  </a:cubicBezTo>
                  <a:cubicBezTo>
                    <a:pt x="88" y="66"/>
                    <a:pt x="91" y="65"/>
                    <a:pt x="93" y="65"/>
                  </a:cubicBezTo>
                  <a:cubicBezTo>
                    <a:pt x="96" y="66"/>
                    <a:pt x="101" y="62"/>
                    <a:pt x="103" y="61"/>
                  </a:cubicBezTo>
                  <a:cubicBezTo>
                    <a:pt x="104" y="61"/>
                    <a:pt x="105" y="59"/>
                    <a:pt x="105" y="58"/>
                  </a:cubicBezTo>
                  <a:cubicBezTo>
                    <a:pt x="104" y="56"/>
                    <a:pt x="101" y="53"/>
                    <a:pt x="100" y="52"/>
                  </a:cubicBezTo>
                  <a:cubicBezTo>
                    <a:pt x="98" y="50"/>
                    <a:pt x="101" y="50"/>
                    <a:pt x="101" y="48"/>
                  </a:cubicBezTo>
                  <a:cubicBezTo>
                    <a:pt x="101" y="45"/>
                    <a:pt x="101" y="44"/>
                    <a:pt x="105" y="44"/>
                  </a:cubicBezTo>
                  <a:cubicBezTo>
                    <a:pt x="108" y="43"/>
                    <a:pt x="108" y="41"/>
                    <a:pt x="106" y="39"/>
                  </a:cubicBezTo>
                  <a:cubicBezTo>
                    <a:pt x="104" y="38"/>
                    <a:pt x="107" y="35"/>
                    <a:pt x="109" y="34"/>
                  </a:cubicBezTo>
                  <a:cubicBezTo>
                    <a:pt x="110" y="33"/>
                    <a:pt x="111" y="32"/>
                    <a:pt x="112" y="30"/>
                  </a:cubicBezTo>
                  <a:cubicBezTo>
                    <a:pt x="108" y="29"/>
                    <a:pt x="102" y="29"/>
                    <a:pt x="100" y="29"/>
                  </a:cubicBezTo>
                  <a:cubicBezTo>
                    <a:pt x="97" y="29"/>
                    <a:pt x="102" y="25"/>
                    <a:pt x="102" y="22"/>
                  </a:cubicBezTo>
                  <a:cubicBezTo>
                    <a:pt x="102" y="19"/>
                    <a:pt x="94" y="19"/>
                    <a:pt x="90" y="18"/>
                  </a:cubicBezTo>
                  <a:cubicBezTo>
                    <a:pt x="87" y="17"/>
                    <a:pt x="88" y="14"/>
                    <a:pt x="91" y="13"/>
                  </a:cubicBezTo>
                  <a:cubicBezTo>
                    <a:pt x="95" y="13"/>
                    <a:pt x="89" y="11"/>
                    <a:pt x="85" y="11"/>
                  </a:cubicBezTo>
                  <a:cubicBezTo>
                    <a:pt x="80" y="12"/>
                    <a:pt x="73" y="15"/>
                    <a:pt x="69" y="17"/>
                  </a:cubicBezTo>
                  <a:cubicBezTo>
                    <a:pt x="65" y="19"/>
                    <a:pt x="58" y="11"/>
                    <a:pt x="54" y="12"/>
                  </a:cubicBezTo>
                  <a:cubicBezTo>
                    <a:pt x="49" y="14"/>
                    <a:pt x="43" y="14"/>
                    <a:pt x="43" y="11"/>
                  </a:cubicBezTo>
                  <a:cubicBezTo>
                    <a:pt x="44" y="7"/>
                    <a:pt x="42" y="4"/>
                    <a:pt x="37" y="4"/>
                  </a:cubicBezTo>
                  <a:cubicBezTo>
                    <a:pt x="33" y="5"/>
                    <a:pt x="34" y="0"/>
                    <a:pt x="30" y="0"/>
                  </a:cubicBezTo>
                  <a:cubicBezTo>
                    <a:pt x="27" y="0"/>
                    <a:pt x="30" y="4"/>
                    <a:pt x="28" y="5"/>
                  </a:cubicBezTo>
                  <a:cubicBezTo>
                    <a:pt x="26" y="6"/>
                    <a:pt x="18" y="8"/>
                    <a:pt x="17" y="11"/>
                  </a:cubicBezTo>
                  <a:cubicBezTo>
                    <a:pt x="17" y="15"/>
                    <a:pt x="21" y="20"/>
                    <a:pt x="20" y="23"/>
                  </a:cubicBezTo>
                  <a:cubicBezTo>
                    <a:pt x="18" y="26"/>
                    <a:pt x="13" y="24"/>
                    <a:pt x="11" y="20"/>
                  </a:cubicBezTo>
                  <a:cubicBezTo>
                    <a:pt x="10" y="17"/>
                    <a:pt x="16" y="12"/>
                    <a:pt x="15" y="10"/>
                  </a:cubicBezTo>
                  <a:cubicBezTo>
                    <a:pt x="14" y="8"/>
                    <a:pt x="13" y="6"/>
                    <a:pt x="14" y="4"/>
                  </a:cubicBezTo>
                  <a:cubicBezTo>
                    <a:pt x="13" y="5"/>
                    <a:pt x="12" y="5"/>
                    <a:pt x="11" y="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3" name="Freeform 300">
              <a:extLst>
                <a:ext uri="{FF2B5EF4-FFF2-40B4-BE49-F238E27FC236}">
                  <a16:creationId xmlns:a16="http://schemas.microsoft.com/office/drawing/2014/main" id="{EA4D9A9A-FBE6-24A6-3B90-15D32E241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5536" y="4091281"/>
              <a:ext cx="128571" cy="134921"/>
            </a:xfrm>
            <a:custGeom>
              <a:avLst/>
              <a:gdLst>
                <a:gd name="T0" fmla="*/ 8 w 34"/>
                <a:gd name="T1" fmla="*/ 7 h 36"/>
                <a:gd name="T2" fmla="*/ 5 w 34"/>
                <a:gd name="T3" fmla="*/ 11 h 36"/>
                <a:gd name="T4" fmla="*/ 1 w 34"/>
                <a:gd name="T5" fmla="*/ 18 h 36"/>
                <a:gd name="T6" fmla="*/ 8 w 34"/>
                <a:gd name="T7" fmla="*/ 26 h 36"/>
                <a:gd name="T8" fmla="*/ 13 w 34"/>
                <a:gd name="T9" fmla="*/ 35 h 36"/>
                <a:gd name="T10" fmla="*/ 17 w 34"/>
                <a:gd name="T11" fmla="*/ 36 h 36"/>
                <a:gd name="T12" fmla="*/ 20 w 34"/>
                <a:gd name="T13" fmla="*/ 31 h 36"/>
                <a:gd name="T14" fmla="*/ 29 w 34"/>
                <a:gd name="T15" fmla="*/ 31 h 36"/>
                <a:gd name="T16" fmla="*/ 30 w 34"/>
                <a:gd name="T17" fmla="*/ 32 h 36"/>
                <a:gd name="T18" fmla="*/ 32 w 34"/>
                <a:gd name="T19" fmla="*/ 28 h 36"/>
                <a:gd name="T20" fmla="*/ 31 w 34"/>
                <a:gd name="T21" fmla="*/ 17 h 36"/>
                <a:gd name="T22" fmla="*/ 33 w 34"/>
                <a:gd name="T23" fmla="*/ 8 h 36"/>
                <a:gd name="T24" fmla="*/ 34 w 34"/>
                <a:gd name="T25" fmla="*/ 4 h 36"/>
                <a:gd name="T26" fmla="*/ 26 w 34"/>
                <a:gd name="T27" fmla="*/ 2 h 36"/>
                <a:gd name="T28" fmla="*/ 16 w 34"/>
                <a:gd name="T29" fmla="*/ 2 h 36"/>
                <a:gd name="T30" fmla="*/ 10 w 34"/>
                <a:gd name="T31" fmla="*/ 2 h 36"/>
                <a:gd name="T32" fmla="*/ 9 w 34"/>
                <a:gd name="T33" fmla="*/ 2 h 36"/>
                <a:gd name="T34" fmla="*/ 8 w 34"/>
                <a:gd name="T35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" h="36">
                  <a:moveTo>
                    <a:pt x="8" y="7"/>
                  </a:moveTo>
                  <a:cubicBezTo>
                    <a:pt x="9" y="10"/>
                    <a:pt x="7" y="11"/>
                    <a:pt x="5" y="11"/>
                  </a:cubicBezTo>
                  <a:cubicBezTo>
                    <a:pt x="2" y="11"/>
                    <a:pt x="3" y="17"/>
                    <a:pt x="1" y="18"/>
                  </a:cubicBezTo>
                  <a:cubicBezTo>
                    <a:pt x="0" y="19"/>
                    <a:pt x="7" y="23"/>
                    <a:pt x="8" y="26"/>
                  </a:cubicBezTo>
                  <a:cubicBezTo>
                    <a:pt x="9" y="28"/>
                    <a:pt x="11" y="32"/>
                    <a:pt x="13" y="35"/>
                  </a:cubicBezTo>
                  <a:cubicBezTo>
                    <a:pt x="14" y="36"/>
                    <a:pt x="16" y="36"/>
                    <a:pt x="17" y="36"/>
                  </a:cubicBezTo>
                  <a:cubicBezTo>
                    <a:pt x="19" y="34"/>
                    <a:pt x="17" y="30"/>
                    <a:pt x="20" y="31"/>
                  </a:cubicBezTo>
                  <a:cubicBezTo>
                    <a:pt x="23" y="31"/>
                    <a:pt x="28" y="29"/>
                    <a:pt x="29" y="31"/>
                  </a:cubicBezTo>
                  <a:cubicBezTo>
                    <a:pt x="29" y="31"/>
                    <a:pt x="30" y="32"/>
                    <a:pt x="30" y="32"/>
                  </a:cubicBezTo>
                  <a:cubicBezTo>
                    <a:pt x="31" y="30"/>
                    <a:pt x="32" y="29"/>
                    <a:pt x="32" y="28"/>
                  </a:cubicBezTo>
                  <a:cubicBezTo>
                    <a:pt x="33" y="27"/>
                    <a:pt x="33" y="21"/>
                    <a:pt x="31" y="17"/>
                  </a:cubicBezTo>
                  <a:cubicBezTo>
                    <a:pt x="30" y="14"/>
                    <a:pt x="31" y="9"/>
                    <a:pt x="33" y="8"/>
                  </a:cubicBezTo>
                  <a:cubicBezTo>
                    <a:pt x="33" y="8"/>
                    <a:pt x="34" y="6"/>
                    <a:pt x="34" y="4"/>
                  </a:cubicBezTo>
                  <a:cubicBezTo>
                    <a:pt x="32" y="3"/>
                    <a:pt x="29" y="2"/>
                    <a:pt x="26" y="2"/>
                  </a:cubicBezTo>
                  <a:cubicBezTo>
                    <a:pt x="22" y="2"/>
                    <a:pt x="18" y="4"/>
                    <a:pt x="16" y="2"/>
                  </a:cubicBezTo>
                  <a:cubicBezTo>
                    <a:pt x="14" y="0"/>
                    <a:pt x="12" y="0"/>
                    <a:pt x="10" y="2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8" y="4"/>
                    <a:pt x="8" y="6"/>
                    <a:pt x="8" y="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4" name="Freeform 301">
              <a:extLst>
                <a:ext uri="{FF2B5EF4-FFF2-40B4-BE49-F238E27FC236}">
                  <a16:creationId xmlns:a16="http://schemas.microsoft.com/office/drawing/2014/main" id="{E74CD9FC-01EC-302E-CCFA-E9167C4FFC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954" y="4023028"/>
              <a:ext cx="150793" cy="222222"/>
            </a:xfrm>
            <a:custGeom>
              <a:avLst/>
              <a:gdLst>
                <a:gd name="T0" fmla="*/ 11 w 40"/>
                <a:gd name="T1" fmla="*/ 4 h 59"/>
                <a:gd name="T2" fmla="*/ 8 w 40"/>
                <a:gd name="T3" fmla="*/ 9 h 59"/>
                <a:gd name="T4" fmla="*/ 7 w 40"/>
                <a:gd name="T5" fmla="*/ 14 h 59"/>
                <a:gd name="T6" fmla="*/ 3 w 40"/>
                <a:gd name="T7" fmla="*/ 18 h 59"/>
                <a:gd name="T8" fmla="*/ 2 w 40"/>
                <a:gd name="T9" fmla="*/ 22 h 59"/>
                <a:gd name="T10" fmla="*/ 7 w 40"/>
                <a:gd name="T11" fmla="*/ 28 h 59"/>
                <a:gd name="T12" fmla="*/ 10 w 40"/>
                <a:gd name="T13" fmla="*/ 27 h 59"/>
                <a:gd name="T14" fmla="*/ 14 w 40"/>
                <a:gd name="T15" fmla="*/ 33 h 59"/>
                <a:gd name="T16" fmla="*/ 14 w 40"/>
                <a:gd name="T17" fmla="*/ 40 h 59"/>
                <a:gd name="T18" fmla="*/ 16 w 40"/>
                <a:gd name="T19" fmla="*/ 54 h 59"/>
                <a:gd name="T20" fmla="*/ 25 w 40"/>
                <a:gd name="T21" fmla="*/ 57 h 59"/>
                <a:gd name="T22" fmla="*/ 30 w 40"/>
                <a:gd name="T23" fmla="*/ 55 h 59"/>
                <a:gd name="T24" fmla="*/ 34 w 40"/>
                <a:gd name="T25" fmla="*/ 53 h 59"/>
                <a:gd name="T26" fmla="*/ 40 w 40"/>
                <a:gd name="T27" fmla="*/ 53 h 59"/>
                <a:gd name="T28" fmla="*/ 35 w 40"/>
                <a:gd name="T29" fmla="*/ 44 h 59"/>
                <a:gd name="T30" fmla="*/ 28 w 40"/>
                <a:gd name="T31" fmla="*/ 36 h 59"/>
                <a:gd name="T32" fmla="*/ 32 w 40"/>
                <a:gd name="T33" fmla="*/ 29 h 59"/>
                <a:gd name="T34" fmla="*/ 35 w 40"/>
                <a:gd name="T35" fmla="*/ 25 h 59"/>
                <a:gd name="T36" fmla="*/ 36 w 40"/>
                <a:gd name="T37" fmla="*/ 20 h 59"/>
                <a:gd name="T38" fmla="*/ 29 w 40"/>
                <a:gd name="T39" fmla="*/ 14 h 59"/>
                <a:gd name="T40" fmla="*/ 25 w 40"/>
                <a:gd name="T41" fmla="*/ 9 h 59"/>
                <a:gd name="T42" fmla="*/ 17 w 40"/>
                <a:gd name="T43" fmla="*/ 2 h 59"/>
                <a:gd name="T44" fmla="*/ 14 w 40"/>
                <a:gd name="T45" fmla="*/ 0 h 59"/>
                <a:gd name="T46" fmla="*/ 11 w 40"/>
                <a:gd name="T47" fmla="*/ 4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0" h="59">
                  <a:moveTo>
                    <a:pt x="11" y="4"/>
                  </a:moveTo>
                  <a:cubicBezTo>
                    <a:pt x="9" y="5"/>
                    <a:pt x="6" y="8"/>
                    <a:pt x="8" y="9"/>
                  </a:cubicBezTo>
                  <a:cubicBezTo>
                    <a:pt x="10" y="11"/>
                    <a:pt x="10" y="13"/>
                    <a:pt x="7" y="14"/>
                  </a:cubicBezTo>
                  <a:cubicBezTo>
                    <a:pt x="3" y="14"/>
                    <a:pt x="3" y="15"/>
                    <a:pt x="3" y="18"/>
                  </a:cubicBezTo>
                  <a:cubicBezTo>
                    <a:pt x="3" y="20"/>
                    <a:pt x="0" y="20"/>
                    <a:pt x="2" y="22"/>
                  </a:cubicBezTo>
                  <a:cubicBezTo>
                    <a:pt x="3" y="23"/>
                    <a:pt x="6" y="26"/>
                    <a:pt x="7" y="28"/>
                  </a:cubicBezTo>
                  <a:cubicBezTo>
                    <a:pt x="8" y="27"/>
                    <a:pt x="9" y="26"/>
                    <a:pt x="10" y="27"/>
                  </a:cubicBezTo>
                  <a:cubicBezTo>
                    <a:pt x="14" y="27"/>
                    <a:pt x="11" y="32"/>
                    <a:pt x="14" y="33"/>
                  </a:cubicBezTo>
                  <a:cubicBezTo>
                    <a:pt x="16" y="35"/>
                    <a:pt x="16" y="39"/>
                    <a:pt x="14" y="40"/>
                  </a:cubicBezTo>
                  <a:cubicBezTo>
                    <a:pt x="12" y="42"/>
                    <a:pt x="12" y="50"/>
                    <a:pt x="16" y="54"/>
                  </a:cubicBezTo>
                  <a:cubicBezTo>
                    <a:pt x="20" y="59"/>
                    <a:pt x="24" y="58"/>
                    <a:pt x="25" y="57"/>
                  </a:cubicBezTo>
                  <a:cubicBezTo>
                    <a:pt x="26" y="56"/>
                    <a:pt x="29" y="57"/>
                    <a:pt x="30" y="55"/>
                  </a:cubicBezTo>
                  <a:cubicBezTo>
                    <a:pt x="31" y="53"/>
                    <a:pt x="32" y="56"/>
                    <a:pt x="34" y="53"/>
                  </a:cubicBezTo>
                  <a:cubicBezTo>
                    <a:pt x="35" y="52"/>
                    <a:pt x="38" y="53"/>
                    <a:pt x="40" y="53"/>
                  </a:cubicBezTo>
                  <a:cubicBezTo>
                    <a:pt x="38" y="50"/>
                    <a:pt x="36" y="46"/>
                    <a:pt x="35" y="44"/>
                  </a:cubicBezTo>
                  <a:cubicBezTo>
                    <a:pt x="34" y="41"/>
                    <a:pt x="27" y="37"/>
                    <a:pt x="28" y="36"/>
                  </a:cubicBezTo>
                  <a:cubicBezTo>
                    <a:pt x="30" y="35"/>
                    <a:pt x="29" y="29"/>
                    <a:pt x="32" y="29"/>
                  </a:cubicBezTo>
                  <a:cubicBezTo>
                    <a:pt x="34" y="29"/>
                    <a:pt x="36" y="28"/>
                    <a:pt x="35" y="25"/>
                  </a:cubicBezTo>
                  <a:cubicBezTo>
                    <a:pt x="35" y="24"/>
                    <a:pt x="35" y="22"/>
                    <a:pt x="36" y="20"/>
                  </a:cubicBezTo>
                  <a:cubicBezTo>
                    <a:pt x="34" y="20"/>
                    <a:pt x="31" y="14"/>
                    <a:pt x="29" y="14"/>
                  </a:cubicBezTo>
                  <a:cubicBezTo>
                    <a:pt x="27" y="14"/>
                    <a:pt x="24" y="12"/>
                    <a:pt x="25" y="9"/>
                  </a:cubicBezTo>
                  <a:cubicBezTo>
                    <a:pt x="25" y="6"/>
                    <a:pt x="20" y="5"/>
                    <a:pt x="17" y="2"/>
                  </a:cubicBezTo>
                  <a:cubicBezTo>
                    <a:pt x="16" y="1"/>
                    <a:pt x="15" y="1"/>
                    <a:pt x="14" y="0"/>
                  </a:cubicBezTo>
                  <a:cubicBezTo>
                    <a:pt x="13" y="2"/>
                    <a:pt x="12" y="3"/>
                    <a:pt x="11" y="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5" name="Freeform 302">
              <a:extLst>
                <a:ext uri="{FF2B5EF4-FFF2-40B4-BE49-F238E27FC236}">
                  <a16:creationId xmlns:a16="http://schemas.microsoft.com/office/drawing/2014/main" id="{EB49EF5E-1812-E01A-F345-C9F926D31D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8240" y="4105570"/>
              <a:ext cx="93651" cy="117460"/>
            </a:xfrm>
            <a:custGeom>
              <a:avLst/>
              <a:gdLst>
                <a:gd name="T0" fmla="*/ 1 w 25"/>
                <a:gd name="T1" fmla="*/ 13 h 31"/>
                <a:gd name="T2" fmla="*/ 2 w 25"/>
                <a:gd name="T3" fmla="*/ 24 h 31"/>
                <a:gd name="T4" fmla="*/ 0 w 25"/>
                <a:gd name="T5" fmla="*/ 28 h 31"/>
                <a:gd name="T6" fmla="*/ 7 w 25"/>
                <a:gd name="T7" fmla="*/ 29 h 31"/>
                <a:gd name="T8" fmla="*/ 16 w 25"/>
                <a:gd name="T9" fmla="*/ 26 h 31"/>
                <a:gd name="T10" fmla="*/ 25 w 25"/>
                <a:gd name="T11" fmla="*/ 13 h 31"/>
                <a:gd name="T12" fmla="*/ 25 w 25"/>
                <a:gd name="T13" fmla="*/ 13 h 31"/>
                <a:gd name="T14" fmla="*/ 11 w 25"/>
                <a:gd name="T15" fmla="*/ 2 h 31"/>
                <a:gd name="T16" fmla="*/ 4 w 25"/>
                <a:gd name="T17" fmla="*/ 0 h 31"/>
                <a:gd name="T18" fmla="*/ 3 w 25"/>
                <a:gd name="T19" fmla="*/ 4 h 31"/>
                <a:gd name="T20" fmla="*/ 1 w 25"/>
                <a:gd name="T21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31">
                  <a:moveTo>
                    <a:pt x="1" y="13"/>
                  </a:moveTo>
                  <a:cubicBezTo>
                    <a:pt x="3" y="17"/>
                    <a:pt x="3" y="23"/>
                    <a:pt x="2" y="24"/>
                  </a:cubicBezTo>
                  <a:cubicBezTo>
                    <a:pt x="2" y="25"/>
                    <a:pt x="1" y="26"/>
                    <a:pt x="0" y="28"/>
                  </a:cubicBezTo>
                  <a:cubicBezTo>
                    <a:pt x="1" y="29"/>
                    <a:pt x="3" y="30"/>
                    <a:pt x="7" y="29"/>
                  </a:cubicBezTo>
                  <a:cubicBezTo>
                    <a:pt x="12" y="28"/>
                    <a:pt x="14" y="31"/>
                    <a:pt x="16" y="26"/>
                  </a:cubicBezTo>
                  <a:cubicBezTo>
                    <a:pt x="17" y="22"/>
                    <a:pt x="22" y="16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2" y="11"/>
                    <a:pt x="16" y="3"/>
                    <a:pt x="11" y="2"/>
                  </a:cubicBezTo>
                  <a:cubicBezTo>
                    <a:pt x="9" y="2"/>
                    <a:pt x="7" y="1"/>
                    <a:pt x="4" y="0"/>
                  </a:cubicBezTo>
                  <a:cubicBezTo>
                    <a:pt x="4" y="2"/>
                    <a:pt x="3" y="4"/>
                    <a:pt x="3" y="4"/>
                  </a:cubicBezTo>
                  <a:cubicBezTo>
                    <a:pt x="1" y="5"/>
                    <a:pt x="0" y="10"/>
                    <a:pt x="1" y="1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6" name="Freeform 303">
              <a:extLst>
                <a:ext uri="{FF2B5EF4-FFF2-40B4-BE49-F238E27FC236}">
                  <a16:creationId xmlns:a16="http://schemas.microsoft.com/office/drawing/2014/main" id="{BBB0EC1D-22C2-FF00-0EF9-D89308CE8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021" y="3553192"/>
              <a:ext cx="322221" cy="112698"/>
            </a:xfrm>
            <a:custGeom>
              <a:avLst/>
              <a:gdLst>
                <a:gd name="T0" fmla="*/ 69 w 86"/>
                <a:gd name="T1" fmla="*/ 19 h 30"/>
                <a:gd name="T2" fmla="*/ 31 w 86"/>
                <a:gd name="T3" fmla="*/ 3 h 30"/>
                <a:gd name="T4" fmla="*/ 2 w 86"/>
                <a:gd name="T5" fmla="*/ 13 h 30"/>
                <a:gd name="T6" fmla="*/ 16 w 86"/>
                <a:gd name="T7" fmla="*/ 7 h 30"/>
                <a:gd name="T8" fmla="*/ 24 w 86"/>
                <a:gd name="T9" fmla="*/ 10 h 30"/>
                <a:gd name="T10" fmla="*/ 37 w 86"/>
                <a:gd name="T11" fmla="*/ 13 h 30"/>
                <a:gd name="T12" fmla="*/ 54 w 86"/>
                <a:gd name="T13" fmla="*/ 22 h 30"/>
                <a:gd name="T14" fmla="*/ 58 w 86"/>
                <a:gd name="T15" fmla="*/ 28 h 30"/>
                <a:gd name="T16" fmla="*/ 84 w 86"/>
                <a:gd name="T17" fmla="*/ 28 h 30"/>
                <a:gd name="T18" fmla="*/ 69 w 86"/>
                <a:gd name="T19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30">
                  <a:moveTo>
                    <a:pt x="69" y="19"/>
                  </a:moveTo>
                  <a:cubicBezTo>
                    <a:pt x="64" y="19"/>
                    <a:pt x="47" y="7"/>
                    <a:pt x="31" y="3"/>
                  </a:cubicBezTo>
                  <a:cubicBezTo>
                    <a:pt x="14" y="0"/>
                    <a:pt x="0" y="11"/>
                    <a:pt x="2" y="13"/>
                  </a:cubicBezTo>
                  <a:cubicBezTo>
                    <a:pt x="4" y="16"/>
                    <a:pt x="12" y="10"/>
                    <a:pt x="16" y="7"/>
                  </a:cubicBezTo>
                  <a:cubicBezTo>
                    <a:pt x="20" y="4"/>
                    <a:pt x="23" y="8"/>
                    <a:pt x="24" y="10"/>
                  </a:cubicBezTo>
                  <a:cubicBezTo>
                    <a:pt x="24" y="12"/>
                    <a:pt x="29" y="13"/>
                    <a:pt x="37" y="13"/>
                  </a:cubicBezTo>
                  <a:cubicBezTo>
                    <a:pt x="46" y="13"/>
                    <a:pt x="47" y="20"/>
                    <a:pt x="54" y="22"/>
                  </a:cubicBezTo>
                  <a:cubicBezTo>
                    <a:pt x="62" y="24"/>
                    <a:pt x="54" y="27"/>
                    <a:pt x="58" y="28"/>
                  </a:cubicBezTo>
                  <a:cubicBezTo>
                    <a:pt x="62" y="30"/>
                    <a:pt x="83" y="30"/>
                    <a:pt x="84" y="28"/>
                  </a:cubicBezTo>
                  <a:cubicBezTo>
                    <a:pt x="86" y="26"/>
                    <a:pt x="75" y="19"/>
                    <a:pt x="69" y="1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7" name="Freeform 304">
              <a:extLst>
                <a:ext uri="{FF2B5EF4-FFF2-40B4-BE49-F238E27FC236}">
                  <a16:creationId xmlns:a16="http://schemas.microsoft.com/office/drawing/2014/main" id="{670C6645-0C46-DA6E-8EBC-F5F351F58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8555" y="3703979"/>
              <a:ext cx="76190" cy="38095"/>
            </a:xfrm>
            <a:custGeom>
              <a:avLst/>
              <a:gdLst>
                <a:gd name="T0" fmla="*/ 2 w 20"/>
                <a:gd name="T1" fmla="*/ 3 h 10"/>
                <a:gd name="T2" fmla="*/ 19 w 20"/>
                <a:gd name="T3" fmla="*/ 6 h 10"/>
                <a:gd name="T4" fmla="*/ 2 w 20"/>
                <a:gd name="T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0">
                  <a:moveTo>
                    <a:pt x="2" y="3"/>
                  </a:moveTo>
                  <a:cubicBezTo>
                    <a:pt x="4" y="6"/>
                    <a:pt x="17" y="10"/>
                    <a:pt x="19" y="6"/>
                  </a:cubicBezTo>
                  <a:cubicBezTo>
                    <a:pt x="20" y="3"/>
                    <a:pt x="0" y="0"/>
                    <a:pt x="2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8" name="Freeform 305">
              <a:extLst>
                <a:ext uri="{FF2B5EF4-FFF2-40B4-BE49-F238E27FC236}">
                  <a16:creationId xmlns:a16="http://schemas.microsoft.com/office/drawing/2014/main" id="{46127AEA-D5B6-FB71-EED8-7BF882560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1415" y="3700811"/>
              <a:ext cx="66666" cy="36508"/>
            </a:xfrm>
            <a:custGeom>
              <a:avLst/>
              <a:gdLst>
                <a:gd name="T0" fmla="*/ 3 w 18"/>
                <a:gd name="T1" fmla="*/ 5 h 10"/>
                <a:gd name="T2" fmla="*/ 16 w 18"/>
                <a:gd name="T3" fmla="*/ 5 h 10"/>
                <a:gd name="T4" fmla="*/ 3 w 18"/>
                <a:gd name="T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0">
                  <a:moveTo>
                    <a:pt x="3" y="5"/>
                  </a:moveTo>
                  <a:cubicBezTo>
                    <a:pt x="6" y="10"/>
                    <a:pt x="15" y="7"/>
                    <a:pt x="16" y="5"/>
                  </a:cubicBezTo>
                  <a:cubicBezTo>
                    <a:pt x="18" y="2"/>
                    <a:pt x="0" y="0"/>
                    <a:pt x="3" y="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69" name="Freeform 306">
              <a:extLst>
                <a:ext uri="{FF2B5EF4-FFF2-40B4-BE49-F238E27FC236}">
                  <a16:creationId xmlns:a16="http://schemas.microsoft.com/office/drawing/2014/main" id="{34984924-21EB-F007-0141-CF3A2065EA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08714" y="5991275"/>
              <a:ext cx="107937" cy="49207"/>
            </a:xfrm>
            <a:custGeom>
              <a:avLst/>
              <a:gdLst>
                <a:gd name="T0" fmla="*/ 28 w 29"/>
                <a:gd name="T1" fmla="*/ 5 h 13"/>
                <a:gd name="T2" fmla="*/ 15 w 29"/>
                <a:gd name="T3" fmla="*/ 11 h 13"/>
                <a:gd name="T4" fmla="*/ 28 w 29"/>
                <a:gd name="T5" fmla="*/ 5 h 13"/>
                <a:gd name="T6" fmla="*/ 13 w 29"/>
                <a:gd name="T7" fmla="*/ 1 h 13"/>
                <a:gd name="T8" fmla="*/ 4 w 29"/>
                <a:gd name="T9" fmla="*/ 10 h 13"/>
                <a:gd name="T10" fmla="*/ 13 w 29"/>
                <a:gd name="T11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3">
                  <a:moveTo>
                    <a:pt x="28" y="5"/>
                  </a:moveTo>
                  <a:cubicBezTo>
                    <a:pt x="25" y="0"/>
                    <a:pt x="12" y="10"/>
                    <a:pt x="15" y="11"/>
                  </a:cubicBezTo>
                  <a:cubicBezTo>
                    <a:pt x="17" y="13"/>
                    <a:pt x="29" y="8"/>
                    <a:pt x="28" y="5"/>
                  </a:cubicBezTo>
                  <a:close/>
                  <a:moveTo>
                    <a:pt x="13" y="1"/>
                  </a:moveTo>
                  <a:cubicBezTo>
                    <a:pt x="9" y="0"/>
                    <a:pt x="0" y="8"/>
                    <a:pt x="4" y="10"/>
                  </a:cubicBezTo>
                  <a:cubicBezTo>
                    <a:pt x="8" y="13"/>
                    <a:pt x="17" y="2"/>
                    <a:pt x="13" y="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0" name="Freeform 307">
              <a:extLst>
                <a:ext uri="{FF2B5EF4-FFF2-40B4-BE49-F238E27FC236}">
                  <a16:creationId xmlns:a16="http://schemas.microsoft.com/office/drawing/2014/main" id="{45ECE6C5-FA54-0F6E-E48D-8A512F4031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1735" y="4234141"/>
              <a:ext cx="503173" cy="206348"/>
            </a:xfrm>
            <a:custGeom>
              <a:avLst/>
              <a:gdLst>
                <a:gd name="T0" fmla="*/ 130 w 134"/>
                <a:gd name="T1" fmla="*/ 14 h 55"/>
                <a:gd name="T2" fmla="*/ 124 w 134"/>
                <a:gd name="T3" fmla="*/ 10 h 55"/>
                <a:gd name="T4" fmla="*/ 118 w 134"/>
                <a:gd name="T5" fmla="*/ 10 h 55"/>
                <a:gd name="T6" fmla="*/ 113 w 134"/>
                <a:gd name="T7" fmla="*/ 6 h 55"/>
                <a:gd name="T8" fmla="*/ 103 w 134"/>
                <a:gd name="T9" fmla="*/ 0 h 55"/>
                <a:gd name="T10" fmla="*/ 103 w 134"/>
                <a:gd name="T11" fmla="*/ 2 h 55"/>
                <a:gd name="T12" fmla="*/ 98 w 134"/>
                <a:gd name="T13" fmla="*/ 4 h 55"/>
                <a:gd name="T14" fmla="*/ 95 w 134"/>
                <a:gd name="T15" fmla="*/ 10 h 55"/>
                <a:gd name="T16" fmla="*/ 92 w 134"/>
                <a:gd name="T17" fmla="*/ 15 h 55"/>
                <a:gd name="T18" fmla="*/ 89 w 134"/>
                <a:gd name="T19" fmla="*/ 19 h 55"/>
                <a:gd name="T20" fmla="*/ 88 w 134"/>
                <a:gd name="T21" fmla="*/ 25 h 55"/>
                <a:gd name="T22" fmla="*/ 87 w 134"/>
                <a:gd name="T23" fmla="*/ 30 h 55"/>
                <a:gd name="T24" fmla="*/ 92 w 134"/>
                <a:gd name="T25" fmla="*/ 34 h 55"/>
                <a:gd name="T26" fmla="*/ 96 w 134"/>
                <a:gd name="T27" fmla="*/ 35 h 55"/>
                <a:gd name="T28" fmla="*/ 92 w 134"/>
                <a:gd name="T29" fmla="*/ 40 h 55"/>
                <a:gd name="T30" fmla="*/ 92 w 134"/>
                <a:gd name="T31" fmla="*/ 40 h 55"/>
                <a:gd name="T32" fmla="*/ 93 w 134"/>
                <a:gd name="T33" fmla="*/ 45 h 55"/>
                <a:gd name="T34" fmla="*/ 93 w 134"/>
                <a:gd name="T35" fmla="*/ 49 h 55"/>
                <a:gd name="T36" fmla="*/ 99 w 134"/>
                <a:gd name="T37" fmla="*/ 50 h 55"/>
                <a:gd name="T38" fmla="*/ 105 w 134"/>
                <a:gd name="T39" fmla="*/ 50 h 55"/>
                <a:gd name="T40" fmla="*/ 112 w 134"/>
                <a:gd name="T41" fmla="*/ 37 h 55"/>
                <a:gd name="T42" fmla="*/ 128 w 134"/>
                <a:gd name="T43" fmla="*/ 29 h 55"/>
                <a:gd name="T44" fmla="*/ 132 w 134"/>
                <a:gd name="T45" fmla="*/ 20 h 55"/>
                <a:gd name="T46" fmla="*/ 130 w 134"/>
                <a:gd name="T47" fmla="*/ 14 h 55"/>
                <a:gd name="T48" fmla="*/ 3 w 134"/>
                <a:gd name="T49" fmla="*/ 12 h 55"/>
                <a:gd name="T50" fmla="*/ 8 w 134"/>
                <a:gd name="T51" fmla="*/ 20 h 55"/>
                <a:gd name="T52" fmla="*/ 3 w 134"/>
                <a:gd name="T5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4" h="55">
                  <a:moveTo>
                    <a:pt x="130" y="14"/>
                  </a:moveTo>
                  <a:cubicBezTo>
                    <a:pt x="127" y="11"/>
                    <a:pt x="125" y="9"/>
                    <a:pt x="124" y="10"/>
                  </a:cubicBezTo>
                  <a:cubicBezTo>
                    <a:pt x="124" y="11"/>
                    <a:pt x="121" y="11"/>
                    <a:pt x="118" y="10"/>
                  </a:cubicBezTo>
                  <a:cubicBezTo>
                    <a:pt x="116" y="8"/>
                    <a:pt x="115" y="6"/>
                    <a:pt x="113" y="6"/>
                  </a:cubicBezTo>
                  <a:cubicBezTo>
                    <a:pt x="112" y="6"/>
                    <a:pt x="106" y="3"/>
                    <a:pt x="103" y="0"/>
                  </a:cubicBezTo>
                  <a:cubicBezTo>
                    <a:pt x="103" y="1"/>
                    <a:pt x="103" y="1"/>
                    <a:pt x="103" y="2"/>
                  </a:cubicBezTo>
                  <a:cubicBezTo>
                    <a:pt x="104" y="3"/>
                    <a:pt x="101" y="4"/>
                    <a:pt x="98" y="4"/>
                  </a:cubicBezTo>
                  <a:cubicBezTo>
                    <a:pt x="95" y="5"/>
                    <a:pt x="95" y="8"/>
                    <a:pt x="95" y="10"/>
                  </a:cubicBezTo>
                  <a:cubicBezTo>
                    <a:pt x="95" y="13"/>
                    <a:pt x="93" y="13"/>
                    <a:pt x="92" y="15"/>
                  </a:cubicBezTo>
                  <a:cubicBezTo>
                    <a:pt x="91" y="18"/>
                    <a:pt x="92" y="18"/>
                    <a:pt x="89" y="19"/>
                  </a:cubicBezTo>
                  <a:cubicBezTo>
                    <a:pt x="87" y="21"/>
                    <a:pt x="86" y="23"/>
                    <a:pt x="88" y="25"/>
                  </a:cubicBezTo>
                  <a:cubicBezTo>
                    <a:pt x="89" y="27"/>
                    <a:pt x="88" y="29"/>
                    <a:pt x="87" y="30"/>
                  </a:cubicBezTo>
                  <a:cubicBezTo>
                    <a:pt x="87" y="32"/>
                    <a:pt x="89" y="32"/>
                    <a:pt x="92" y="34"/>
                  </a:cubicBezTo>
                  <a:cubicBezTo>
                    <a:pt x="94" y="37"/>
                    <a:pt x="95" y="33"/>
                    <a:pt x="96" y="35"/>
                  </a:cubicBezTo>
                  <a:cubicBezTo>
                    <a:pt x="97" y="37"/>
                    <a:pt x="95" y="40"/>
                    <a:pt x="92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3" y="42"/>
                    <a:pt x="94" y="44"/>
                    <a:pt x="93" y="45"/>
                  </a:cubicBezTo>
                  <a:cubicBezTo>
                    <a:pt x="92" y="46"/>
                    <a:pt x="91" y="46"/>
                    <a:pt x="93" y="49"/>
                  </a:cubicBezTo>
                  <a:cubicBezTo>
                    <a:pt x="95" y="51"/>
                    <a:pt x="97" y="47"/>
                    <a:pt x="99" y="50"/>
                  </a:cubicBezTo>
                  <a:cubicBezTo>
                    <a:pt x="101" y="53"/>
                    <a:pt x="103" y="55"/>
                    <a:pt x="105" y="50"/>
                  </a:cubicBezTo>
                  <a:cubicBezTo>
                    <a:pt x="107" y="45"/>
                    <a:pt x="109" y="38"/>
                    <a:pt x="112" y="37"/>
                  </a:cubicBezTo>
                  <a:cubicBezTo>
                    <a:pt x="116" y="36"/>
                    <a:pt x="124" y="34"/>
                    <a:pt x="128" y="29"/>
                  </a:cubicBezTo>
                  <a:cubicBezTo>
                    <a:pt x="132" y="23"/>
                    <a:pt x="130" y="22"/>
                    <a:pt x="132" y="20"/>
                  </a:cubicBezTo>
                  <a:cubicBezTo>
                    <a:pt x="134" y="19"/>
                    <a:pt x="133" y="18"/>
                    <a:pt x="130" y="14"/>
                  </a:cubicBezTo>
                  <a:close/>
                  <a:moveTo>
                    <a:pt x="3" y="12"/>
                  </a:moveTo>
                  <a:cubicBezTo>
                    <a:pt x="0" y="17"/>
                    <a:pt x="7" y="22"/>
                    <a:pt x="8" y="20"/>
                  </a:cubicBezTo>
                  <a:cubicBezTo>
                    <a:pt x="10" y="17"/>
                    <a:pt x="7" y="7"/>
                    <a:pt x="3" y="1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1" name="Freeform 308">
              <a:extLst>
                <a:ext uri="{FF2B5EF4-FFF2-40B4-BE49-F238E27FC236}">
                  <a16:creationId xmlns:a16="http://schemas.microsoft.com/office/drawing/2014/main" id="{AEE0F0F4-1CDE-6078-C29F-06250EB0B5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2684" y="811936"/>
              <a:ext cx="1847610" cy="1382533"/>
            </a:xfrm>
            <a:custGeom>
              <a:avLst/>
              <a:gdLst>
                <a:gd name="T0" fmla="*/ 432 w 492"/>
                <a:gd name="T1" fmla="*/ 43 h 368"/>
                <a:gd name="T2" fmla="*/ 396 w 492"/>
                <a:gd name="T3" fmla="*/ 59 h 368"/>
                <a:gd name="T4" fmla="*/ 394 w 492"/>
                <a:gd name="T5" fmla="*/ 37 h 368"/>
                <a:gd name="T6" fmla="*/ 352 w 492"/>
                <a:gd name="T7" fmla="*/ 34 h 368"/>
                <a:gd name="T8" fmla="*/ 393 w 492"/>
                <a:gd name="T9" fmla="*/ 28 h 368"/>
                <a:gd name="T10" fmla="*/ 389 w 492"/>
                <a:gd name="T11" fmla="*/ 12 h 368"/>
                <a:gd name="T12" fmla="*/ 333 w 492"/>
                <a:gd name="T13" fmla="*/ 1 h 368"/>
                <a:gd name="T14" fmla="*/ 280 w 492"/>
                <a:gd name="T15" fmla="*/ 8 h 368"/>
                <a:gd name="T16" fmla="*/ 240 w 492"/>
                <a:gd name="T17" fmla="*/ 8 h 368"/>
                <a:gd name="T18" fmla="*/ 207 w 492"/>
                <a:gd name="T19" fmla="*/ 23 h 368"/>
                <a:gd name="T20" fmla="*/ 199 w 492"/>
                <a:gd name="T21" fmla="*/ 27 h 368"/>
                <a:gd name="T22" fmla="*/ 176 w 492"/>
                <a:gd name="T23" fmla="*/ 34 h 368"/>
                <a:gd name="T24" fmla="*/ 154 w 492"/>
                <a:gd name="T25" fmla="*/ 42 h 368"/>
                <a:gd name="T26" fmla="*/ 116 w 492"/>
                <a:gd name="T27" fmla="*/ 34 h 368"/>
                <a:gd name="T28" fmla="*/ 95 w 492"/>
                <a:gd name="T29" fmla="*/ 50 h 368"/>
                <a:gd name="T30" fmla="*/ 62 w 492"/>
                <a:gd name="T31" fmla="*/ 71 h 368"/>
                <a:gd name="T32" fmla="*/ 0 w 492"/>
                <a:gd name="T33" fmla="*/ 102 h 368"/>
                <a:gd name="T34" fmla="*/ 40 w 492"/>
                <a:gd name="T35" fmla="*/ 113 h 368"/>
                <a:gd name="T36" fmla="*/ 11 w 492"/>
                <a:gd name="T37" fmla="*/ 123 h 368"/>
                <a:gd name="T38" fmla="*/ 35 w 492"/>
                <a:gd name="T39" fmla="*/ 139 h 368"/>
                <a:gd name="T40" fmla="*/ 67 w 492"/>
                <a:gd name="T41" fmla="*/ 137 h 368"/>
                <a:gd name="T42" fmla="*/ 116 w 492"/>
                <a:gd name="T43" fmla="*/ 151 h 368"/>
                <a:gd name="T44" fmla="*/ 140 w 492"/>
                <a:gd name="T45" fmla="*/ 183 h 368"/>
                <a:gd name="T46" fmla="*/ 144 w 492"/>
                <a:gd name="T47" fmla="*/ 212 h 368"/>
                <a:gd name="T48" fmla="*/ 174 w 492"/>
                <a:gd name="T49" fmla="*/ 223 h 368"/>
                <a:gd name="T50" fmla="*/ 171 w 492"/>
                <a:gd name="T51" fmla="*/ 234 h 368"/>
                <a:gd name="T52" fmla="*/ 166 w 492"/>
                <a:gd name="T53" fmla="*/ 254 h 368"/>
                <a:gd name="T54" fmla="*/ 161 w 492"/>
                <a:gd name="T55" fmla="*/ 279 h 368"/>
                <a:gd name="T56" fmla="*/ 168 w 492"/>
                <a:gd name="T57" fmla="*/ 311 h 368"/>
                <a:gd name="T58" fmla="*/ 183 w 492"/>
                <a:gd name="T59" fmla="*/ 331 h 368"/>
                <a:gd name="T60" fmla="*/ 204 w 492"/>
                <a:gd name="T61" fmla="*/ 356 h 368"/>
                <a:gd name="T62" fmla="*/ 236 w 492"/>
                <a:gd name="T63" fmla="*/ 368 h 368"/>
                <a:gd name="T64" fmla="*/ 245 w 492"/>
                <a:gd name="T65" fmla="*/ 336 h 368"/>
                <a:gd name="T66" fmla="*/ 259 w 492"/>
                <a:gd name="T67" fmla="*/ 321 h 368"/>
                <a:gd name="T68" fmla="*/ 260 w 492"/>
                <a:gd name="T69" fmla="*/ 305 h 368"/>
                <a:gd name="T70" fmla="*/ 274 w 492"/>
                <a:gd name="T71" fmla="*/ 295 h 368"/>
                <a:gd name="T72" fmla="*/ 286 w 492"/>
                <a:gd name="T73" fmla="*/ 292 h 368"/>
                <a:gd name="T74" fmla="*/ 329 w 492"/>
                <a:gd name="T75" fmla="*/ 264 h 368"/>
                <a:gd name="T76" fmla="*/ 356 w 492"/>
                <a:gd name="T77" fmla="*/ 256 h 368"/>
                <a:gd name="T78" fmla="*/ 411 w 492"/>
                <a:gd name="T79" fmla="*/ 232 h 368"/>
                <a:gd name="T80" fmla="*/ 381 w 492"/>
                <a:gd name="T81" fmla="*/ 226 h 368"/>
                <a:gd name="T82" fmla="*/ 412 w 492"/>
                <a:gd name="T83" fmla="*/ 228 h 368"/>
                <a:gd name="T84" fmla="*/ 405 w 492"/>
                <a:gd name="T85" fmla="*/ 200 h 368"/>
                <a:gd name="T86" fmla="*/ 390 w 492"/>
                <a:gd name="T87" fmla="*/ 186 h 368"/>
                <a:gd name="T88" fmla="*/ 425 w 492"/>
                <a:gd name="T89" fmla="*/ 182 h 368"/>
                <a:gd name="T90" fmla="*/ 434 w 492"/>
                <a:gd name="T91" fmla="*/ 164 h 368"/>
                <a:gd name="T92" fmla="*/ 430 w 492"/>
                <a:gd name="T93" fmla="*/ 138 h 368"/>
                <a:gd name="T94" fmla="*/ 420 w 492"/>
                <a:gd name="T95" fmla="*/ 127 h 368"/>
                <a:gd name="T96" fmla="*/ 424 w 492"/>
                <a:gd name="T97" fmla="*/ 116 h 368"/>
                <a:gd name="T98" fmla="*/ 412 w 492"/>
                <a:gd name="T99" fmla="*/ 110 h 368"/>
                <a:gd name="T100" fmla="*/ 445 w 492"/>
                <a:gd name="T101" fmla="*/ 76 h 368"/>
                <a:gd name="T102" fmla="*/ 437 w 492"/>
                <a:gd name="T103" fmla="*/ 67 h 368"/>
                <a:gd name="T104" fmla="*/ 446 w 492"/>
                <a:gd name="T105" fmla="*/ 58 h 368"/>
                <a:gd name="T106" fmla="*/ 492 w 492"/>
                <a:gd name="T107" fmla="*/ 42 h 368"/>
                <a:gd name="T108" fmla="*/ 162 w 492"/>
                <a:gd name="T109" fmla="*/ 235 h 368"/>
                <a:gd name="T110" fmla="*/ 154 w 492"/>
                <a:gd name="T111" fmla="*/ 24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2" h="368">
                  <a:moveTo>
                    <a:pt x="465" y="34"/>
                  </a:moveTo>
                  <a:cubicBezTo>
                    <a:pt x="456" y="34"/>
                    <a:pt x="449" y="36"/>
                    <a:pt x="448" y="42"/>
                  </a:cubicBezTo>
                  <a:cubicBezTo>
                    <a:pt x="448" y="48"/>
                    <a:pt x="437" y="41"/>
                    <a:pt x="432" y="43"/>
                  </a:cubicBezTo>
                  <a:cubicBezTo>
                    <a:pt x="427" y="45"/>
                    <a:pt x="430" y="38"/>
                    <a:pt x="425" y="40"/>
                  </a:cubicBezTo>
                  <a:cubicBezTo>
                    <a:pt x="420" y="42"/>
                    <a:pt x="415" y="48"/>
                    <a:pt x="409" y="51"/>
                  </a:cubicBezTo>
                  <a:cubicBezTo>
                    <a:pt x="403" y="53"/>
                    <a:pt x="399" y="59"/>
                    <a:pt x="396" y="59"/>
                  </a:cubicBezTo>
                  <a:cubicBezTo>
                    <a:pt x="392" y="60"/>
                    <a:pt x="403" y="48"/>
                    <a:pt x="409" y="43"/>
                  </a:cubicBezTo>
                  <a:cubicBezTo>
                    <a:pt x="415" y="37"/>
                    <a:pt x="412" y="30"/>
                    <a:pt x="404" y="31"/>
                  </a:cubicBezTo>
                  <a:cubicBezTo>
                    <a:pt x="396" y="32"/>
                    <a:pt x="398" y="37"/>
                    <a:pt x="394" y="37"/>
                  </a:cubicBezTo>
                  <a:cubicBezTo>
                    <a:pt x="389" y="38"/>
                    <a:pt x="369" y="49"/>
                    <a:pt x="368" y="46"/>
                  </a:cubicBezTo>
                  <a:cubicBezTo>
                    <a:pt x="367" y="42"/>
                    <a:pt x="385" y="37"/>
                    <a:pt x="385" y="35"/>
                  </a:cubicBezTo>
                  <a:cubicBezTo>
                    <a:pt x="384" y="33"/>
                    <a:pt x="362" y="33"/>
                    <a:pt x="352" y="34"/>
                  </a:cubicBezTo>
                  <a:cubicBezTo>
                    <a:pt x="342" y="36"/>
                    <a:pt x="325" y="41"/>
                    <a:pt x="324" y="38"/>
                  </a:cubicBezTo>
                  <a:cubicBezTo>
                    <a:pt x="324" y="36"/>
                    <a:pt x="345" y="32"/>
                    <a:pt x="355" y="30"/>
                  </a:cubicBezTo>
                  <a:cubicBezTo>
                    <a:pt x="366" y="29"/>
                    <a:pt x="385" y="31"/>
                    <a:pt x="393" y="28"/>
                  </a:cubicBezTo>
                  <a:cubicBezTo>
                    <a:pt x="401" y="24"/>
                    <a:pt x="413" y="24"/>
                    <a:pt x="415" y="22"/>
                  </a:cubicBezTo>
                  <a:cubicBezTo>
                    <a:pt x="418" y="19"/>
                    <a:pt x="406" y="15"/>
                    <a:pt x="400" y="16"/>
                  </a:cubicBezTo>
                  <a:cubicBezTo>
                    <a:pt x="395" y="16"/>
                    <a:pt x="389" y="15"/>
                    <a:pt x="389" y="12"/>
                  </a:cubicBezTo>
                  <a:cubicBezTo>
                    <a:pt x="390" y="9"/>
                    <a:pt x="381" y="9"/>
                    <a:pt x="380" y="7"/>
                  </a:cubicBezTo>
                  <a:cubicBezTo>
                    <a:pt x="379" y="4"/>
                    <a:pt x="361" y="6"/>
                    <a:pt x="357" y="4"/>
                  </a:cubicBezTo>
                  <a:cubicBezTo>
                    <a:pt x="353" y="1"/>
                    <a:pt x="342" y="0"/>
                    <a:pt x="333" y="1"/>
                  </a:cubicBezTo>
                  <a:cubicBezTo>
                    <a:pt x="323" y="2"/>
                    <a:pt x="304" y="1"/>
                    <a:pt x="299" y="2"/>
                  </a:cubicBezTo>
                  <a:cubicBezTo>
                    <a:pt x="295" y="2"/>
                    <a:pt x="292" y="4"/>
                    <a:pt x="288" y="4"/>
                  </a:cubicBezTo>
                  <a:cubicBezTo>
                    <a:pt x="284" y="3"/>
                    <a:pt x="277" y="5"/>
                    <a:pt x="280" y="8"/>
                  </a:cubicBezTo>
                  <a:cubicBezTo>
                    <a:pt x="284" y="12"/>
                    <a:pt x="273" y="14"/>
                    <a:pt x="274" y="11"/>
                  </a:cubicBezTo>
                  <a:cubicBezTo>
                    <a:pt x="275" y="7"/>
                    <a:pt x="265" y="5"/>
                    <a:pt x="262" y="8"/>
                  </a:cubicBezTo>
                  <a:cubicBezTo>
                    <a:pt x="258" y="11"/>
                    <a:pt x="242" y="5"/>
                    <a:pt x="240" y="8"/>
                  </a:cubicBezTo>
                  <a:cubicBezTo>
                    <a:pt x="237" y="11"/>
                    <a:pt x="219" y="10"/>
                    <a:pt x="213" y="11"/>
                  </a:cubicBezTo>
                  <a:cubicBezTo>
                    <a:pt x="208" y="12"/>
                    <a:pt x="222" y="16"/>
                    <a:pt x="221" y="18"/>
                  </a:cubicBezTo>
                  <a:cubicBezTo>
                    <a:pt x="221" y="21"/>
                    <a:pt x="203" y="18"/>
                    <a:pt x="207" y="23"/>
                  </a:cubicBezTo>
                  <a:cubicBezTo>
                    <a:pt x="211" y="27"/>
                    <a:pt x="222" y="30"/>
                    <a:pt x="228" y="36"/>
                  </a:cubicBezTo>
                  <a:cubicBezTo>
                    <a:pt x="233" y="41"/>
                    <a:pt x="223" y="38"/>
                    <a:pt x="217" y="34"/>
                  </a:cubicBezTo>
                  <a:cubicBezTo>
                    <a:pt x="211" y="30"/>
                    <a:pt x="203" y="31"/>
                    <a:pt x="199" y="27"/>
                  </a:cubicBezTo>
                  <a:cubicBezTo>
                    <a:pt x="195" y="23"/>
                    <a:pt x="181" y="20"/>
                    <a:pt x="178" y="22"/>
                  </a:cubicBezTo>
                  <a:cubicBezTo>
                    <a:pt x="173" y="25"/>
                    <a:pt x="187" y="30"/>
                    <a:pt x="187" y="33"/>
                  </a:cubicBezTo>
                  <a:cubicBezTo>
                    <a:pt x="187" y="37"/>
                    <a:pt x="178" y="33"/>
                    <a:pt x="176" y="34"/>
                  </a:cubicBezTo>
                  <a:cubicBezTo>
                    <a:pt x="174" y="35"/>
                    <a:pt x="166" y="26"/>
                    <a:pt x="161" y="26"/>
                  </a:cubicBezTo>
                  <a:cubicBezTo>
                    <a:pt x="157" y="26"/>
                    <a:pt x="161" y="30"/>
                    <a:pt x="161" y="36"/>
                  </a:cubicBezTo>
                  <a:cubicBezTo>
                    <a:pt x="161" y="42"/>
                    <a:pt x="151" y="46"/>
                    <a:pt x="154" y="42"/>
                  </a:cubicBezTo>
                  <a:cubicBezTo>
                    <a:pt x="157" y="37"/>
                    <a:pt x="155" y="27"/>
                    <a:pt x="150" y="25"/>
                  </a:cubicBezTo>
                  <a:cubicBezTo>
                    <a:pt x="145" y="23"/>
                    <a:pt x="132" y="29"/>
                    <a:pt x="125" y="29"/>
                  </a:cubicBezTo>
                  <a:cubicBezTo>
                    <a:pt x="119" y="29"/>
                    <a:pt x="110" y="31"/>
                    <a:pt x="116" y="34"/>
                  </a:cubicBezTo>
                  <a:cubicBezTo>
                    <a:pt x="121" y="37"/>
                    <a:pt x="115" y="39"/>
                    <a:pt x="110" y="36"/>
                  </a:cubicBezTo>
                  <a:cubicBezTo>
                    <a:pt x="105" y="32"/>
                    <a:pt x="89" y="36"/>
                    <a:pt x="92" y="38"/>
                  </a:cubicBezTo>
                  <a:cubicBezTo>
                    <a:pt x="96" y="41"/>
                    <a:pt x="97" y="47"/>
                    <a:pt x="95" y="50"/>
                  </a:cubicBezTo>
                  <a:cubicBezTo>
                    <a:pt x="92" y="53"/>
                    <a:pt x="86" y="47"/>
                    <a:pt x="79" y="48"/>
                  </a:cubicBezTo>
                  <a:cubicBezTo>
                    <a:pt x="73" y="48"/>
                    <a:pt x="41" y="64"/>
                    <a:pt x="43" y="68"/>
                  </a:cubicBezTo>
                  <a:cubicBezTo>
                    <a:pt x="45" y="72"/>
                    <a:pt x="58" y="68"/>
                    <a:pt x="62" y="71"/>
                  </a:cubicBezTo>
                  <a:cubicBezTo>
                    <a:pt x="67" y="73"/>
                    <a:pt x="61" y="82"/>
                    <a:pt x="56" y="86"/>
                  </a:cubicBezTo>
                  <a:cubicBezTo>
                    <a:pt x="51" y="89"/>
                    <a:pt x="31" y="86"/>
                    <a:pt x="31" y="90"/>
                  </a:cubicBezTo>
                  <a:cubicBezTo>
                    <a:pt x="30" y="94"/>
                    <a:pt x="0" y="95"/>
                    <a:pt x="0" y="102"/>
                  </a:cubicBezTo>
                  <a:cubicBezTo>
                    <a:pt x="0" y="105"/>
                    <a:pt x="1" y="107"/>
                    <a:pt x="5" y="108"/>
                  </a:cubicBezTo>
                  <a:cubicBezTo>
                    <a:pt x="9" y="109"/>
                    <a:pt x="14" y="107"/>
                    <a:pt x="18" y="112"/>
                  </a:cubicBezTo>
                  <a:cubicBezTo>
                    <a:pt x="22" y="116"/>
                    <a:pt x="33" y="116"/>
                    <a:pt x="40" y="113"/>
                  </a:cubicBezTo>
                  <a:cubicBezTo>
                    <a:pt x="47" y="110"/>
                    <a:pt x="53" y="114"/>
                    <a:pt x="52" y="118"/>
                  </a:cubicBezTo>
                  <a:cubicBezTo>
                    <a:pt x="52" y="122"/>
                    <a:pt x="36" y="116"/>
                    <a:pt x="31" y="120"/>
                  </a:cubicBezTo>
                  <a:cubicBezTo>
                    <a:pt x="26" y="123"/>
                    <a:pt x="10" y="120"/>
                    <a:pt x="11" y="123"/>
                  </a:cubicBezTo>
                  <a:cubicBezTo>
                    <a:pt x="12" y="127"/>
                    <a:pt x="19" y="126"/>
                    <a:pt x="26" y="127"/>
                  </a:cubicBezTo>
                  <a:cubicBezTo>
                    <a:pt x="32" y="128"/>
                    <a:pt x="26" y="131"/>
                    <a:pt x="26" y="134"/>
                  </a:cubicBezTo>
                  <a:cubicBezTo>
                    <a:pt x="26" y="136"/>
                    <a:pt x="29" y="136"/>
                    <a:pt x="35" y="139"/>
                  </a:cubicBezTo>
                  <a:cubicBezTo>
                    <a:pt x="42" y="142"/>
                    <a:pt x="52" y="144"/>
                    <a:pt x="48" y="140"/>
                  </a:cubicBezTo>
                  <a:cubicBezTo>
                    <a:pt x="45" y="137"/>
                    <a:pt x="55" y="137"/>
                    <a:pt x="57" y="139"/>
                  </a:cubicBezTo>
                  <a:cubicBezTo>
                    <a:pt x="58" y="141"/>
                    <a:pt x="63" y="136"/>
                    <a:pt x="67" y="137"/>
                  </a:cubicBezTo>
                  <a:cubicBezTo>
                    <a:pt x="72" y="139"/>
                    <a:pt x="73" y="133"/>
                    <a:pt x="77" y="135"/>
                  </a:cubicBezTo>
                  <a:cubicBezTo>
                    <a:pt x="81" y="138"/>
                    <a:pt x="97" y="139"/>
                    <a:pt x="103" y="142"/>
                  </a:cubicBezTo>
                  <a:cubicBezTo>
                    <a:pt x="109" y="145"/>
                    <a:pt x="116" y="146"/>
                    <a:pt x="116" y="151"/>
                  </a:cubicBezTo>
                  <a:cubicBezTo>
                    <a:pt x="115" y="155"/>
                    <a:pt x="121" y="159"/>
                    <a:pt x="127" y="161"/>
                  </a:cubicBezTo>
                  <a:cubicBezTo>
                    <a:pt x="133" y="164"/>
                    <a:pt x="135" y="170"/>
                    <a:pt x="134" y="174"/>
                  </a:cubicBezTo>
                  <a:cubicBezTo>
                    <a:pt x="134" y="178"/>
                    <a:pt x="141" y="181"/>
                    <a:pt x="140" y="183"/>
                  </a:cubicBezTo>
                  <a:cubicBezTo>
                    <a:pt x="139" y="185"/>
                    <a:pt x="140" y="188"/>
                    <a:pt x="144" y="192"/>
                  </a:cubicBezTo>
                  <a:cubicBezTo>
                    <a:pt x="148" y="195"/>
                    <a:pt x="137" y="198"/>
                    <a:pt x="140" y="202"/>
                  </a:cubicBezTo>
                  <a:cubicBezTo>
                    <a:pt x="143" y="205"/>
                    <a:pt x="136" y="211"/>
                    <a:pt x="144" y="212"/>
                  </a:cubicBezTo>
                  <a:cubicBezTo>
                    <a:pt x="151" y="214"/>
                    <a:pt x="150" y="207"/>
                    <a:pt x="156" y="207"/>
                  </a:cubicBezTo>
                  <a:cubicBezTo>
                    <a:pt x="162" y="207"/>
                    <a:pt x="156" y="212"/>
                    <a:pt x="159" y="215"/>
                  </a:cubicBezTo>
                  <a:cubicBezTo>
                    <a:pt x="162" y="218"/>
                    <a:pt x="168" y="218"/>
                    <a:pt x="174" y="223"/>
                  </a:cubicBezTo>
                  <a:cubicBezTo>
                    <a:pt x="180" y="228"/>
                    <a:pt x="176" y="230"/>
                    <a:pt x="171" y="226"/>
                  </a:cubicBezTo>
                  <a:cubicBezTo>
                    <a:pt x="165" y="222"/>
                    <a:pt x="150" y="223"/>
                    <a:pt x="150" y="224"/>
                  </a:cubicBezTo>
                  <a:cubicBezTo>
                    <a:pt x="150" y="226"/>
                    <a:pt x="167" y="236"/>
                    <a:pt x="171" y="234"/>
                  </a:cubicBezTo>
                  <a:cubicBezTo>
                    <a:pt x="175" y="233"/>
                    <a:pt x="181" y="240"/>
                    <a:pt x="178" y="243"/>
                  </a:cubicBezTo>
                  <a:cubicBezTo>
                    <a:pt x="176" y="245"/>
                    <a:pt x="177" y="251"/>
                    <a:pt x="177" y="254"/>
                  </a:cubicBezTo>
                  <a:cubicBezTo>
                    <a:pt x="176" y="257"/>
                    <a:pt x="170" y="254"/>
                    <a:pt x="166" y="254"/>
                  </a:cubicBezTo>
                  <a:cubicBezTo>
                    <a:pt x="163" y="255"/>
                    <a:pt x="160" y="256"/>
                    <a:pt x="160" y="260"/>
                  </a:cubicBezTo>
                  <a:cubicBezTo>
                    <a:pt x="160" y="264"/>
                    <a:pt x="154" y="267"/>
                    <a:pt x="153" y="272"/>
                  </a:cubicBezTo>
                  <a:cubicBezTo>
                    <a:pt x="153" y="277"/>
                    <a:pt x="158" y="277"/>
                    <a:pt x="161" y="279"/>
                  </a:cubicBezTo>
                  <a:cubicBezTo>
                    <a:pt x="164" y="281"/>
                    <a:pt x="155" y="282"/>
                    <a:pt x="155" y="286"/>
                  </a:cubicBezTo>
                  <a:cubicBezTo>
                    <a:pt x="155" y="290"/>
                    <a:pt x="163" y="296"/>
                    <a:pt x="166" y="298"/>
                  </a:cubicBezTo>
                  <a:cubicBezTo>
                    <a:pt x="169" y="299"/>
                    <a:pt x="166" y="307"/>
                    <a:pt x="168" y="311"/>
                  </a:cubicBezTo>
                  <a:cubicBezTo>
                    <a:pt x="169" y="315"/>
                    <a:pt x="173" y="310"/>
                    <a:pt x="172" y="316"/>
                  </a:cubicBezTo>
                  <a:cubicBezTo>
                    <a:pt x="172" y="321"/>
                    <a:pt x="176" y="321"/>
                    <a:pt x="176" y="324"/>
                  </a:cubicBezTo>
                  <a:cubicBezTo>
                    <a:pt x="177" y="327"/>
                    <a:pt x="184" y="326"/>
                    <a:pt x="183" y="331"/>
                  </a:cubicBezTo>
                  <a:cubicBezTo>
                    <a:pt x="181" y="335"/>
                    <a:pt x="185" y="338"/>
                    <a:pt x="186" y="340"/>
                  </a:cubicBezTo>
                  <a:cubicBezTo>
                    <a:pt x="188" y="343"/>
                    <a:pt x="194" y="347"/>
                    <a:pt x="195" y="350"/>
                  </a:cubicBezTo>
                  <a:cubicBezTo>
                    <a:pt x="197" y="353"/>
                    <a:pt x="200" y="357"/>
                    <a:pt x="204" y="356"/>
                  </a:cubicBezTo>
                  <a:cubicBezTo>
                    <a:pt x="209" y="355"/>
                    <a:pt x="209" y="359"/>
                    <a:pt x="212" y="358"/>
                  </a:cubicBezTo>
                  <a:cubicBezTo>
                    <a:pt x="216" y="358"/>
                    <a:pt x="221" y="360"/>
                    <a:pt x="222" y="362"/>
                  </a:cubicBezTo>
                  <a:cubicBezTo>
                    <a:pt x="223" y="365"/>
                    <a:pt x="233" y="367"/>
                    <a:pt x="236" y="368"/>
                  </a:cubicBezTo>
                  <a:cubicBezTo>
                    <a:pt x="239" y="368"/>
                    <a:pt x="239" y="363"/>
                    <a:pt x="242" y="362"/>
                  </a:cubicBezTo>
                  <a:cubicBezTo>
                    <a:pt x="244" y="360"/>
                    <a:pt x="243" y="350"/>
                    <a:pt x="246" y="349"/>
                  </a:cubicBezTo>
                  <a:cubicBezTo>
                    <a:pt x="248" y="348"/>
                    <a:pt x="247" y="337"/>
                    <a:pt x="245" y="336"/>
                  </a:cubicBezTo>
                  <a:cubicBezTo>
                    <a:pt x="243" y="335"/>
                    <a:pt x="244" y="332"/>
                    <a:pt x="249" y="332"/>
                  </a:cubicBezTo>
                  <a:cubicBezTo>
                    <a:pt x="255" y="333"/>
                    <a:pt x="253" y="328"/>
                    <a:pt x="255" y="327"/>
                  </a:cubicBezTo>
                  <a:cubicBezTo>
                    <a:pt x="258" y="326"/>
                    <a:pt x="257" y="321"/>
                    <a:pt x="259" y="321"/>
                  </a:cubicBezTo>
                  <a:cubicBezTo>
                    <a:pt x="261" y="320"/>
                    <a:pt x="260" y="317"/>
                    <a:pt x="259" y="315"/>
                  </a:cubicBezTo>
                  <a:cubicBezTo>
                    <a:pt x="257" y="313"/>
                    <a:pt x="259" y="312"/>
                    <a:pt x="262" y="311"/>
                  </a:cubicBezTo>
                  <a:cubicBezTo>
                    <a:pt x="265" y="311"/>
                    <a:pt x="264" y="307"/>
                    <a:pt x="260" y="305"/>
                  </a:cubicBezTo>
                  <a:cubicBezTo>
                    <a:pt x="257" y="304"/>
                    <a:pt x="258" y="300"/>
                    <a:pt x="262" y="302"/>
                  </a:cubicBezTo>
                  <a:cubicBezTo>
                    <a:pt x="265" y="305"/>
                    <a:pt x="268" y="303"/>
                    <a:pt x="266" y="300"/>
                  </a:cubicBezTo>
                  <a:cubicBezTo>
                    <a:pt x="264" y="297"/>
                    <a:pt x="269" y="296"/>
                    <a:pt x="274" y="295"/>
                  </a:cubicBezTo>
                  <a:cubicBezTo>
                    <a:pt x="279" y="295"/>
                    <a:pt x="281" y="292"/>
                    <a:pt x="280" y="288"/>
                  </a:cubicBezTo>
                  <a:cubicBezTo>
                    <a:pt x="279" y="285"/>
                    <a:pt x="286" y="285"/>
                    <a:pt x="284" y="288"/>
                  </a:cubicBezTo>
                  <a:cubicBezTo>
                    <a:pt x="283" y="291"/>
                    <a:pt x="284" y="295"/>
                    <a:pt x="286" y="292"/>
                  </a:cubicBezTo>
                  <a:cubicBezTo>
                    <a:pt x="288" y="290"/>
                    <a:pt x="293" y="292"/>
                    <a:pt x="301" y="289"/>
                  </a:cubicBezTo>
                  <a:cubicBezTo>
                    <a:pt x="309" y="287"/>
                    <a:pt x="317" y="280"/>
                    <a:pt x="319" y="274"/>
                  </a:cubicBezTo>
                  <a:cubicBezTo>
                    <a:pt x="321" y="267"/>
                    <a:pt x="330" y="268"/>
                    <a:pt x="329" y="264"/>
                  </a:cubicBezTo>
                  <a:cubicBezTo>
                    <a:pt x="328" y="260"/>
                    <a:pt x="330" y="258"/>
                    <a:pt x="336" y="261"/>
                  </a:cubicBezTo>
                  <a:cubicBezTo>
                    <a:pt x="342" y="264"/>
                    <a:pt x="338" y="259"/>
                    <a:pt x="344" y="259"/>
                  </a:cubicBezTo>
                  <a:cubicBezTo>
                    <a:pt x="351" y="259"/>
                    <a:pt x="350" y="256"/>
                    <a:pt x="356" y="256"/>
                  </a:cubicBezTo>
                  <a:cubicBezTo>
                    <a:pt x="363" y="256"/>
                    <a:pt x="379" y="253"/>
                    <a:pt x="385" y="248"/>
                  </a:cubicBezTo>
                  <a:cubicBezTo>
                    <a:pt x="391" y="244"/>
                    <a:pt x="403" y="240"/>
                    <a:pt x="408" y="237"/>
                  </a:cubicBezTo>
                  <a:cubicBezTo>
                    <a:pt x="413" y="233"/>
                    <a:pt x="414" y="231"/>
                    <a:pt x="411" y="232"/>
                  </a:cubicBezTo>
                  <a:cubicBezTo>
                    <a:pt x="408" y="234"/>
                    <a:pt x="401" y="234"/>
                    <a:pt x="397" y="233"/>
                  </a:cubicBezTo>
                  <a:cubicBezTo>
                    <a:pt x="392" y="232"/>
                    <a:pt x="384" y="228"/>
                    <a:pt x="379" y="231"/>
                  </a:cubicBezTo>
                  <a:cubicBezTo>
                    <a:pt x="373" y="234"/>
                    <a:pt x="377" y="227"/>
                    <a:pt x="381" y="226"/>
                  </a:cubicBezTo>
                  <a:cubicBezTo>
                    <a:pt x="386" y="225"/>
                    <a:pt x="384" y="223"/>
                    <a:pt x="383" y="218"/>
                  </a:cubicBezTo>
                  <a:cubicBezTo>
                    <a:pt x="381" y="213"/>
                    <a:pt x="390" y="217"/>
                    <a:pt x="394" y="222"/>
                  </a:cubicBezTo>
                  <a:cubicBezTo>
                    <a:pt x="398" y="227"/>
                    <a:pt x="405" y="230"/>
                    <a:pt x="412" y="228"/>
                  </a:cubicBezTo>
                  <a:cubicBezTo>
                    <a:pt x="418" y="226"/>
                    <a:pt x="412" y="221"/>
                    <a:pt x="414" y="217"/>
                  </a:cubicBezTo>
                  <a:cubicBezTo>
                    <a:pt x="417" y="214"/>
                    <a:pt x="395" y="203"/>
                    <a:pt x="393" y="199"/>
                  </a:cubicBezTo>
                  <a:cubicBezTo>
                    <a:pt x="392" y="195"/>
                    <a:pt x="399" y="198"/>
                    <a:pt x="405" y="200"/>
                  </a:cubicBezTo>
                  <a:cubicBezTo>
                    <a:pt x="412" y="203"/>
                    <a:pt x="413" y="195"/>
                    <a:pt x="413" y="192"/>
                  </a:cubicBezTo>
                  <a:cubicBezTo>
                    <a:pt x="413" y="188"/>
                    <a:pt x="400" y="188"/>
                    <a:pt x="394" y="192"/>
                  </a:cubicBezTo>
                  <a:cubicBezTo>
                    <a:pt x="388" y="195"/>
                    <a:pt x="382" y="187"/>
                    <a:pt x="390" y="186"/>
                  </a:cubicBezTo>
                  <a:cubicBezTo>
                    <a:pt x="398" y="185"/>
                    <a:pt x="391" y="182"/>
                    <a:pt x="393" y="180"/>
                  </a:cubicBezTo>
                  <a:cubicBezTo>
                    <a:pt x="396" y="177"/>
                    <a:pt x="406" y="187"/>
                    <a:pt x="411" y="185"/>
                  </a:cubicBezTo>
                  <a:cubicBezTo>
                    <a:pt x="416" y="183"/>
                    <a:pt x="420" y="185"/>
                    <a:pt x="425" y="182"/>
                  </a:cubicBezTo>
                  <a:cubicBezTo>
                    <a:pt x="429" y="178"/>
                    <a:pt x="417" y="175"/>
                    <a:pt x="414" y="172"/>
                  </a:cubicBezTo>
                  <a:cubicBezTo>
                    <a:pt x="411" y="168"/>
                    <a:pt x="427" y="170"/>
                    <a:pt x="432" y="170"/>
                  </a:cubicBezTo>
                  <a:cubicBezTo>
                    <a:pt x="437" y="170"/>
                    <a:pt x="438" y="163"/>
                    <a:pt x="434" y="164"/>
                  </a:cubicBezTo>
                  <a:cubicBezTo>
                    <a:pt x="430" y="166"/>
                    <a:pt x="417" y="160"/>
                    <a:pt x="419" y="155"/>
                  </a:cubicBezTo>
                  <a:cubicBezTo>
                    <a:pt x="422" y="151"/>
                    <a:pt x="427" y="156"/>
                    <a:pt x="433" y="153"/>
                  </a:cubicBezTo>
                  <a:cubicBezTo>
                    <a:pt x="439" y="150"/>
                    <a:pt x="434" y="138"/>
                    <a:pt x="430" y="138"/>
                  </a:cubicBezTo>
                  <a:cubicBezTo>
                    <a:pt x="425" y="138"/>
                    <a:pt x="415" y="137"/>
                    <a:pt x="415" y="135"/>
                  </a:cubicBezTo>
                  <a:cubicBezTo>
                    <a:pt x="415" y="133"/>
                    <a:pt x="407" y="131"/>
                    <a:pt x="409" y="129"/>
                  </a:cubicBezTo>
                  <a:cubicBezTo>
                    <a:pt x="412" y="126"/>
                    <a:pt x="415" y="131"/>
                    <a:pt x="420" y="127"/>
                  </a:cubicBezTo>
                  <a:cubicBezTo>
                    <a:pt x="426" y="123"/>
                    <a:pt x="437" y="128"/>
                    <a:pt x="442" y="127"/>
                  </a:cubicBezTo>
                  <a:cubicBezTo>
                    <a:pt x="447" y="126"/>
                    <a:pt x="440" y="117"/>
                    <a:pt x="437" y="119"/>
                  </a:cubicBezTo>
                  <a:cubicBezTo>
                    <a:pt x="434" y="120"/>
                    <a:pt x="425" y="121"/>
                    <a:pt x="424" y="116"/>
                  </a:cubicBezTo>
                  <a:cubicBezTo>
                    <a:pt x="423" y="111"/>
                    <a:pt x="433" y="116"/>
                    <a:pt x="435" y="113"/>
                  </a:cubicBezTo>
                  <a:cubicBezTo>
                    <a:pt x="437" y="111"/>
                    <a:pt x="421" y="105"/>
                    <a:pt x="419" y="110"/>
                  </a:cubicBezTo>
                  <a:cubicBezTo>
                    <a:pt x="416" y="115"/>
                    <a:pt x="408" y="113"/>
                    <a:pt x="412" y="110"/>
                  </a:cubicBezTo>
                  <a:cubicBezTo>
                    <a:pt x="417" y="107"/>
                    <a:pt x="418" y="99"/>
                    <a:pt x="417" y="95"/>
                  </a:cubicBezTo>
                  <a:cubicBezTo>
                    <a:pt x="417" y="91"/>
                    <a:pt x="433" y="91"/>
                    <a:pt x="432" y="84"/>
                  </a:cubicBezTo>
                  <a:cubicBezTo>
                    <a:pt x="430" y="78"/>
                    <a:pt x="439" y="76"/>
                    <a:pt x="445" y="76"/>
                  </a:cubicBezTo>
                  <a:cubicBezTo>
                    <a:pt x="450" y="76"/>
                    <a:pt x="445" y="69"/>
                    <a:pt x="439" y="70"/>
                  </a:cubicBezTo>
                  <a:cubicBezTo>
                    <a:pt x="434" y="71"/>
                    <a:pt x="429" y="76"/>
                    <a:pt x="426" y="74"/>
                  </a:cubicBezTo>
                  <a:cubicBezTo>
                    <a:pt x="423" y="72"/>
                    <a:pt x="432" y="67"/>
                    <a:pt x="437" y="67"/>
                  </a:cubicBezTo>
                  <a:cubicBezTo>
                    <a:pt x="442" y="67"/>
                    <a:pt x="453" y="67"/>
                    <a:pt x="457" y="65"/>
                  </a:cubicBezTo>
                  <a:cubicBezTo>
                    <a:pt x="461" y="62"/>
                    <a:pt x="450" y="60"/>
                    <a:pt x="442" y="61"/>
                  </a:cubicBezTo>
                  <a:cubicBezTo>
                    <a:pt x="435" y="62"/>
                    <a:pt x="435" y="59"/>
                    <a:pt x="446" y="58"/>
                  </a:cubicBezTo>
                  <a:cubicBezTo>
                    <a:pt x="458" y="58"/>
                    <a:pt x="456" y="56"/>
                    <a:pt x="464" y="55"/>
                  </a:cubicBezTo>
                  <a:cubicBezTo>
                    <a:pt x="472" y="54"/>
                    <a:pt x="469" y="51"/>
                    <a:pt x="474" y="50"/>
                  </a:cubicBezTo>
                  <a:cubicBezTo>
                    <a:pt x="479" y="50"/>
                    <a:pt x="492" y="45"/>
                    <a:pt x="492" y="42"/>
                  </a:cubicBezTo>
                  <a:cubicBezTo>
                    <a:pt x="492" y="39"/>
                    <a:pt x="474" y="34"/>
                    <a:pt x="465" y="34"/>
                  </a:cubicBezTo>
                  <a:close/>
                  <a:moveTo>
                    <a:pt x="169" y="241"/>
                  </a:moveTo>
                  <a:cubicBezTo>
                    <a:pt x="169" y="237"/>
                    <a:pt x="164" y="240"/>
                    <a:pt x="162" y="235"/>
                  </a:cubicBezTo>
                  <a:cubicBezTo>
                    <a:pt x="160" y="231"/>
                    <a:pt x="148" y="229"/>
                    <a:pt x="146" y="232"/>
                  </a:cubicBezTo>
                  <a:cubicBezTo>
                    <a:pt x="146" y="234"/>
                    <a:pt x="142" y="236"/>
                    <a:pt x="145" y="239"/>
                  </a:cubicBezTo>
                  <a:cubicBezTo>
                    <a:pt x="148" y="243"/>
                    <a:pt x="150" y="241"/>
                    <a:pt x="154" y="245"/>
                  </a:cubicBezTo>
                  <a:cubicBezTo>
                    <a:pt x="158" y="248"/>
                    <a:pt x="168" y="245"/>
                    <a:pt x="169" y="24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2" name="Freeform 309">
              <a:extLst>
                <a:ext uri="{FF2B5EF4-FFF2-40B4-BE49-F238E27FC236}">
                  <a16:creationId xmlns:a16="http://schemas.microsoft.com/office/drawing/2014/main" id="{39F87E37-966A-7F29-61D9-38DAC3CAC4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8236" y="6108734"/>
              <a:ext cx="74603" cy="55556"/>
            </a:xfrm>
            <a:custGeom>
              <a:avLst/>
              <a:gdLst>
                <a:gd name="T0" fmla="*/ 1 w 20"/>
                <a:gd name="T1" fmla="*/ 2 h 15"/>
                <a:gd name="T2" fmla="*/ 8 w 20"/>
                <a:gd name="T3" fmla="*/ 7 h 15"/>
                <a:gd name="T4" fmla="*/ 17 w 20"/>
                <a:gd name="T5" fmla="*/ 10 h 15"/>
                <a:gd name="T6" fmla="*/ 1 w 20"/>
                <a:gd name="T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5">
                  <a:moveTo>
                    <a:pt x="1" y="2"/>
                  </a:moveTo>
                  <a:cubicBezTo>
                    <a:pt x="1" y="5"/>
                    <a:pt x="5" y="4"/>
                    <a:pt x="8" y="7"/>
                  </a:cubicBezTo>
                  <a:cubicBezTo>
                    <a:pt x="11" y="9"/>
                    <a:pt x="14" y="15"/>
                    <a:pt x="17" y="10"/>
                  </a:cubicBezTo>
                  <a:cubicBezTo>
                    <a:pt x="20" y="5"/>
                    <a:pt x="0" y="0"/>
                    <a:pt x="1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3" name="Freeform 310">
              <a:extLst>
                <a:ext uri="{FF2B5EF4-FFF2-40B4-BE49-F238E27FC236}">
                  <a16:creationId xmlns:a16="http://schemas.microsoft.com/office/drawing/2014/main" id="{D8A316BF-C171-E30F-8B8D-CC36A58DA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8089" y="837329"/>
              <a:ext cx="2690463" cy="2074593"/>
            </a:xfrm>
            <a:custGeom>
              <a:avLst/>
              <a:gdLst>
                <a:gd name="T0" fmla="*/ 146 w 717"/>
                <a:gd name="T1" fmla="*/ 487 h 552"/>
                <a:gd name="T2" fmla="*/ 135 w 717"/>
                <a:gd name="T3" fmla="*/ 162 h 552"/>
                <a:gd name="T4" fmla="*/ 276 w 717"/>
                <a:gd name="T5" fmla="*/ 179 h 552"/>
                <a:gd name="T6" fmla="*/ 183 w 717"/>
                <a:gd name="T7" fmla="*/ 191 h 552"/>
                <a:gd name="T8" fmla="*/ 275 w 717"/>
                <a:gd name="T9" fmla="*/ 238 h 552"/>
                <a:gd name="T10" fmla="*/ 169 w 717"/>
                <a:gd name="T11" fmla="*/ 138 h 552"/>
                <a:gd name="T12" fmla="*/ 148 w 717"/>
                <a:gd name="T13" fmla="*/ 132 h 552"/>
                <a:gd name="T14" fmla="*/ 263 w 717"/>
                <a:gd name="T15" fmla="*/ 152 h 552"/>
                <a:gd name="T16" fmla="*/ 212 w 717"/>
                <a:gd name="T17" fmla="*/ 102 h 552"/>
                <a:gd name="T18" fmla="*/ 294 w 717"/>
                <a:gd name="T19" fmla="*/ 85 h 552"/>
                <a:gd name="T20" fmla="*/ 297 w 717"/>
                <a:gd name="T21" fmla="*/ 115 h 552"/>
                <a:gd name="T22" fmla="*/ 299 w 717"/>
                <a:gd name="T23" fmla="*/ 132 h 552"/>
                <a:gd name="T24" fmla="*/ 387 w 717"/>
                <a:gd name="T25" fmla="*/ 105 h 552"/>
                <a:gd name="T26" fmla="*/ 351 w 717"/>
                <a:gd name="T27" fmla="*/ 165 h 552"/>
                <a:gd name="T28" fmla="*/ 490 w 717"/>
                <a:gd name="T29" fmla="*/ 156 h 552"/>
                <a:gd name="T30" fmla="*/ 414 w 717"/>
                <a:gd name="T31" fmla="*/ 108 h 552"/>
                <a:gd name="T32" fmla="*/ 426 w 717"/>
                <a:gd name="T33" fmla="*/ 59 h 552"/>
                <a:gd name="T34" fmla="*/ 418 w 717"/>
                <a:gd name="T35" fmla="*/ 47 h 552"/>
                <a:gd name="T36" fmla="*/ 452 w 717"/>
                <a:gd name="T37" fmla="*/ 86 h 552"/>
                <a:gd name="T38" fmla="*/ 498 w 717"/>
                <a:gd name="T39" fmla="*/ 128 h 552"/>
                <a:gd name="T40" fmla="*/ 567 w 717"/>
                <a:gd name="T41" fmla="*/ 62 h 552"/>
                <a:gd name="T42" fmla="*/ 542 w 717"/>
                <a:gd name="T43" fmla="*/ 6 h 552"/>
                <a:gd name="T44" fmla="*/ 406 w 717"/>
                <a:gd name="T45" fmla="*/ 32 h 552"/>
                <a:gd name="T46" fmla="*/ 445 w 717"/>
                <a:gd name="T47" fmla="*/ 314 h 552"/>
                <a:gd name="T48" fmla="*/ 590 w 717"/>
                <a:gd name="T49" fmla="*/ 242 h 552"/>
                <a:gd name="T50" fmla="*/ 532 w 717"/>
                <a:gd name="T51" fmla="*/ 194 h 552"/>
                <a:gd name="T52" fmla="*/ 445 w 717"/>
                <a:gd name="T53" fmla="*/ 178 h 552"/>
                <a:gd name="T54" fmla="*/ 502 w 717"/>
                <a:gd name="T55" fmla="*/ 220 h 552"/>
                <a:gd name="T56" fmla="*/ 525 w 717"/>
                <a:gd name="T57" fmla="*/ 292 h 552"/>
                <a:gd name="T58" fmla="*/ 606 w 717"/>
                <a:gd name="T59" fmla="*/ 298 h 552"/>
                <a:gd name="T60" fmla="*/ 487 w 717"/>
                <a:gd name="T61" fmla="*/ 171 h 552"/>
                <a:gd name="T62" fmla="*/ 687 w 717"/>
                <a:gd name="T63" fmla="*/ 457 h 552"/>
                <a:gd name="T64" fmla="*/ 78 w 717"/>
                <a:gd name="T65" fmla="*/ 448 h 552"/>
                <a:gd name="T66" fmla="*/ 585 w 717"/>
                <a:gd name="T67" fmla="*/ 489 h 552"/>
                <a:gd name="T68" fmla="*/ 687 w 717"/>
                <a:gd name="T69" fmla="*/ 434 h 552"/>
                <a:gd name="T70" fmla="*/ 638 w 717"/>
                <a:gd name="T71" fmla="*/ 399 h 552"/>
                <a:gd name="T72" fmla="*/ 602 w 717"/>
                <a:gd name="T73" fmla="*/ 376 h 552"/>
                <a:gd name="T74" fmla="*/ 544 w 717"/>
                <a:gd name="T75" fmla="*/ 330 h 552"/>
                <a:gd name="T76" fmla="*/ 519 w 717"/>
                <a:gd name="T77" fmla="*/ 387 h 552"/>
                <a:gd name="T78" fmla="*/ 475 w 717"/>
                <a:gd name="T79" fmla="*/ 440 h 552"/>
                <a:gd name="T80" fmla="*/ 384 w 717"/>
                <a:gd name="T81" fmla="*/ 375 h 552"/>
                <a:gd name="T82" fmla="*/ 413 w 717"/>
                <a:gd name="T83" fmla="*/ 307 h 552"/>
                <a:gd name="T84" fmla="*/ 463 w 717"/>
                <a:gd name="T85" fmla="*/ 276 h 552"/>
                <a:gd name="T86" fmla="*/ 454 w 717"/>
                <a:gd name="T87" fmla="*/ 242 h 552"/>
                <a:gd name="T88" fmla="*/ 413 w 717"/>
                <a:gd name="T89" fmla="*/ 245 h 552"/>
                <a:gd name="T90" fmla="*/ 383 w 717"/>
                <a:gd name="T91" fmla="*/ 193 h 552"/>
                <a:gd name="T92" fmla="*/ 369 w 717"/>
                <a:gd name="T93" fmla="*/ 208 h 552"/>
                <a:gd name="T94" fmla="*/ 362 w 717"/>
                <a:gd name="T95" fmla="*/ 259 h 552"/>
                <a:gd name="T96" fmla="*/ 351 w 717"/>
                <a:gd name="T97" fmla="*/ 248 h 552"/>
                <a:gd name="T98" fmla="*/ 285 w 717"/>
                <a:gd name="T99" fmla="*/ 248 h 552"/>
                <a:gd name="T100" fmla="*/ 191 w 717"/>
                <a:gd name="T101" fmla="*/ 242 h 552"/>
                <a:gd name="T102" fmla="*/ 69 w 717"/>
                <a:gd name="T103" fmla="*/ 243 h 552"/>
                <a:gd name="T104" fmla="*/ 33 w 717"/>
                <a:gd name="T105" fmla="*/ 243 h 552"/>
                <a:gd name="T106" fmla="*/ 90 w 717"/>
                <a:gd name="T107" fmla="*/ 419 h 552"/>
                <a:gd name="T108" fmla="*/ 129 w 717"/>
                <a:gd name="T109" fmla="*/ 469 h 552"/>
                <a:gd name="T110" fmla="*/ 444 w 717"/>
                <a:gd name="T111" fmla="*/ 491 h 552"/>
                <a:gd name="T112" fmla="*/ 500 w 717"/>
                <a:gd name="T113" fmla="*/ 546 h 552"/>
                <a:gd name="T114" fmla="*/ 617 w 717"/>
                <a:gd name="T115" fmla="*/ 515 h 552"/>
                <a:gd name="T116" fmla="*/ 173 w 717"/>
                <a:gd name="T117" fmla="*/ 290 h 552"/>
                <a:gd name="T118" fmla="*/ 172 w 717"/>
                <a:gd name="T119" fmla="*/ 279 h 552"/>
                <a:gd name="T120" fmla="*/ 359 w 717"/>
                <a:gd name="T121" fmla="*/ 46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7" h="552">
                  <a:moveTo>
                    <a:pt x="141" y="484"/>
                  </a:moveTo>
                  <a:cubicBezTo>
                    <a:pt x="139" y="481"/>
                    <a:pt x="133" y="482"/>
                    <a:pt x="132" y="479"/>
                  </a:cubicBezTo>
                  <a:cubicBezTo>
                    <a:pt x="131" y="477"/>
                    <a:pt x="126" y="469"/>
                    <a:pt x="123" y="469"/>
                  </a:cubicBezTo>
                  <a:cubicBezTo>
                    <a:pt x="120" y="469"/>
                    <a:pt x="116" y="469"/>
                    <a:pt x="112" y="467"/>
                  </a:cubicBezTo>
                  <a:cubicBezTo>
                    <a:pt x="109" y="464"/>
                    <a:pt x="106" y="464"/>
                    <a:pt x="104" y="465"/>
                  </a:cubicBezTo>
                  <a:cubicBezTo>
                    <a:pt x="101" y="467"/>
                    <a:pt x="106" y="467"/>
                    <a:pt x="106" y="469"/>
                  </a:cubicBezTo>
                  <a:cubicBezTo>
                    <a:pt x="106" y="471"/>
                    <a:pt x="108" y="472"/>
                    <a:pt x="110" y="472"/>
                  </a:cubicBezTo>
                  <a:cubicBezTo>
                    <a:pt x="112" y="471"/>
                    <a:pt x="113" y="476"/>
                    <a:pt x="115" y="476"/>
                  </a:cubicBezTo>
                  <a:cubicBezTo>
                    <a:pt x="118" y="476"/>
                    <a:pt x="118" y="479"/>
                    <a:pt x="121" y="479"/>
                  </a:cubicBezTo>
                  <a:cubicBezTo>
                    <a:pt x="123" y="479"/>
                    <a:pt x="124" y="482"/>
                    <a:pt x="125" y="484"/>
                  </a:cubicBezTo>
                  <a:cubicBezTo>
                    <a:pt x="126" y="486"/>
                    <a:pt x="129" y="484"/>
                    <a:pt x="129" y="486"/>
                  </a:cubicBezTo>
                  <a:cubicBezTo>
                    <a:pt x="129" y="487"/>
                    <a:pt x="132" y="488"/>
                    <a:pt x="133" y="490"/>
                  </a:cubicBezTo>
                  <a:cubicBezTo>
                    <a:pt x="138" y="491"/>
                    <a:pt x="142" y="491"/>
                    <a:pt x="145" y="490"/>
                  </a:cubicBezTo>
                  <a:cubicBezTo>
                    <a:pt x="146" y="489"/>
                    <a:pt x="146" y="488"/>
                    <a:pt x="146" y="487"/>
                  </a:cubicBezTo>
                  <a:cubicBezTo>
                    <a:pt x="148" y="485"/>
                    <a:pt x="144" y="486"/>
                    <a:pt x="141" y="484"/>
                  </a:cubicBezTo>
                  <a:close/>
                  <a:moveTo>
                    <a:pt x="135" y="200"/>
                  </a:moveTo>
                  <a:cubicBezTo>
                    <a:pt x="142" y="202"/>
                    <a:pt x="142" y="213"/>
                    <a:pt x="147" y="213"/>
                  </a:cubicBezTo>
                  <a:cubicBezTo>
                    <a:pt x="150" y="213"/>
                    <a:pt x="147" y="210"/>
                    <a:pt x="152" y="210"/>
                  </a:cubicBezTo>
                  <a:cubicBezTo>
                    <a:pt x="157" y="210"/>
                    <a:pt x="156" y="207"/>
                    <a:pt x="160" y="208"/>
                  </a:cubicBezTo>
                  <a:cubicBezTo>
                    <a:pt x="164" y="208"/>
                    <a:pt x="168" y="206"/>
                    <a:pt x="168" y="201"/>
                  </a:cubicBezTo>
                  <a:cubicBezTo>
                    <a:pt x="168" y="196"/>
                    <a:pt x="171" y="195"/>
                    <a:pt x="175" y="194"/>
                  </a:cubicBezTo>
                  <a:cubicBezTo>
                    <a:pt x="179" y="193"/>
                    <a:pt x="176" y="187"/>
                    <a:pt x="182" y="186"/>
                  </a:cubicBezTo>
                  <a:cubicBezTo>
                    <a:pt x="188" y="184"/>
                    <a:pt x="204" y="177"/>
                    <a:pt x="207" y="175"/>
                  </a:cubicBezTo>
                  <a:cubicBezTo>
                    <a:pt x="210" y="173"/>
                    <a:pt x="204" y="170"/>
                    <a:pt x="197" y="166"/>
                  </a:cubicBezTo>
                  <a:cubicBezTo>
                    <a:pt x="191" y="162"/>
                    <a:pt x="186" y="161"/>
                    <a:pt x="181" y="164"/>
                  </a:cubicBezTo>
                  <a:cubicBezTo>
                    <a:pt x="176" y="168"/>
                    <a:pt x="180" y="161"/>
                    <a:pt x="176" y="163"/>
                  </a:cubicBezTo>
                  <a:cubicBezTo>
                    <a:pt x="172" y="164"/>
                    <a:pt x="161" y="160"/>
                    <a:pt x="160" y="158"/>
                  </a:cubicBezTo>
                  <a:cubicBezTo>
                    <a:pt x="158" y="156"/>
                    <a:pt x="139" y="162"/>
                    <a:pt x="135" y="162"/>
                  </a:cubicBezTo>
                  <a:cubicBezTo>
                    <a:pt x="130" y="162"/>
                    <a:pt x="135" y="167"/>
                    <a:pt x="138" y="169"/>
                  </a:cubicBezTo>
                  <a:cubicBezTo>
                    <a:pt x="141" y="172"/>
                    <a:pt x="130" y="180"/>
                    <a:pt x="132" y="181"/>
                  </a:cubicBezTo>
                  <a:cubicBezTo>
                    <a:pt x="135" y="183"/>
                    <a:pt x="130" y="188"/>
                    <a:pt x="125" y="194"/>
                  </a:cubicBezTo>
                  <a:cubicBezTo>
                    <a:pt x="120" y="199"/>
                    <a:pt x="129" y="199"/>
                    <a:pt x="135" y="200"/>
                  </a:cubicBezTo>
                  <a:close/>
                  <a:moveTo>
                    <a:pt x="314" y="230"/>
                  </a:moveTo>
                  <a:cubicBezTo>
                    <a:pt x="316" y="227"/>
                    <a:pt x="325" y="235"/>
                    <a:pt x="325" y="229"/>
                  </a:cubicBezTo>
                  <a:cubicBezTo>
                    <a:pt x="325" y="224"/>
                    <a:pt x="315" y="221"/>
                    <a:pt x="311" y="219"/>
                  </a:cubicBezTo>
                  <a:cubicBezTo>
                    <a:pt x="306" y="216"/>
                    <a:pt x="305" y="217"/>
                    <a:pt x="298" y="212"/>
                  </a:cubicBezTo>
                  <a:cubicBezTo>
                    <a:pt x="291" y="207"/>
                    <a:pt x="300" y="205"/>
                    <a:pt x="295" y="201"/>
                  </a:cubicBezTo>
                  <a:cubicBezTo>
                    <a:pt x="290" y="197"/>
                    <a:pt x="288" y="186"/>
                    <a:pt x="291" y="183"/>
                  </a:cubicBezTo>
                  <a:cubicBezTo>
                    <a:pt x="295" y="179"/>
                    <a:pt x="299" y="174"/>
                    <a:pt x="293" y="171"/>
                  </a:cubicBezTo>
                  <a:cubicBezTo>
                    <a:pt x="286" y="169"/>
                    <a:pt x="276" y="173"/>
                    <a:pt x="277" y="175"/>
                  </a:cubicBezTo>
                  <a:cubicBezTo>
                    <a:pt x="278" y="176"/>
                    <a:pt x="287" y="181"/>
                    <a:pt x="287" y="183"/>
                  </a:cubicBezTo>
                  <a:cubicBezTo>
                    <a:pt x="287" y="185"/>
                    <a:pt x="279" y="177"/>
                    <a:pt x="276" y="179"/>
                  </a:cubicBezTo>
                  <a:cubicBezTo>
                    <a:pt x="273" y="181"/>
                    <a:pt x="270" y="175"/>
                    <a:pt x="267" y="179"/>
                  </a:cubicBezTo>
                  <a:cubicBezTo>
                    <a:pt x="265" y="183"/>
                    <a:pt x="270" y="195"/>
                    <a:pt x="273" y="199"/>
                  </a:cubicBezTo>
                  <a:cubicBezTo>
                    <a:pt x="275" y="202"/>
                    <a:pt x="270" y="202"/>
                    <a:pt x="268" y="203"/>
                  </a:cubicBezTo>
                  <a:cubicBezTo>
                    <a:pt x="265" y="204"/>
                    <a:pt x="264" y="193"/>
                    <a:pt x="262" y="189"/>
                  </a:cubicBezTo>
                  <a:cubicBezTo>
                    <a:pt x="259" y="185"/>
                    <a:pt x="247" y="180"/>
                    <a:pt x="247" y="183"/>
                  </a:cubicBezTo>
                  <a:cubicBezTo>
                    <a:pt x="246" y="186"/>
                    <a:pt x="254" y="186"/>
                    <a:pt x="253" y="190"/>
                  </a:cubicBezTo>
                  <a:cubicBezTo>
                    <a:pt x="252" y="194"/>
                    <a:pt x="247" y="188"/>
                    <a:pt x="243" y="191"/>
                  </a:cubicBezTo>
                  <a:cubicBezTo>
                    <a:pt x="239" y="194"/>
                    <a:pt x="240" y="192"/>
                    <a:pt x="241" y="189"/>
                  </a:cubicBezTo>
                  <a:cubicBezTo>
                    <a:pt x="242" y="185"/>
                    <a:pt x="235" y="182"/>
                    <a:pt x="228" y="183"/>
                  </a:cubicBezTo>
                  <a:cubicBezTo>
                    <a:pt x="221" y="183"/>
                    <a:pt x="225" y="188"/>
                    <a:pt x="223" y="190"/>
                  </a:cubicBezTo>
                  <a:cubicBezTo>
                    <a:pt x="221" y="192"/>
                    <a:pt x="210" y="189"/>
                    <a:pt x="217" y="188"/>
                  </a:cubicBezTo>
                  <a:cubicBezTo>
                    <a:pt x="223" y="186"/>
                    <a:pt x="221" y="182"/>
                    <a:pt x="218" y="178"/>
                  </a:cubicBezTo>
                  <a:cubicBezTo>
                    <a:pt x="216" y="174"/>
                    <a:pt x="209" y="179"/>
                    <a:pt x="198" y="183"/>
                  </a:cubicBezTo>
                  <a:cubicBezTo>
                    <a:pt x="187" y="187"/>
                    <a:pt x="182" y="191"/>
                    <a:pt x="183" y="191"/>
                  </a:cubicBezTo>
                  <a:cubicBezTo>
                    <a:pt x="184" y="192"/>
                    <a:pt x="185" y="194"/>
                    <a:pt x="181" y="197"/>
                  </a:cubicBezTo>
                  <a:cubicBezTo>
                    <a:pt x="176" y="201"/>
                    <a:pt x="181" y="204"/>
                    <a:pt x="184" y="204"/>
                  </a:cubicBezTo>
                  <a:cubicBezTo>
                    <a:pt x="188" y="204"/>
                    <a:pt x="185" y="207"/>
                    <a:pt x="188" y="208"/>
                  </a:cubicBezTo>
                  <a:cubicBezTo>
                    <a:pt x="190" y="209"/>
                    <a:pt x="203" y="203"/>
                    <a:pt x="207" y="205"/>
                  </a:cubicBezTo>
                  <a:cubicBezTo>
                    <a:pt x="210" y="208"/>
                    <a:pt x="186" y="209"/>
                    <a:pt x="186" y="214"/>
                  </a:cubicBezTo>
                  <a:cubicBezTo>
                    <a:pt x="186" y="218"/>
                    <a:pt x="199" y="220"/>
                    <a:pt x="209" y="219"/>
                  </a:cubicBezTo>
                  <a:cubicBezTo>
                    <a:pt x="219" y="217"/>
                    <a:pt x="237" y="220"/>
                    <a:pt x="237" y="222"/>
                  </a:cubicBezTo>
                  <a:cubicBezTo>
                    <a:pt x="237" y="225"/>
                    <a:pt x="225" y="224"/>
                    <a:pt x="216" y="224"/>
                  </a:cubicBezTo>
                  <a:cubicBezTo>
                    <a:pt x="207" y="224"/>
                    <a:pt x="192" y="226"/>
                    <a:pt x="192" y="229"/>
                  </a:cubicBezTo>
                  <a:cubicBezTo>
                    <a:pt x="193" y="232"/>
                    <a:pt x="194" y="232"/>
                    <a:pt x="203" y="237"/>
                  </a:cubicBezTo>
                  <a:cubicBezTo>
                    <a:pt x="213" y="241"/>
                    <a:pt x="222" y="235"/>
                    <a:pt x="222" y="241"/>
                  </a:cubicBezTo>
                  <a:cubicBezTo>
                    <a:pt x="222" y="247"/>
                    <a:pt x="227" y="248"/>
                    <a:pt x="239" y="249"/>
                  </a:cubicBezTo>
                  <a:cubicBezTo>
                    <a:pt x="252" y="249"/>
                    <a:pt x="258" y="243"/>
                    <a:pt x="264" y="243"/>
                  </a:cubicBezTo>
                  <a:cubicBezTo>
                    <a:pt x="270" y="244"/>
                    <a:pt x="273" y="242"/>
                    <a:pt x="275" y="238"/>
                  </a:cubicBezTo>
                  <a:cubicBezTo>
                    <a:pt x="278" y="234"/>
                    <a:pt x="281" y="236"/>
                    <a:pt x="281" y="239"/>
                  </a:cubicBezTo>
                  <a:cubicBezTo>
                    <a:pt x="282" y="241"/>
                    <a:pt x="290" y="240"/>
                    <a:pt x="292" y="242"/>
                  </a:cubicBezTo>
                  <a:cubicBezTo>
                    <a:pt x="296" y="247"/>
                    <a:pt x="311" y="245"/>
                    <a:pt x="317" y="242"/>
                  </a:cubicBezTo>
                  <a:cubicBezTo>
                    <a:pt x="323" y="240"/>
                    <a:pt x="315" y="232"/>
                    <a:pt x="312" y="235"/>
                  </a:cubicBezTo>
                  <a:cubicBezTo>
                    <a:pt x="309" y="239"/>
                    <a:pt x="306" y="237"/>
                    <a:pt x="306" y="235"/>
                  </a:cubicBezTo>
                  <a:cubicBezTo>
                    <a:pt x="305" y="233"/>
                    <a:pt x="311" y="232"/>
                    <a:pt x="314" y="230"/>
                  </a:cubicBezTo>
                  <a:close/>
                  <a:moveTo>
                    <a:pt x="178" y="142"/>
                  </a:moveTo>
                  <a:cubicBezTo>
                    <a:pt x="184" y="143"/>
                    <a:pt x="191" y="137"/>
                    <a:pt x="191" y="134"/>
                  </a:cubicBezTo>
                  <a:cubicBezTo>
                    <a:pt x="190" y="130"/>
                    <a:pt x="175" y="142"/>
                    <a:pt x="178" y="142"/>
                  </a:cubicBezTo>
                  <a:close/>
                  <a:moveTo>
                    <a:pt x="148" y="132"/>
                  </a:moveTo>
                  <a:cubicBezTo>
                    <a:pt x="151" y="133"/>
                    <a:pt x="148" y="138"/>
                    <a:pt x="151" y="137"/>
                  </a:cubicBezTo>
                  <a:cubicBezTo>
                    <a:pt x="154" y="135"/>
                    <a:pt x="155" y="135"/>
                    <a:pt x="157" y="135"/>
                  </a:cubicBezTo>
                  <a:cubicBezTo>
                    <a:pt x="161" y="137"/>
                    <a:pt x="162" y="133"/>
                    <a:pt x="163" y="132"/>
                  </a:cubicBezTo>
                  <a:cubicBezTo>
                    <a:pt x="165" y="130"/>
                    <a:pt x="165" y="138"/>
                    <a:pt x="169" y="138"/>
                  </a:cubicBezTo>
                  <a:cubicBezTo>
                    <a:pt x="173" y="138"/>
                    <a:pt x="172" y="129"/>
                    <a:pt x="176" y="132"/>
                  </a:cubicBezTo>
                  <a:cubicBezTo>
                    <a:pt x="179" y="134"/>
                    <a:pt x="181" y="131"/>
                    <a:pt x="181" y="128"/>
                  </a:cubicBezTo>
                  <a:cubicBezTo>
                    <a:pt x="182" y="126"/>
                    <a:pt x="182" y="122"/>
                    <a:pt x="186" y="121"/>
                  </a:cubicBezTo>
                  <a:cubicBezTo>
                    <a:pt x="190" y="120"/>
                    <a:pt x="187" y="125"/>
                    <a:pt x="188" y="128"/>
                  </a:cubicBezTo>
                  <a:cubicBezTo>
                    <a:pt x="191" y="133"/>
                    <a:pt x="196" y="128"/>
                    <a:pt x="196" y="126"/>
                  </a:cubicBezTo>
                  <a:cubicBezTo>
                    <a:pt x="196" y="124"/>
                    <a:pt x="203" y="125"/>
                    <a:pt x="202" y="123"/>
                  </a:cubicBezTo>
                  <a:cubicBezTo>
                    <a:pt x="202" y="120"/>
                    <a:pt x="204" y="120"/>
                    <a:pt x="202" y="117"/>
                  </a:cubicBezTo>
                  <a:cubicBezTo>
                    <a:pt x="201" y="114"/>
                    <a:pt x="205" y="115"/>
                    <a:pt x="207" y="113"/>
                  </a:cubicBezTo>
                  <a:cubicBezTo>
                    <a:pt x="209" y="110"/>
                    <a:pt x="204" y="112"/>
                    <a:pt x="201" y="109"/>
                  </a:cubicBezTo>
                  <a:cubicBezTo>
                    <a:pt x="197" y="106"/>
                    <a:pt x="196" y="110"/>
                    <a:pt x="196" y="112"/>
                  </a:cubicBezTo>
                  <a:cubicBezTo>
                    <a:pt x="196" y="114"/>
                    <a:pt x="189" y="113"/>
                    <a:pt x="185" y="111"/>
                  </a:cubicBezTo>
                  <a:cubicBezTo>
                    <a:pt x="181" y="110"/>
                    <a:pt x="176" y="116"/>
                    <a:pt x="171" y="119"/>
                  </a:cubicBezTo>
                  <a:cubicBezTo>
                    <a:pt x="165" y="122"/>
                    <a:pt x="165" y="127"/>
                    <a:pt x="159" y="126"/>
                  </a:cubicBezTo>
                  <a:cubicBezTo>
                    <a:pt x="154" y="126"/>
                    <a:pt x="146" y="131"/>
                    <a:pt x="148" y="132"/>
                  </a:cubicBezTo>
                  <a:close/>
                  <a:moveTo>
                    <a:pt x="204" y="130"/>
                  </a:moveTo>
                  <a:cubicBezTo>
                    <a:pt x="199" y="130"/>
                    <a:pt x="199" y="135"/>
                    <a:pt x="205" y="135"/>
                  </a:cubicBezTo>
                  <a:cubicBezTo>
                    <a:pt x="211" y="135"/>
                    <a:pt x="213" y="137"/>
                    <a:pt x="204" y="137"/>
                  </a:cubicBezTo>
                  <a:cubicBezTo>
                    <a:pt x="196" y="137"/>
                    <a:pt x="193" y="144"/>
                    <a:pt x="198" y="142"/>
                  </a:cubicBezTo>
                  <a:cubicBezTo>
                    <a:pt x="204" y="141"/>
                    <a:pt x="211" y="141"/>
                    <a:pt x="207" y="142"/>
                  </a:cubicBezTo>
                  <a:cubicBezTo>
                    <a:pt x="202" y="144"/>
                    <a:pt x="191" y="145"/>
                    <a:pt x="192" y="147"/>
                  </a:cubicBezTo>
                  <a:cubicBezTo>
                    <a:pt x="193" y="148"/>
                    <a:pt x="198" y="148"/>
                    <a:pt x="203" y="150"/>
                  </a:cubicBezTo>
                  <a:cubicBezTo>
                    <a:pt x="207" y="152"/>
                    <a:pt x="210" y="153"/>
                    <a:pt x="214" y="149"/>
                  </a:cubicBezTo>
                  <a:cubicBezTo>
                    <a:pt x="217" y="145"/>
                    <a:pt x="222" y="141"/>
                    <a:pt x="220" y="146"/>
                  </a:cubicBezTo>
                  <a:cubicBezTo>
                    <a:pt x="218" y="152"/>
                    <a:pt x="226" y="148"/>
                    <a:pt x="235" y="147"/>
                  </a:cubicBezTo>
                  <a:cubicBezTo>
                    <a:pt x="245" y="147"/>
                    <a:pt x="234" y="153"/>
                    <a:pt x="224" y="154"/>
                  </a:cubicBezTo>
                  <a:cubicBezTo>
                    <a:pt x="214" y="154"/>
                    <a:pt x="216" y="159"/>
                    <a:pt x="223" y="161"/>
                  </a:cubicBezTo>
                  <a:cubicBezTo>
                    <a:pt x="231" y="163"/>
                    <a:pt x="248" y="156"/>
                    <a:pt x="252" y="152"/>
                  </a:cubicBezTo>
                  <a:cubicBezTo>
                    <a:pt x="256" y="148"/>
                    <a:pt x="259" y="154"/>
                    <a:pt x="263" y="152"/>
                  </a:cubicBezTo>
                  <a:cubicBezTo>
                    <a:pt x="267" y="149"/>
                    <a:pt x="275" y="152"/>
                    <a:pt x="281" y="150"/>
                  </a:cubicBezTo>
                  <a:cubicBezTo>
                    <a:pt x="288" y="149"/>
                    <a:pt x="289" y="136"/>
                    <a:pt x="284" y="134"/>
                  </a:cubicBezTo>
                  <a:cubicBezTo>
                    <a:pt x="279" y="132"/>
                    <a:pt x="279" y="137"/>
                    <a:pt x="275" y="137"/>
                  </a:cubicBezTo>
                  <a:cubicBezTo>
                    <a:pt x="272" y="138"/>
                    <a:pt x="269" y="133"/>
                    <a:pt x="266" y="130"/>
                  </a:cubicBezTo>
                  <a:cubicBezTo>
                    <a:pt x="263" y="127"/>
                    <a:pt x="265" y="120"/>
                    <a:pt x="260" y="121"/>
                  </a:cubicBezTo>
                  <a:cubicBezTo>
                    <a:pt x="256" y="122"/>
                    <a:pt x="246" y="129"/>
                    <a:pt x="252" y="130"/>
                  </a:cubicBezTo>
                  <a:cubicBezTo>
                    <a:pt x="258" y="131"/>
                    <a:pt x="256" y="134"/>
                    <a:pt x="253" y="135"/>
                  </a:cubicBezTo>
                  <a:cubicBezTo>
                    <a:pt x="249" y="137"/>
                    <a:pt x="260" y="139"/>
                    <a:pt x="259" y="142"/>
                  </a:cubicBezTo>
                  <a:cubicBezTo>
                    <a:pt x="257" y="144"/>
                    <a:pt x="241" y="142"/>
                    <a:pt x="240" y="138"/>
                  </a:cubicBezTo>
                  <a:cubicBezTo>
                    <a:pt x="239" y="135"/>
                    <a:pt x="227" y="128"/>
                    <a:pt x="221" y="130"/>
                  </a:cubicBezTo>
                  <a:cubicBezTo>
                    <a:pt x="216" y="131"/>
                    <a:pt x="218" y="125"/>
                    <a:pt x="213" y="125"/>
                  </a:cubicBezTo>
                  <a:cubicBezTo>
                    <a:pt x="207" y="125"/>
                    <a:pt x="209" y="130"/>
                    <a:pt x="204" y="130"/>
                  </a:cubicBezTo>
                  <a:close/>
                  <a:moveTo>
                    <a:pt x="223" y="104"/>
                  </a:moveTo>
                  <a:cubicBezTo>
                    <a:pt x="224" y="100"/>
                    <a:pt x="211" y="101"/>
                    <a:pt x="212" y="102"/>
                  </a:cubicBezTo>
                  <a:cubicBezTo>
                    <a:pt x="214" y="105"/>
                    <a:pt x="221" y="109"/>
                    <a:pt x="223" y="104"/>
                  </a:cubicBezTo>
                  <a:close/>
                  <a:moveTo>
                    <a:pt x="252" y="103"/>
                  </a:moveTo>
                  <a:cubicBezTo>
                    <a:pt x="257" y="102"/>
                    <a:pt x="255" y="98"/>
                    <a:pt x="247" y="99"/>
                  </a:cubicBezTo>
                  <a:cubicBezTo>
                    <a:pt x="240" y="100"/>
                    <a:pt x="227" y="100"/>
                    <a:pt x="227" y="106"/>
                  </a:cubicBezTo>
                  <a:cubicBezTo>
                    <a:pt x="227" y="110"/>
                    <a:pt x="229" y="112"/>
                    <a:pt x="238" y="113"/>
                  </a:cubicBezTo>
                  <a:cubicBezTo>
                    <a:pt x="246" y="114"/>
                    <a:pt x="253" y="106"/>
                    <a:pt x="249" y="106"/>
                  </a:cubicBezTo>
                  <a:cubicBezTo>
                    <a:pt x="245" y="106"/>
                    <a:pt x="248" y="103"/>
                    <a:pt x="252" y="103"/>
                  </a:cubicBezTo>
                  <a:close/>
                  <a:moveTo>
                    <a:pt x="235" y="96"/>
                  </a:moveTo>
                  <a:cubicBezTo>
                    <a:pt x="238" y="97"/>
                    <a:pt x="242" y="93"/>
                    <a:pt x="244" y="95"/>
                  </a:cubicBezTo>
                  <a:cubicBezTo>
                    <a:pt x="247" y="97"/>
                    <a:pt x="258" y="99"/>
                    <a:pt x="258" y="93"/>
                  </a:cubicBezTo>
                  <a:cubicBezTo>
                    <a:pt x="258" y="87"/>
                    <a:pt x="244" y="87"/>
                    <a:pt x="240" y="89"/>
                  </a:cubicBezTo>
                  <a:cubicBezTo>
                    <a:pt x="237" y="91"/>
                    <a:pt x="221" y="92"/>
                    <a:pt x="225" y="95"/>
                  </a:cubicBezTo>
                  <a:cubicBezTo>
                    <a:pt x="228" y="97"/>
                    <a:pt x="231" y="94"/>
                    <a:pt x="235" y="96"/>
                  </a:cubicBezTo>
                  <a:close/>
                  <a:moveTo>
                    <a:pt x="294" y="85"/>
                  </a:moveTo>
                  <a:cubicBezTo>
                    <a:pt x="299" y="82"/>
                    <a:pt x="306" y="87"/>
                    <a:pt x="305" y="90"/>
                  </a:cubicBezTo>
                  <a:cubicBezTo>
                    <a:pt x="304" y="93"/>
                    <a:pt x="291" y="89"/>
                    <a:pt x="292" y="92"/>
                  </a:cubicBezTo>
                  <a:cubicBezTo>
                    <a:pt x="293" y="93"/>
                    <a:pt x="294" y="97"/>
                    <a:pt x="303" y="95"/>
                  </a:cubicBezTo>
                  <a:cubicBezTo>
                    <a:pt x="311" y="92"/>
                    <a:pt x="318" y="94"/>
                    <a:pt x="324" y="99"/>
                  </a:cubicBezTo>
                  <a:cubicBezTo>
                    <a:pt x="330" y="103"/>
                    <a:pt x="335" y="105"/>
                    <a:pt x="339" y="100"/>
                  </a:cubicBezTo>
                  <a:cubicBezTo>
                    <a:pt x="343" y="96"/>
                    <a:pt x="334" y="95"/>
                    <a:pt x="336" y="92"/>
                  </a:cubicBezTo>
                  <a:cubicBezTo>
                    <a:pt x="337" y="88"/>
                    <a:pt x="330" y="86"/>
                    <a:pt x="326" y="86"/>
                  </a:cubicBezTo>
                  <a:cubicBezTo>
                    <a:pt x="322" y="86"/>
                    <a:pt x="321" y="79"/>
                    <a:pt x="318" y="80"/>
                  </a:cubicBezTo>
                  <a:cubicBezTo>
                    <a:pt x="314" y="82"/>
                    <a:pt x="312" y="84"/>
                    <a:pt x="312" y="79"/>
                  </a:cubicBezTo>
                  <a:cubicBezTo>
                    <a:pt x="312" y="75"/>
                    <a:pt x="294" y="74"/>
                    <a:pt x="289" y="76"/>
                  </a:cubicBezTo>
                  <a:cubicBezTo>
                    <a:pt x="284" y="78"/>
                    <a:pt x="290" y="88"/>
                    <a:pt x="294" y="85"/>
                  </a:cubicBezTo>
                  <a:close/>
                  <a:moveTo>
                    <a:pt x="297" y="115"/>
                  </a:moveTo>
                  <a:cubicBezTo>
                    <a:pt x="300" y="111"/>
                    <a:pt x="285" y="100"/>
                    <a:pt x="285" y="105"/>
                  </a:cubicBezTo>
                  <a:cubicBezTo>
                    <a:pt x="284" y="110"/>
                    <a:pt x="294" y="119"/>
                    <a:pt x="297" y="115"/>
                  </a:cubicBezTo>
                  <a:close/>
                  <a:moveTo>
                    <a:pt x="343" y="68"/>
                  </a:moveTo>
                  <a:cubicBezTo>
                    <a:pt x="346" y="64"/>
                    <a:pt x="328" y="60"/>
                    <a:pt x="333" y="64"/>
                  </a:cubicBezTo>
                  <a:cubicBezTo>
                    <a:pt x="335" y="66"/>
                    <a:pt x="341" y="72"/>
                    <a:pt x="343" y="68"/>
                  </a:cubicBezTo>
                  <a:close/>
                  <a:moveTo>
                    <a:pt x="303" y="149"/>
                  </a:moveTo>
                  <a:cubicBezTo>
                    <a:pt x="305" y="146"/>
                    <a:pt x="298" y="140"/>
                    <a:pt x="295" y="145"/>
                  </a:cubicBezTo>
                  <a:cubicBezTo>
                    <a:pt x="293" y="150"/>
                    <a:pt x="300" y="152"/>
                    <a:pt x="303" y="149"/>
                  </a:cubicBezTo>
                  <a:close/>
                  <a:moveTo>
                    <a:pt x="343" y="124"/>
                  </a:moveTo>
                  <a:cubicBezTo>
                    <a:pt x="343" y="128"/>
                    <a:pt x="335" y="123"/>
                    <a:pt x="328" y="121"/>
                  </a:cubicBezTo>
                  <a:cubicBezTo>
                    <a:pt x="322" y="118"/>
                    <a:pt x="326" y="126"/>
                    <a:pt x="331" y="130"/>
                  </a:cubicBezTo>
                  <a:cubicBezTo>
                    <a:pt x="336" y="134"/>
                    <a:pt x="328" y="132"/>
                    <a:pt x="321" y="128"/>
                  </a:cubicBezTo>
                  <a:cubicBezTo>
                    <a:pt x="315" y="123"/>
                    <a:pt x="315" y="131"/>
                    <a:pt x="319" y="133"/>
                  </a:cubicBezTo>
                  <a:cubicBezTo>
                    <a:pt x="322" y="136"/>
                    <a:pt x="318" y="139"/>
                    <a:pt x="314" y="134"/>
                  </a:cubicBezTo>
                  <a:cubicBezTo>
                    <a:pt x="309" y="128"/>
                    <a:pt x="307" y="122"/>
                    <a:pt x="300" y="122"/>
                  </a:cubicBezTo>
                  <a:cubicBezTo>
                    <a:pt x="294" y="121"/>
                    <a:pt x="297" y="128"/>
                    <a:pt x="299" y="132"/>
                  </a:cubicBezTo>
                  <a:cubicBezTo>
                    <a:pt x="303" y="136"/>
                    <a:pt x="306" y="137"/>
                    <a:pt x="312" y="140"/>
                  </a:cubicBezTo>
                  <a:cubicBezTo>
                    <a:pt x="318" y="144"/>
                    <a:pt x="327" y="139"/>
                    <a:pt x="331" y="140"/>
                  </a:cubicBezTo>
                  <a:cubicBezTo>
                    <a:pt x="336" y="141"/>
                    <a:pt x="327" y="147"/>
                    <a:pt x="330" y="150"/>
                  </a:cubicBezTo>
                  <a:cubicBezTo>
                    <a:pt x="333" y="154"/>
                    <a:pt x="340" y="151"/>
                    <a:pt x="346" y="151"/>
                  </a:cubicBezTo>
                  <a:cubicBezTo>
                    <a:pt x="352" y="150"/>
                    <a:pt x="350" y="147"/>
                    <a:pt x="353" y="144"/>
                  </a:cubicBezTo>
                  <a:cubicBezTo>
                    <a:pt x="357" y="142"/>
                    <a:pt x="350" y="142"/>
                    <a:pt x="352" y="136"/>
                  </a:cubicBezTo>
                  <a:cubicBezTo>
                    <a:pt x="355" y="130"/>
                    <a:pt x="344" y="120"/>
                    <a:pt x="343" y="124"/>
                  </a:cubicBezTo>
                  <a:close/>
                  <a:moveTo>
                    <a:pt x="358" y="103"/>
                  </a:moveTo>
                  <a:cubicBezTo>
                    <a:pt x="364" y="103"/>
                    <a:pt x="368" y="102"/>
                    <a:pt x="372" y="100"/>
                  </a:cubicBezTo>
                  <a:cubicBezTo>
                    <a:pt x="377" y="99"/>
                    <a:pt x="370" y="99"/>
                    <a:pt x="373" y="94"/>
                  </a:cubicBezTo>
                  <a:cubicBezTo>
                    <a:pt x="376" y="90"/>
                    <a:pt x="365" y="90"/>
                    <a:pt x="365" y="91"/>
                  </a:cubicBezTo>
                  <a:cubicBezTo>
                    <a:pt x="364" y="93"/>
                    <a:pt x="350" y="83"/>
                    <a:pt x="348" y="86"/>
                  </a:cubicBezTo>
                  <a:cubicBezTo>
                    <a:pt x="346" y="89"/>
                    <a:pt x="353" y="103"/>
                    <a:pt x="358" y="103"/>
                  </a:cubicBezTo>
                  <a:close/>
                  <a:moveTo>
                    <a:pt x="387" y="105"/>
                  </a:moveTo>
                  <a:cubicBezTo>
                    <a:pt x="386" y="103"/>
                    <a:pt x="359" y="106"/>
                    <a:pt x="364" y="109"/>
                  </a:cubicBezTo>
                  <a:cubicBezTo>
                    <a:pt x="371" y="114"/>
                    <a:pt x="388" y="107"/>
                    <a:pt x="387" y="105"/>
                  </a:cubicBezTo>
                  <a:close/>
                  <a:moveTo>
                    <a:pt x="383" y="157"/>
                  </a:moveTo>
                  <a:cubicBezTo>
                    <a:pt x="390" y="156"/>
                    <a:pt x="386" y="149"/>
                    <a:pt x="379" y="143"/>
                  </a:cubicBezTo>
                  <a:cubicBezTo>
                    <a:pt x="372" y="138"/>
                    <a:pt x="356" y="149"/>
                    <a:pt x="359" y="151"/>
                  </a:cubicBezTo>
                  <a:cubicBezTo>
                    <a:pt x="362" y="154"/>
                    <a:pt x="377" y="157"/>
                    <a:pt x="383" y="157"/>
                  </a:cubicBezTo>
                  <a:close/>
                  <a:moveTo>
                    <a:pt x="337" y="207"/>
                  </a:moveTo>
                  <a:cubicBezTo>
                    <a:pt x="345" y="212"/>
                    <a:pt x="343" y="203"/>
                    <a:pt x="352" y="203"/>
                  </a:cubicBezTo>
                  <a:cubicBezTo>
                    <a:pt x="361" y="203"/>
                    <a:pt x="361" y="189"/>
                    <a:pt x="362" y="183"/>
                  </a:cubicBezTo>
                  <a:cubicBezTo>
                    <a:pt x="364" y="178"/>
                    <a:pt x="355" y="178"/>
                    <a:pt x="357" y="182"/>
                  </a:cubicBezTo>
                  <a:cubicBezTo>
                    <a:pt x="360" y="186"/>
                    <a:pt x="357" y="190"/>
                    <a:pt x="356" y="185"/>
                  </a:cubicBezTo>
                  <a:cubicBezTo>
                    <a:pt x="356" y="181"/>
                    <a:pt x="349" y="185"/>
                    <a:pt x="346" y="181"/>
                  </a:cubicBezTo>
                  <a:cubicBezTo>
                    <a:pt x="344" y="178"/>
                    <a:pt x="354" y="178"/>
                    <a:pt x="357" y="173"/>
                  </a:cubicBezTo>
                  <a:cubicBezTo>
                    <a:pt x="359" y="168"/>
                    <a:pt x="349" y="169"/>
                    <a:pt x="351" y="165"/>
                  </a:cubicBezTo>
                  <a:cubicBezTo>
                    <a:pt x="354" y="162"/>
                    <a:pt x="335" y="166"/>
                    <a:pt x="341" y="168"/>
                  </a:cubicBezTo>
                  <a:cubicBezTo>
                    <a:pt x="346" y="170"/>
                    <a:pt x="341" y="173"/>
                    <a:pt x="336" y="169"/>
                  </a:cubicBezTo>
                  <a:cubicBezTo>
                    <a:pt x="331" y="166"/>
                    <a:pt x="317" y="172"/>
                    <a:pt x="322" y="176"/>
                  </a:cubicBezTo>
                  <a:cubicBezTo>
                    <a:pt x="326" y="179"/>
                    <a:pt x="338" y="174"/>
                    <a:pt x="331" y="183"/>
                  </a:cubicBezTo>
                  <a:cubicBezTo>
                    <a:pt x="324" y="192"/>
                    <a:pt x="321" y="180"/>
                    <a:pt x="315" y="181"/>
                  </a:cubicBezTo>
                  <a:cubicBezTo>
                    <a:pt x="309" y="183"/>
                    <a:pt x="311" y="190"/>
                    <a:pt x="321" y="193"/>
                  </a:cubicBezTo>
                  <a:cubicBezTo>
                    <a:pt x="331" y="196"/>
                    <a:pt x="330" y="201"/>
                    <a:pt x="337" y="207"/>
                  </a:cubicBezTo>
                  <a:close/>
                  <a:moveTo>
                    <a:pt x="396" y="150"/>
                  </a:moveTo>
                  <a:cubicBezTo>
                    <a:pt x="398" y="157"/>
                    <a:pt x="401" y="152"/>
                    <a:pt x="405" y="155"/>
                  </a:cubicBezTo>
                  <a:cubicBezTo>
                    <a:pt x="409" y="158"/>
                    <a:pt x="415" y="159"/>
                    <a:pt x="418" y="156"/>
                  </a:cubicBezTo>
                  <a:cubicBezTo>
                    <a:pt x="421" y="154"/>
                    <a:pt x="423" y="152"/>
                    <a:pt x="424" y="154"/>
                  </a:cubicBezTo>
                  <a:cubicBezTo>
                    <a:pt x="426" y="158"/>
                    <a:pt x="433" y="159"/>
                    <a:pt x="451" y="159"/>
                  </a:cubicBezTo>
                  <a:cubicBezTo>
                    <a:pt x="468" y="159"/>
                    <a:pt x="463" y="152"/>
                    <a:pt x="468" y="155"/>
                  </a:cubicBezTo>
                  <a:cubicBezTo>
                    <a:pt x="473" y="158"/>
                    <a:pt x="485" y="158"/>
                    <a:pt x="490" y="156"/>
                  </a:cubicBezTo>
                  <a:cubicBezTo>
                    <a:pt x="495" y="155"/>
                    <a:pt x="497" y="148"/>
                    <a:pt x="497" y="144"/>
                  </a:cubicBezTo>
                  <a:cubicBezTo>
                    <a:pt x="497" y="140"/>
                    <a:pt x="458" y="137"/>
                    <a:pt x="452" y="140"/>
                  </a:cubicBezTo>
                  <a:cubicBezTo>
                    <a:pt x="445" y="144"/>
                    <a:pt x="434" y="139"/>
                    <a:pt x="429" y="142"/>
                  </a:cubicBezTo>
                  <a:cubicBezTo>
                    <a:pt x="423" y="144"/>
                    <a:pt x="425" y="138"/>
                    <a:pt x="416" y="138"/>
                  </a:cubicBezTo>
                  <a:cubicBezTo>
                    <a:pt x="406" y="137"/>
                    <a:pt x="416" y="132"/>
                    <a:pt x="418" y="130"/>
                  </a:cubicBezTo>
                  <a:cubicBezTo>
                    <a:pt x="420" y="128"/>
                    <a:pt x="403" y="122"/>
                    <a:pt x="397" y="124"/>
                  </a:cubicBezTo>
                  <a:cubicBezTo>
                    <a:pt x="390" y="125"/>
                    <a:pt x="386" y="122"/>
                    <a:pt x="380" y="119"/>
                  </a:cubicBezTo>
                  <a:cubicBezTo>
                    <a:pt x="373" y="116"/>
                    <a:pt x="356" y="117"/>
                    <a:pt x="359" y="122"/>
                  </a:cubicBezTo>
                  <a:cubicBezTo>
                    <a:pt x="362" y="125"/>
                    <a:pt x="382" y="133"/>
                    <a:pt x="385" y="129"/>
                  </a:cubicBezTo>
                  <a:cubicBezTo>
                    <a:pt x="387" y="125"/>
                    <a:pt x="392" y="133"/>
                    <a:pt x="395" y="137"/>
                  </a:cubicBezTo>
                  <a:cubicBezTo>
                    <a:pt x="398" y="141"/>
                    <a:pt x="393" y="143"/>
                    <a:pt x="396" y="150"/>
                  </a:cubicBezTo>
                  <a:close/>
                  <a:moveTo>
                    <a:pt x="414" y="108"/>
                  </a:moveTo>
                  <a:cubicBezTo>
                    <a:pt x="407" y="104"/>
                    <a:pt x="399" y="111"/>
                    <a:pt x="406" y="114"/>
                  </a:cubicBezTo>
                  <a:cubicBezTo>
                    <a:pt x="412" y="116"/>
                    <a:pt x="420" y="111"/>
                    <a:pt x="414" y="108"/>
                  </a:cubicBezTo>
                  <a:close/>
                  <a:moveTo>
                    <a:pt x="362" y="68"/>
                  </a:moveTo>
                  <a:cubicBezTo>
                    <a:pt x="368" y="70"/>
                    <a:pt x="365" y="74"/>
                    <a:pt x="370" y="76"/>
                  </a:cubicBezTo>
                  <a:cubicBezTo>
                    <a:pt x="376" y="79"/>
                    <a:pt x="392" y="73"/>
                    <a:pt x="394" y="77"/>
                  </a:cubicBezTo>
                  <a:cubicBezTo>
                    <a:pt x="395" y="81"/>
                    <a:pt x="377" y="81"/>
                    <a:pt x="380" y="84"/>
                  </a:cubicBezTo>
                  <a:cubicBezTo>
                    <a:pt x="382" y="86"/>
                    <a:pt x="392" y="90"/>
                    <a:pt x="391" y="92"/>
                  </a:cubicBezTo>
                  <a:cubicBezTo>
                    <a:pt x="390" y="94"/>
                    <a:pt x="408" y="100"/>
                    <a:pt x="410" y="98"/>
                  </a:cubicBezTo>
                  <a:cubicBezTo>
                    <a:pt x="412" y="95"/>
                    <a:pt x="417" y="96"/>
                    <a:pt x="421" y="97"/>
                  </a:cubicBezTo>
                  <a:cubicBezTo>
                    <a:pt x="426" y="99"/>
                    <a:pt x="426" y="86"/>
                    <a:pt x="430" y="88"/>
                  </a:cubicBezTo>
                  <a:cubicBezTo>
                    <a:pt x="433" y="91"/>
                    <a:pt x="432" y="84"/>
                    <a:pt x="438" y="82"/>
                  </a:cubicBezTo>
                  <a:cubicBezTo>
                    <a:pt x="443" y="79"/>
                    <a:pt x="451" y="79"/>
                    <a:pt x="451" y="77"/>
                  </a:cubicBezTo>
                  <a:cubicBezTo>
                    <a:pt x="452" y="75"/>
                    <a:pt x="450" y="73"/>
                    <a:pt x="443" y="73"/>
                  </a:cubicBezTo>
                  <a:cubicBezTo>
                    <a:pt x="437" y="74"/>
                    <a:pt x="433" y="72"/>
                    <a:pt x="436" y="68"/>
                  </a:cubicBezTo>
                  <a:cubicBezTo>
                    <a:pt x="438" y="64"/>
                    <a:pt x="428" y="63"/>
                    <a:pt x="432" y="61"/>
                  </a:cubicBezTo>
                  <a:cubicBezTo>
                    <a:pt x="436" y="58"/>
                    <a:pt x="425" y="55"/>
                    <a:pt x="426" y="59"/>
                  </a:cubicBezTo>
                  <a:cubicBezTo>
                    <a:pt x="427" y="63"/>
                    <a:pt x="420" y="59"/>
                    <a:pt x="419" y="56"/>
                  </a:cubicBezTo>
                  <a:cubicBezTo>
                    <a:pt x="418" y="52"/>
                    <a:pt x="403" y="50"/>
                    <a:pt x="394" y="42"/>
                  </a:cubicBezTo>
                  <a:cubicBezTo>
                    <a:pt x="384" y="33"/>
                    <a:pt x="374" y="39"/>
                    <a:pt x="380" y="40"/>
                  </a:cubicBezTo>
                  <a:cubicBezTo>
                    <a:pt x="385" y="41"/>
                    <a:pt x="385" y="44"/>
                    <a:pt x="380" y="43"/>
                  </a:cubicBezTo>
                  <a:cubicBezTo>
                    <a:pt x="376" y="43"/>
                    <a:pt x="367" y="44"/>
                    <a:pt x="375" y="47"/>
                  </a:cubicBezTo>
                  <a:cubicBezTo>
                    <a:pt x="382" y="49"/>
                    <a:pt x="374" y="51"/>
                    <a:pt x="368" y="51"/>
                  </a:cubicBezTo>
                  <a:cubicBezTo>
                    <a:pt x="362" y="51"/>
                    <a:pt x="362" y="58"/>
                    <a:pt x="370" y="59"/>
                  </a:cubicBezTo>
                  <a:cubicBezTo>
                    <a:pt x="377" y="61"/>
                    <a:pt x="372" y="65"/>
                    <a:pt x="365" y="63"/>
                  </a:cubicBezTo>
                  <a:cubicBezTo>
                    <a:pt x="359" y="62"/>
                    <a:pt x="357" y="65"/>
                    <a:pt x="362" y="68"/>
                  </a:cubicBezTo>
                  <a:close/>
                  <a:moveTo>
                    <a:pt x="406" y="32"/>
                  </a:moveTo>
                  <a:cubicBezTo>
                    <a:pt x="411" y="29"/>
                    <a:pt x="415" y="31"/>
                    <a:pt x="410" y="33"/>
                  </a:cubicBezTo>
                  <a:cubicBezTo>
                    <a:pt x="406" y="36"/>
                    <a:pt x="407" y="37"/>
                    <a:pt x="413" y="37"/>
                  </a:cubicBezTo>
                  <a:cubicBezTo>
                    <a:pt x="420" y="36"/>
                    <a:pt x="411" y="38"/>
                    <a:pt x="411" y="42"/>
                  </a:cubicBezTo>
                  <a:cubicBezTo>
                    <a:pt x="411" y="46"/>
                    <a:pt x="418" y="43"/>
                    <a:pt x="418" y="47"/>
                  </a:cubicBezTo>
                  <a:cubicBezTo>
                    <a:pt x="419" y="51"/>
                    <a:pt x="434" y="52"/>
                    <a:pt x="439" y="48"/>
                  </a:cubicBezTo>
                  <a:cubicBezTo>
                    <a:pt x="443" y="43"/>
                    <a:pt x="442" y="49"/>
                    <a:pt x="441" y="52"/>
                  </a:cubicBezTo>
                  <a:cubicBezTo>
                    <a:pt x="441" y="54"/>
                    <a:pt x="463" y="57"/>
                    <a:pt x="464" y="53"/>
                  </a:cubicBezTo>
                  <a:cubicBezTo>
                    <a:pt x="465" y="50"/>
                    <a:pt x="468" y="51"/>
                    <a:pt x="473" y="52"/>
                  </a:cubicBezTo>
                  <a:cubicBezTo>
                    <a:pt x="477" y="53"/>
                    <a:pt x="498" y="48"/>
                    <a:pt x="498" y="44"/>
                  </a:cubicBezTo>
                  <a:cubicBezTo>
                    <a:pt x="499" y="40"/>
                    <a:pt x="505" y="46"/>
                    <a:pt x="498" y="51"/>
                  </a:cubicBezTo>
                  <a:cubicBezTo>
                    <a:pt x="492" y="56"/>
                    <a:pt x="478" y="55"/>
                    <a:pt x="472" y="57"/>
                  </a:cubicBezTo>
                  <a:cubicBezTo>
                    <a:pt x="466" y="58"/>
                    <a:pt x="476" y="63"/>
                    <a:pt x="482" y="67"/>
                  </a:cubicBezTo>
                  <a:cubicBezTo>
                    <a:pt x="488" y="72"/>
                    <a:pt x="474" y="69"/>
                    <a:pt x="468" y="63"/>
                  </a:cubicBezTo>
                  <a:cubicBezTo>
                    <a:pt x="463" y="57"/>
                    <a:pt x="450" y="57"/>
                    <a:pt x="443" y="58"/>
                  </a:cubicBezTo>
                  <a:cubicBezTo>
                    <a:pt x="436" y="58"/>
                    <a:pt x="438" y="71"/>
                    <a:pt x="443" y="71"/>
                  </a:cubicBezTo>
                  <a:cubicBezTo>
                    <a:pt x="448" y="71"/>
                    <a:pt x="453" y="72"/>
                    <a:pt x="458" y="80"/>
                  </a:cubicBezTo>
                  <a:cubicBezTo>
                    <a:pt x="463" y="88"/>
                    <a:pt x="474" y="86"/>
                    <a:pt x="474" y="90"/>
                  </a:cubicBezTo>
                  <a:cubicBezTo>
                    <a:pt x="474" y="93"/>
                    <a:pt x="460" y="87"/>
                    <a:pt x="452" y="86"/>
                  </a:cubicBezTo>
                  <a:cubicBezTo>
                    <a:pt x="445" y="84"/>
                    <a:pt x="432" y="89"/>
                    <a:pt x="432" y="95"/>
                  </a:cubicBezTo>
                  <a:cubicBezTo>
                    <a:pt x="431" y="100"/>
                    <a:pt x="443" y="100"/>
                    <a:pt x="451" y="95"/>
                  </a:cubicBezTo>
                  <a:cubicBezTo>
                    <a:pt x="459" y="91"/>
                    <a:pt x="453" y="97"/>
                    <a:pt x="449" y="100"/>
                  </a:cubicBezTo>
                  <a:cubicBezTo>
                    <a:pt x="445" y="104"/>
                    <a:pt x="458" y="107"/>
                    <a:pt x="458" y="111"/>
                  </a:cubicBezTo>
                  <a:cubicBezTo>
                    <a:pt x="458" y="115"/>
                    <a:pt x="449" y="114"/>
                    <a:pt x="448" y="110"/>
                  </a:cubicBezTo>
                  <a:cubicBezTo>
                    <a:pt x="447" y="106"/>
                    <a:pt x="443" y="102"/>
                    <a:pt x="434" y="103"/>
                  </a:cubicBezTo>
                  <a:cubicBezTo>
                    <a:pt x="425" y="103"/>
                    <a:pt x="427" y="110"/>
                    <a:pt x="433" y="110"/>
                  </a:cubicBezTo>
                  <a:cubicBezTo>
                    <a:pt x="438" y="111"/>
                    <a:pt x="439" y="115"/>
                    <a:pt x="432" y="115"/>
                  </a:cubicBezTo>
                  <a:cubicBezTo>
                    <a:pt x="426" y="115"/>
                    <a:pt x="411" y="120"/>
                    <a:pt x="416" y="124"/>
                  </a:cubicBezTo>
                  <a:cubicBezTo>
                    <a:pt x="421" y="128"/>
                    <a:pt x="439" y="124"/>
                    <a:pt x="442" y="127"/>
                  </a:cubicBezTo>
                  <a:cubicBezTo>
                    <a:pt x="446" y="129"/>
                    <a:pt x="454" y="130"/>
                    <a:pt x="457" y="127"/>
                  </a:cubicBezTo>
                  <a:cubicBezTo>
                    <a:pt x="459" y="124"/>
                    <a:pt x="466" y="125"/>
                    <a:pt x="473" y="125"/>
                  </a:cubicBezTo>
                  <a:cubicBezTo>
                    <a:pt x="480" y="125"/>
                    <a:pt x="482" y="127"/>
                    <a:pt x="485" y="129"/>
                  </a:cubicBezTo>
                  <a:cubicBezTo>
                    <a:pt x="488" y="132"/>
                    <a:pt x="494" y="131"/>
                    <a:pt x="498" y="128"/>
                  </a:cubicBezTo>
                  <a:cubicBezTo>
                    <a:pt x="502" y="125"/>
                    <a:pt x="502" y="125"/>
                    <a:pt x="507" y="125"/>
                  </a:cubicBezTo>
                  <a:cubicBezTo>
                    <a:pt x="512" y="125"/>
                    <a:pt x="513" y="122"/>
                    <a:pt x="510" y="118"/>
                  </a:cubicBezTo>
                  <a:cubicBezTo>
                    <a:pt x="508" y="114"/>
                    <a:pt x="502" y="121"/>
                    <a:pt x="501" y="118"/>
                  </a:cubicBezTo>
                  <a:cubicBezTo>
                    <a:pt x="500" y="115"/>
                    <a:pt x="494" y="114"/>
                    <a:pt x="484" y="115"/>
                  </a:cubicBezTo>
                  <a:cubicBezTo>
                    <a:pt x="474" y="117"/>
                    <a:pt x="478" y="109"/>
                    <a:pt x="484" y="110"/>
                  </a:cubicBezTo>
                  <a:cubicBezTo>
                    <a:pt x="491" y="112"/>
                    <a:pt x="499" y="112"/>
                    <a:pt x="506" y="110"/>
                  </a:cubicBezTo>
                  <a:cubicBezTo>
                    <a:pt x="512" y="108"/>
                    <a:pt x="507" y="105"/>
                    <a:pt x="507" y="102"/>
                  </a:cubicBezTo>
                  <a:cubicBezTo>
                    <a:pt x="507" y="99"/>
                    <a:pt x="515" y="101"/>
                    <a:pt x="522" y="101"/>
                  </a:cubicBezTo>
                  <a:cubicBezTo>
                    <a:pt x="528" y="101"/>
                    <a:pt x="538" y="91"/>
                    <a:pt x="538" y="84"/>
                  </a:cubicBezTo>
                  <a:cubicBezTo>
                    <a:pt x="538" y="78"/>
                    <a:pt x="524" y="80"/>
                    <a:pt x="517" y="80"/>
                  </a:cubicBezTo>
                  <a:cubicBezTo>
                    <a:pt x="509" y="80"/>
                    <a:pt x="521" y="74"/>
                    <a:pt x="535" y="75"/>
                  </a:cubicBezTo>
                  <a:cubicBezTo>
                    <a:pt x="548" y="76"/>
                    <a:pt x="542" y="70"/>
                    <a:pt x="545" y="68"/>
                  </a:cubicBezTo>
                  <a:cubicBezTo>
                    <a:pt x="547" y="66"/>
                    <a:pt x="554" y="70"/>
                    <a:pt x="560" y="69"/>
                  </a:cubicBezTo>
                  <a:cubicBezTo>
                    <a:pt x="567" y="67"/>
                    <a:pt x="563" y="62"/>
                    <a:pt x="567" y="62"/>
                  </a:cubicBezTo>
                  <a:cubicBezTo>
                    <a:pt x="570" y="62"/>
                    <a:pt x="578" y="57"/>
                    <a:pt x="593" y="48"/>
                  </a:cubicBezTo>
                  <a:cubicBezTo>
                    <a:pt x="607" y="40"/>
                    <a:pt x="619" y="42"/>
                    <a:pt x="619" y="37"/>
                  </a:cubicBezTo>
                  <a:cubicBezTo>
                    <a:pt x="620" y="32"/>
                    <a:pt x="599" y="37"/>
                    <a:pt x="595" y="36"/>
                  </a:cubicBezTo>
                  <a:cubicBezTo>
                    <a:pt x="592" y="34"/>
                    <a:pt x="610" y="30"/>
                    <a:pt x="614" y="31"/>
                  </a:cubicBezTo>
                  <a:cubicBezTo>
                    <a:pt x="619" y="32"/>
                    <a:pt x="624" y="31"/>
                    <a:pt x="639" y="24"/>
                  </a:cubicBezTo>
                  <a:cubicBezTo>
                    <a:pt x="654" y="17"/>
                    <a:pt x="647" y="15"/>
                    <a:pt x="641" y="16"/>
                  </a:cubicBezTo>
                  <a:cubicBezTo>
                    <a:pt x="635" y="17"/>
                    <a:pt x="628" y="15"/>
                    <a:pt x="629" y="11"/>
                  </a:cubicBezTo>
                  <a:cubicBezTo>
                    <a:pt x="629" y="7"/>
                    <a:pt x="620" y="11"/>
                    <a:pt x="619" y="9"/>
                  </a:cubicBezTo>
                  <a:cubicBezTo>
                    <a:pt x="619" y="7"/>
                    <a:pt x="610" y="8"/>
                    <a:pt x="601" y="11"/>
                  </a:cubicBezTo>
                  <a:cubicBezTo>
                    <a:pt x="592" y="15"/>
                    <a:pt x="600" y="8"/>
                    <a:pt x="604" y="6"/>
                  </a:cubicBezTo>
                  <a:cubicBezTo>
                    <a:pt x="608" y="5"/>
                    <a:pt x="581" y="6"/>
                    <a:pt x="576" y="3"/>
                  </a:cubicBezTo>
                  <a:cubicBezTo>
                    <a:pt x="571" y="0"/>
                    <a:pt x="566" y="8"/>
                    <a:pt x="562" y="4"/>
                  </a:cubicBezTo>
                  <a:cubicBezTo>
                    <a:pt x="558" y="0"/>
                    <a:pt x="547" y="3"/>
                    <a:pt x="548" y="7"/>
                  </a:cubicBezTo>
                  <a:cubicBezTo>
                    <a:pt x="549" y="10"/>
                    <a:pt x="546" y="10"/>
                    <a:pt x="542" y="6"/>
                  </a:cubicBezTo>
                  <a:cubicBezTo>
                    <a:pt x="538" y="3"/>
                    <a:pt x="529" y="7"/>
                    <a:pt x="522" y="6"/>
                  </a:cubicBezTo>
                  <a:cubicBezTo>
                    <a:pt x="514" y="5"/>
                    <a:pt x="518" y="12"/>
                    <a:pt x="509" y="8"/>
                  </a:cubicBezTo>
                  <a:cubicBezTo>
                    <a:pt x="501" y="5"/>
                    <a:pt x="492" y="6"/>
                    <a:pt x="495" y="7"/>
                  </a:cubicBezTo>
                  <a:cubicBezTo>
                    <a:pt x="497" y="8"/>
                    <a:pt x="494" y="11"/>
                    <a:pt x="491" y="10"/>
                  </a:cubicBezTo>
                  <a:cubicBezTo>
                    <a:pt x="487" y="8"/>
                    <a:pt x="484" y="10"/>
                    <a:pt x="486" y="13"/>
                  </a:cubicBezTo>
                  <a:cubicBezTo>
                    <a:pt x="487" y="17"/>
                    <a:pt x="472" y="12"/>
                    <a:pt x="472" y="16"/>
                  </a:cubicBezTo>
                  <a:cubicBezTo>
                    <a:pt x="472" y="20"/>
                    <a:pt x="467" y="22"/>
                    <a:pt x="463" y="19"/>
                  </a:cubicBezTo>
                  <a:cubicBezTo>
                    <a:pt x="458" y="15"/>
                    <a:pt x="445" y="14"/>
                    <a:pt x="449" y="17"/>
                  </a:cubicBezTo>
                  <a:cubicBezTo>
                    <a:pt x="453" y="21"/>
                    <a:pt x="437" y="19"/>
                    <a:pt x="441" y="22"/>
                  </a:cubicBezTo>
                  <a:cubicBezTo>
                    <a:pt x="445" y="25"/>
                    <a:pt x="436" y="28"/>
                    <a:pt x="436" y="26"/>
                  </a:cubicBezTo>
                  <a:cubicBezTo>
                    <a:pt x="436" y="24"/>
                    <a:pt x="427" y="21"/>
                    <a:pt x="423" y="24"/>
                  </a:cubicBezTo>
                  <a:cubicBezTo>
                    <a:pt x="420" y="27"/>
                    <a:pt x="418" y="31"/>
                    <a:pt x="417" y="29"/>
                  </a:cubicBezTo>
                  <a:cubicBezTo>
                    <a:pt x="415" y="27"/>
                    <a:pt x="407" y="28"/>
                    <a:pt x="400" y="31"/>
                  </a:cubicBezTo>
                  <a:cubicBezTo>
                    <a:pt x="392" y="33"/>
                    <a:pt x="401" y="36"/>
                    <a:pt x="406" y="32"/>
                  </a:cubicBezTo>
                  <a:close/>
                  <a:moveTo>
                    <a:pt x="496" y="340"/>
                  </a:moveTo>
                  <a:cubicBezTo>
                    <a:pt x="498" y="340"/>
                    <a:pt x="503" y="331"/>
                    <a:pt x="497" y="331"/>
                  </a:cubicBezTo>
                  <a:cubicBezTo>
                    <a:pt x="490" y="332"/>
                    <a:pt x="492" y="341"/>
                    <a:pt x="496" y="340"/>
                  </a:cubicBezTo>
                  <a:close/>
                  <a:moveTo>
                    <a:pt x="464" y="332"/>
                  </a:moveTo>
                  <a:cubicBezTo>
                    <a:pt x="470" y="336"/>
                    <a:pt x="478" y="326"/>
                    <a:pt x="478" y="323"/>
                  </a:cubicBezTo>
                  <a:cubicBezTo>
                    <a:pt x="477" y="321"/>
                    <a:pt x="457" y="328"/>
                    <a:pt x="464" y="332"/>
                  </a:cubicBezTo>
                  <a:close/>
                  <a:moveTo>
                    <a:pt x="490" y="313"/>
                  </a:moveTo>
                  <a:cubicBezTo>
                    <a:pt x="491" y="309"/>
                    <a:pt x="478" y="308"/>
                    <a:pt x="479" y="304"/>
                  </a:cubicBezTo>
                  <a:cubicBezTo>
                    <a:pt x="479" y="300"/>
                    <a:pt x="467" y="297"/>
                    <a:pt x="463" y="295"/>
                  </a:cubicBezTo>
                  <a:cubicBezTo>
                    <a:pt x="459" y="292"/>
                    <a:pt x="453" y="291"/>
                    <a:pt x="453" y="287"/>
                  </a:cubicBezTo>
                  <a:cubicBezTo>
                    <a:pt x="453" y="283"/>
                    <a:pt x="445" y="286"/>
                    <a:pt x="444" y="292"/>
                  </a:cubicBezTo>
                  <a:cubicBezTo>
                    <a:pt x="444" y="299"/>
                    <a:pt x="440" y="297"/>
                    <a:pt x="442" y="303"/>
                  </a:cubicBezTo>
                  <a:cubicBezTo>
                    <a:pt x="444" y="310"/>
                    <a:pt x="434" y="311"/>
                    <a:pt x="435" y="314"/>
                  </a:cubicBezTo>
                  <a:cubicBezTo>
                    <a:pt x="436" y="317"/>
                    <a:pt x="441" y="314"/>
                    <a:pt x="445" y="314"/>
                  </a:cubicBezTo>
                  <a:cubicBezTo>
                    <a:pt x="450" y="314"/>
                    <a:pt x="444" y="320"/>
                    <a:pt x="450" y="320"/>
                  </a:cubicBezTo>
                  <a:cubicBezTo>
                    <a:pt x="454" y="321"/>
                    <a:pt x="461" y="316"/>
                    <a:pt x="463" y="313"/>
                  </a:cubicBezTo>
                  <a:cubicBezTo>
                    <a:pt x="465" y="310"/>
                    <a:pt x="468" y="309"/>
                    <a:pt x="473" y="312"/>
                  </a:cubicBezTo>
                  <a:cubicBezTo>
                    <a:pt x="478" y="316"/>
                    <a:pt x="489" y="316"/>
                    <a:pt x="490" y="313"/>
                  </a:cubicBezTo>
                  <a:close/>
                  <a:moveTo>
                    <a:pt x="606" y="281"/>
                  </a:moveTo>
                  <a:cubicBezTo>
                    <a:pt x="611" y="282"/>
                    <a:pt x="611" y="287"/>
                    <a:pt x="618" y="293"/>
                  </a:cubicBezTo>
                  <a:cubicBezTo>
                    <a:pt x="625" y="298"/>
                    <a:pt x="626" y="295"/>
                    <a:pt x="627" y="291"/>
                  </a:cubicBezTo>
                  <a:cubicBezTo>
                    <a:pt x="628" y="287"/>
                    <a:pt x="635" y="290"/>
                    <a:pt x="635" y="286"/>
                  </a:cubicBezTo>
                  <a:cubicBezTo>
                    <a:pt x="635" y="282"/>
                    <a:pt x="641" y="277"/>
                    <a:pt x="645" y="276"/>
                  </a:cubicBezTo>
                  <a:cubicBezTo>
                    <a:pt x="650" y="274"/>
                    <a:pt x="642" y="270"/>
                    <a:pt x="636" y="270"/>
                  </a:cubicBezTo>
                  <a:cubicBezTo>
                    <a:pt x="630" y="270"/>
                    <a:pt x="629" y="266"/>
                    <a:pt x="629" y="264"/>
                  </a:cubicBezTo>
                  <a:cubicBezTo>
                    <a:pt x="629" y="261"/>
                    <a:pt x="619" y="255"/>
                    <a:pt x="615" y="256"/>
                  </a:cubicBezTo>
                  <a:cubicBezTo>
                    <a:pt x="611" y="257"/>
                    <a:pt x="605" y="252"/>
                    <a:pt x="601" y="251"/>
                  </a:cubicBezTo>
                  <a:cubicBezTo>
                    <a:pt x="596" y="251"/>
                    <a:pt x="589" y="247"/>
                    <a:pt x="590" y="242"/>
                  </a:cubicBezTo>
                  <a:cubicBezTo>
                    <a:pt x="591" y="237"/>
                    <a:pt x="599" y="244"/>
                    <a:pt x="601" y="240"/>
                  </a:cubicBezTo>
                  <a:cubicBezTo>
                    <a:pt x="603" y="236"/>
                    <a:pt x="592" y="238"/>
                    <a:pt x="592" y="235"/>
                  </a:cubicBezTo>
                  <a:cubicBezTo>
                    <a:pt x="591" y="232"/>
                    <a:pt x="594" y="234"/>
                    <a:pt x="596" y="232"/>
                  </a:cubicBezTo>
                  <a:cubicBezTo>
                    <a:pt x="599" y="230"/>
                    <a:pt x="595" y="226"/>
                    <a:pt x="592" y="225"/>
                  </a:cubicBezTo>
                  <a:cubicBezTo>
                    <a:pt x="590" y="224"/>
                    <a:pt x="589" y="228"/>
                    <a:pt x="586" y="228"/>
                  </a:cubicBezTo>
                  <a:cubicBezTo>
                    <a:pt x="584" y="228"/>
                    <a:pt x="586" y="224"/>
                    <a:pt x="588" y="221"/>
                  </a:cubicBezTo>
                  <a:cubicBezTo>
                    <a:pt x="590" y="219"/>
                    <a:pt x="580" y="216"/>
                    <a:pt x="575" y="217"/>
                  </a:cubicBezTo>
                  <a:cubicBezTo>
                    <a:pt x="571" y="219"/>
                    <a:pt x="570" y="216"/>
                    <a:pt x="570" y="214"/>
                  </a:cubicBezTo>
                  <a:cubicBezTo>
                    <a:pt x="570" y="211"/>
                    <a:pt x="562" y="214"/>
                    <a:pt x="559" y="216"/>
                  </a:cubicBezTo>
                  <a:cubicBezTo>
                    <a:pt x="557" y="218"/>
                    <a:pt x="553" y="214"/>
                    <a:pt x="557" y="213"/>
                  </a:cubicBezTo>
                  <a:cubicBezTo>
                    <a:pt x="560" y="213"/>
                    <a:pt x="564" y="210"/>
                    <a:pt x="563" y="207"/>
                  </a:cubicBezTo>
                  <a:cubicBezTo>
                    <a:pt x="562" y="204"/>
                    <a:pt x="553" y="203"/>
                    <a:pt x="551" y="207"/>
                  </a:cubicBezTo>
                  <a:cubicBezTo>
                    <a:pt x="549" y="211"/>
                    <a:pt x="542" y="203"/>
                    <a:pt x="542" y="200"/>
                  </a:cubicBezTo>
                  <a:cubicBezTo>
                    <a:pt x="542" y="196"/>
                    <a:pt x="530" y="199"/>
                    <a:pt x="532" y="194"/>
                  </a:cubicBezTo>
                  <a:cubicBezTo>
                    <a:pt x="533" y="189"/>
                    <a:pt x="519" y="187"/>
                    <a:pt x="515" y="187"/>
                  </a:cubicBezTo>
                  <a:cubicBezTo>
                    <a:pt x="511" y="187"/>
                    <a:pt x="505" y="190"/>
                    <a:pt x="506" y="194"/>
                  </a:cubicBezTo>
                  <a:cubicBezTo>
                    <a:pt x="507" y="198"/>
                    <a:pt x="502" y="196"/>
                    <a:pt x="501" y="192"/>
                  </a:cubicBezTo>
                  <a:cubicBezTo>
                    <a:pt x="500" y="188"/>
                    <a:pt x="491" y="196"/>
                    <a:pt x="488" y="196"/>
                  </a:cubicBezTo>
                  <a:cubicBezTo>
                    <a:pt x="485" y="196"/>
                    <a:pt x="489" y="186"/>
                    <a:pt x="488" y="183"/>
                  </a:cubicBezTo>
                  <a:cubicBezTo>
                    <a:pt x="487" y="180"/>
                    <a:pt x="484" y="179"/>
                    <a:pt x="482" y="173"/>
                  </a:cubicBezTo>
                  <a:cubicBezTo>
                    <a:pt x="480" y="168"/>
                    <a:pt x="469" y="170"/>
                    <a:pt x="467" y="173"/>
                  </a:cubicBezTo>
                  <a:cubicBezTo>
                    <a:pt x="464" y="176"/>
                    <a:pt x="454" y="175"/>
                    <a:pt x="450" y="180"/>
                  </a:cubicBezTo>
                  <a:cubicBezTo>
                    <a:pt x="445" y="185"/>
                    <a:pt x="450" y="190"/>
                    <a:pt x="452" y="192"/>
                  </a:cubicBezTo>
                  <a:cubicBezTo>
                    <a:pt x="454" y="194"/>
                    <a:pt x="445" y="196"/>
                    <a:pt x="448" y="199"/>
                  </a:cubicBezTo>
                  <a:cubicBezTo>
                    <a:pt x="451" y="202"/>
                    <a:pt x="456" y="201"/>
                    <a:pt x="456" y="205"/>
                  </a:cubicBezTo>
                  <a:cubicBezTo>
                    <a:pt x="457" y="210"/>
                    <a:pt x="445" y="204"/>
                    <a:pt x="443" y="200"/>
                  </a:cubicBezTo>
                  <a:cubicBezTo>
                    <a:pt x="441" y="196"/>
                    <a:pt x="443" y="193"/>
                    <a:pt x="441" y="190"/>
                  </a:cubicBezTo>
                  <a:cubicBezTo>
                    <a:pt x="438" y="187"/>
                    <a:pt x="441" y="183"/>
                    <a:pt x="445" y="178"/>
                  </a:cubicBezTo>
                  <a:cubicBezTo>
                    <a:pt x="450" y="173"/>
                    <a:pt x="453" y="174"/>
                    <a:pt x="453" y="171"/>
                  </a:cubicBezTo>
                  <a:cubicBezTo>
                    <a:pt x="453" y="168"/>
                    <a:pt x="433" y="168"/>
                    <a:pt x="422" y="179"/>
                  </a:cubicBezTo>
                  <a:cubicBezTo>
                    <a:pt x="410" y="190"/>
                    <a:pt x="413" y="204"/>
                    <a:pt x="414" y="207"/>
                  </a:cubicBezTo>
                  <a:cubicBezTo>
                    <a:pt x="415" y="210"/>
                    <a:pt x="425" y="208"/>
                    <a:pt x="431" y="210"/>
                  </a:cubicBezTo>
                  <a:cubicBezTo>
                    <a:pt x="437" y="212"/>
                    <a:pt x="434" y="214"/>
                    <a:pt x="430" y="214"/>
                  </a:cubicBezTo>
                  <a:cubicBezTo>
                    <a:pt x="425" y="213"/>
                    <a:pt x="417" y="211"/>
                    <a:pt x="417" y="215"/>
                  </a:cubicBezTo>
                  <a:cubicBezTo>
                    <a:pt x="418" y="218"/>
                    <a:pt x="427" y="224"/>
                    <a:pt x="433" y="222"/>
                  </a:cubicBezTo>
                  <a:cubicBezTo>
                    <a:pt x="439" y="221"/>
                    <a:pt x="439" y="221"/>
                    <a:pt x="441" y="224"/>
                  </a:cubicBezTo>
                  <a:cubicBezTo>
                    <a:pt x="444" y="227"/>
                    <a:pt x="451" y="226"/>
                    <a:pt x="457" y="227"/>
                  </a:cubicBezTo>
                  <a:cubicBezTo>
                    <a:pt x="464" y="227"/>
                    <a:pt x="472" y="230"/>
                    <a:pt x="475" y="230"/>
                  </a:cubicBezTo>
                  <a:cubicBezTo>
                    <a:pt x="478" y="230"/>
                    <a:pt x="482" y="228"/>
                    <a:pt x="483" y="226"/>
                  </a:cubicBezTo>
                  <a:cubicBezTo>
                    <a:pt x="484" y="225"/>
                    <a:pt x="498" y="229"/>
                    <a:pt x="502" y="229"/>
                  </a:cubicBezTo>
                  <a:cubicBezTo>
                    <a:pt x="506" y="229"/>
                    <a:pt x="503" y="225"/>
                    <a:pt x="501" y="224"/>
                  </a:cubicBezTo>
                  <a:cubicBezTo>
                    <a:pt x="498" y="223"/>
                    <a:pt x="499" y="218"/>
                    <a:pt x="502" y="220"/>
                  </a:cubicBezTo>
                  <a:cubicBezTo>
                    <a:pt x="506" y="222"/>
                    <a:pt x="511" y="223"/>
                    <a:pt x="512" y="226"/>
                  </a:cubicBezTo>
                  <a:cubicBezTo>
                    <a:pt x="513" y="229"/>
                    <a:pt x="516" y="227"/>
                    <a:pt x="516" y="230"/>
                  </a:cubicBezTo>
                  <a:cubicBezTo>
                    <a:pt x="517" y="232"/>
                    <a:pt x="528" y="235"/>
                    <a:pt x="528" y="238"/>
                  </a:cubicBezTo>
                  <a:cubicBezTo>
                    <a:pt x="529" y="241"/>
                    <a:pt x="517" y="242"/>
                    <a:pt x="520" y="245"/>
                  </a:cubicBezTo>
                  <a:cubicBezTo>
                    <a:pt x="524" y="247"/>
                    <a:pt x="529" y="242"/>
                    <a:pt x="533" y="241"/>
                  </a:cubicBezTo>
                  <a:cubicBezTo>
                    <a:pt x="537" y="241"/>
                    <a:pt x="537" y="251"/>
                    <a:pt x="540" y="249"/>
                  </a:cubicBezTo>
                  <a:cubicBezTo>
                    <a:pt x="545" y="247"/>
                    <a:pt x="548" y="251"/>
                    <a:pt x="553" y="257"/>
                  </a:cubicBezTo>
                  <a:cubicBezTo>
                    <a:pt x="557" y="263"/>
                    <a:pt x="552" y="269"/>
                    <a:pt x="553" y="271"/>
                  </a:cubicBezTo>
                  <a:cubicBezTo>
                    <a:pt x="553" y="273"/>
                    <a:pt x="561" y="272"/>
                    <a:pt x="566" y="270"/>
                  </a:cubicBezTo>
                  <a:cubicBezTo>
                    <a:pt x="570" y="267"/>
                    <a:pt x="575" y="273"/>
                    <a:pt x="578" y="276"/>
                  </a:cubicBezTo>
                  <a:cubicBezTo>
                    <a:pt x="582" y="279"/>
                    <a:pt x="565" y="285"/>
                    <a:pt x="566" y="282"/>
                  </a:cubicBezTo>
                  <a:cubicBezTo>
                    <a:pt x="568" y="279"/>
                    <a:pt x="557" y="270"/>
                    <a:pt x="546" y="274"/>
                  </a:cubicBezTo>
                  <a:cubicBezTo>
                    <a:pt x="536" y="278"/>
                    <a:pt x="543" y="284"/>
                    <a:pt x="544" y="288"/>
                  </a:cubicBezTo>
                  <a:cubicBezTo>
                    <a:pt x="545" y="291"/>
                    <a:pt x="535" y="295"/>
                    <a:pt x="525" y="292"/>
                  </a:cubicBezTo>
                  <a:cubicBezTo>
                    <a:pt x="515" y="288"/>
                    <a:pt x="518" y="294"/>
                    <a:pt x="514" y="294"/>
                  </a:cubicBezTo>
                  <a:cubicBezTo>
                    <a:pt x="510" y="294"/>
                    <a:pt x="506" y="300"/>
                    <a:pt x="510" y="304"/>
                  </a:cubicBezTo>
                  <a:cubicBezTo>
                    <a:pt x="513" y="308"/>
                    <a:pt x="521" y="304"/>
                    <a:pt x="528" y="305"/>
                  </a:cubicBezTo>
                  <a:cubicBezTo>
                    <a:pt x="534" y="305"/>
                    <a:pt x="535" y="307"/>
                    <a:pt x="535" y="303"/>
                  </a:cubicBezTo>
                  <a:cubicBezTo>
                    <a:pt x="536" y="300"/>
                    <a:pt x="543" y="301"/>
                    <a:pt x="548" y="302"/>
                  </a:cubicBezTo>
                  <a:cubicBezTo>
                    <a:pt x="552" y="303"/>
                    <a:pt x="551" y="310"/>
                    <a:pt x="557" y="311"/>
                  </a:cubicBezTo>
                  <a:cubicBezTo>
                    <a:pt x="563" y="311"/>
                    <a:pt x="558" y="317"/>
                    <a:pt x="562" y="321"/>
                  </a:cubicBezTo>
                  <a:cubicBezTo>
                    <a:pt x="565" y="325"/>
                    <a:pt x="576" y="323"/>
                    <a:pt x="581" y="327"/>
                  </a:cubicBezTo>
                  <a:cubicBezTo>
                    <a:pt x="585" y="331"/>
                    <a:pt x="603" y="340"/>
                    <a:pt x="606" y="337"/>
                  </a:cubicBezTo>
                  <a:cubicBezTo>
                    <a:pt x="609" y="333"/>
                    <a:pt x="590" y="317"/>
                    <a:pt x="585" y="315"/>
                  </a:cubicBezTo>
                  <a:cubicBezTo>
                    <a:pt x="579" y="314"/>
                    <a:pt x="590" y="312"/>
                    <a:pt x="597" y="317"/>
                  </a:cubicBezTo>
                  <a:cubicBezTo>
                    <a:pt x="604" y="323"/>
                    <a:pt x="614" y="325"/>
                    <a:pt x="619" y="319"/>
                  </a:cubicBezTo>
                  <a:cubicBezTo>
                    <a:pt x="624" y="312"/>
                    <a:pt x="614" y="314"/>
                    <a:pt x="614" y="310"/>
                  </a:cubicBezTo>
                  <a:cubicBezTo>
                    <a:pt x="614" y="305"/>
                    <a:pt x="611" y="298"/>
                    <a:pt x="606" y="298"/>
                  </a:cubicBezTo>
                  <a:cubicBezTo>
                    <a:pt x="601" y="298"/>
                    <a:pt x="588" y="288"/>
                    <a:pt x="593" y="286"/>
                  </a:cubicBezTo>
                  <a:cubicBezTo>
                    <a:pt x="598" y="284"/>
                    <a:pt x="591" y="281"/>
                    <a:pt x="595" y="277"/>
                  </a:cubicBezTo>
                  <a:cubicBezTo>
                    <a:pt x="599" y="273"/>
                    <a:pt x="602" y="281"/>
                    <a:pt x="606" y="281"/>
                  </a:cubicBezTo>
                  <a:close/>
                  <a:moveTo>
                    <a:pt x="531" y="264"/>
                  </a:moveTo>
                  <a:cubicBezTo>
                    <a:pt x="535" y="264"/>
                    <a:pt x="535" y="257"/>
                    <a:pt x="532" y="254"/>
                  </a:cubicBezTo>
                  <a:cubicBezTo>
                    <a:pt x="530" y="251"/>
                    <a:pt x="526" y="251"/>
                    <a:pt x="522" y="251"/>
                  </a:cubicBezTo>
                  <a:cubicBezTo>
                    <a:pt x="518" y="251"/>
                    <a:pt x="511" y="257"/>
                    <a:pt x="515" y="264"/>
                  </a:cubicBezTo>
                  <a:cubicBezTo>
                    <a:pt x="518" y="270"/>
                    <a:pt x="527" y="265"/>
                    <a:pt x="531" y="264"/>
                  </a:cubicBezTo>
                  <a:close/>
                  <a:moveTo>
                    <a:pt x="487" y="171"/>
                  </a:moveTo>
                  <a:cubicBezTo>
                    <a:pt x="484" y="176"/>
                    <a:pt x="491" y="176"/>
                    <a:pt x="492" y="181"/>
                  </a:cubicBezTo>
                  <a:cubicBezTo>
                    <a:pt x="492" y="187"/>
                    <a:pt x="499" y="189"/>
                    <a:pt x="504" y="185"/>
                  </a:cubicBezTo>
                  <a:cubicBezTo>
                    <a:pt x="509" y="182"/>
                    <a:pt x="523" y="186"/>
                    <a:pt x="523" y="182"/>
                  </a:cubicBezTo>
                  <a:cubicBezTo>
                    <a:pt x="523" y="178"/>
                    <a:pt x="508" y="171"/>
                    <a:pt x="503" y="172"/>
                  </a:cubicBezTo>
                  <a:cubicBezTo>
                    <a:pt x="497" y="173"/>
                    <a:pt x="489" y="167"/>
                    <a:pt x="487" y="171"/>
                  </a:cubicBezTo>
                  <a:close/>
                  <a:moveTo>
                    <a:pt x="620" y="475"/>
                  </a:moveTo>
                  <a:cubicBezTo>
                    <a:pt x="621" y="478"/>
                    <a:pt x="642" y="486"/>
                    <a:pt x="642" y="483"/>
                  </a:cubicBezTo>
                  <a:cubicBezTo>
                    <a:pt x="643" y="479"/>
                    <a:pt x="620" y="473"/>
                    <a:pt x="620" y="475"/>
                  </a:cubicBezTo>
                  <a:close/>
                  <a:moveTo>
                    <a:pt x="711" y="496"/>
                  </a:moveTo>
                  <a:cubicBezTo>
                    <a:pt x="709" y="499"/>
                    <a:pt x="707" y="494"/>
                    <a:pt x="710" y="492"/>
                  </a:cubicBezTo>
                  <a:cubicBezTo>
                    <a:pt x="713" y="490"/>
                    <a:pt x="710" y="489"/>
                    <a:pt x="707" y="490"/>
                  </a:cubicBezTo>
                  <a:cubicBezTo>
                    <a:pt x="704" y="492"/>
                    <a:pt x="705" y="484"/>
                    <a:pt x="708" y="482"/>
                  </a:cubicBezTo>
                  <a:cubicBezTo>
                    <a:pt x="710" y="481"/>
                    <a:pt x="701" y="478"/>
                    <a:pt x="701" y="481"/>
                  </a:cubicBezTo>
                  <a:cubicBezTo>
                    <a:pt x="701" y="483"/>
                    <a:pt x="695" y="482"/>
                    <a:pt x="694" y="479"/>
                  </a:cubicBezTo>
                  <a:cubicBezTo>
                    <a:pt x="693" y="477"/>
                    <a:pt x="689" y="476"/>
                    <a:pt x="690" y="474"/>
                  </a:cubicBezTo>
                  <a:cubicBezTo>
                    <a:pt x="692" y="473"/>
                    <a:pt x="685" y="472"/>
                    <a:pt x="684" y="475"/>
                  </a:cubicBezTo>
                  <a:cubicBezTo>
                    <a:pt x="683" y="478"/>
                    <a:pt x="681" y="473"/>
                    <a:pt x="685" y="469"/>
                  </a:cubicBezTo>
                  <a:cubicBezTo>
                    <a:pt x="688" y="465"/>
                    <a:pt x="687" y="462"/>
                    <a:pt x="691" y="460"/>
                  </a:cubicBezTo>
                  <a:cubicBezTo>
                    <a:pt x="694" y="458"/>
                    <a:pt x="690" y="456"/>
                    <a:pt x="687" y="457"/>
                  </a:cubicBezTo>
                  <a:cubicBezTo>
                    <a:pt x="683" y="459"/>
                    <a:pt x="674" y="472"/>
                    <a:pt x="674" y="475"/>
                  </a:cubicBezTo>
                  <a:cubicBezTo>
                    <a:pt x="674" y="479"/>
                    <a:pt x="674" y="483"/>
                    <a:pt x="670" y="483"/>
                  </a:cubicBezTo>
                  <a:cubicBezTo>
                    <a:pt x="667" y="483"/>
                    <a:pt x="663" y="486"/>
                    <a:pt x="666" y="488"/>
                  </a:cubicBezTo>
                  <a:cubicBezTo>
                    <a:pt x="668" y="490"/>
                    <a:pt x="659" y="495"/>
                    <a:pt x="663" y="498"/>
                  </a:cubicBezTo>
                  <a:cubicBezTo>
                    <a:pt x="666" y="499"/>
                    <a:pt x="671" y="497"/>
                    <a:pt x="676" y="497"/>
                  </a:cubicBezTo>
                  <a:cubicBezTo>
                    <a:pt x="680" y="498"/>
                    <a:pt x="683" y="498"/>
                    <a:pt x="687" y="495"/>
                  </a:cubicBezTo>
                  <a:cubicBezTo>
                    <a:pt x="691" y="493"/>
                    <a:pt x="691" y="498"/>
                    <a:pt x="694" y="497"/>
                  </a:cubicBezTo>
                  <a:cubicBezTo>
                    <a:pt x="698" y="497"/>
                    <a:pt x="692" y="500"/>
                    <a:pt x="693" y="503"/>
                  </a:cubicBezTo>
                  <a:cubicBezTo>
                    <a:pt x="693" y="506"/>
                    <a:pt x="697" y="502"/>
                    <a:pt x="699" y="500"/>
                  </a:cubicBezTo>
                  <a:cubicBezTo>
                    <a:pt x="702" y="499"/>
                    <a:pt x="706" y="500"/>
                    <a:pt x="704" y="502"/>
                  </a:cubicBezTo>
                  <a:cubicBezTo>
                    <a:pt x="703" y="505"/>
                    <a:pt x="712" y="507"/>
                    <a:pt x="714" y="503"/>
                  </a:cubicBezTo>
                  <a:cubicBezTo>
                    <a:pt x="717" y="500"/>
                    <a:pt x="712" y="494"/>
                    <a:pt x="711" y="496"/>
                  </a:cubicBezTo>
                  <a:close/>
                  <a:moveTo>
                    <a:pt x="66" y="431"/>
                  </a:moveTo>
                  <a:cubicBezTo>
                    <a:pt x="60" y="434"/>
                    <a:pt x="75" y="450"/>
                    <a:pt x="78" y="448"/>
                  </a:cubicBezTo>
                  <a:cubicBezTo>
                    <a:pt x="81" y="447"/>
                    <a:pt x="75" y="440"/>
                    <a:pt x="75" y="436"/>
                  </a:cubicBezTo>
                  <a:cubicBezTo>
                    <a:pt x="75" y="432"/>
                    <a:pt x="73" y="427"/>
                    <a:pt x="66" y="431"/>
                  </a:cubicBezTo>
                  <a:close/>
                  <a:moveTo>
                    <a:pt x="654" y="512"/>
                  </a:moveTo>
                  <a:cubicBezTo>
                    <a:pt x="651" y="512"/>
                    <a:pt x="653" y="509"/>
                    <a:pt x="654" y="507"/>
                  </a:cubicBezTo>
                  <a:cubicBezTo>
                    <a:pt x="654" y="505"/>
                    <a:pt x="648" y="507"/>
                    <a:pt x="648" y="510"/>
                  </a:cubicBezTo>
                  <a:cubicBezTo>
                    <a:pt x="648" y="512"/>
                    <a:pt x="644" y="513"/>
                    <a:pt x="644" y="514"/>
                  </a:cubicBezTo>
                  <a:cubicBezTo>
                    <a:pt x="644" y="519"/>
                    <a:pt x="644" y="516"/>
                    <a:pt x="641" y="518"/>
                  </a:cubicBezTo>
                  <a:cubicBezTo>
                    <a:pt x="638" y="519"/>
                    <a:pt x="627" y="518"/>
                    <a:pt x="626" y="515"/>
                  </a:cubicBezTo>
                  <a:cubicBezTo>
                    <a:pt x="626" y="513"/>
                    <a:pt x="618" y="512"/>
                    <a:pt x="618" y="508"/>
                  </a:cubicBezTo>
                  <a:cubicBezTo>
                    <a:pt x="617" y="505"/>
                    <a:pt x="613" y="504"/>
                    <a:pt x="617" y="500"/>
                  </a:cubicBezTo>
                  <a:cubicBezTo>
                    <a:pt x="620" y="496"/>
                    <a:pt x="616" y="494"/>
                    <a:pt x="613" y="497"/>
                  </a:cubicBezTo>
                  <a:cubicBezTo>
                    <a:pt x="610" y="500"/>
                    <a:pt x="608" y="496"/>
                    <a:pt x="612" y="494"/>
                  </a:cubicBezTo>
                  <a:cubicBezTo>
                    <a:pt x="616" y="493"/>
                    <a:pt x="624" y="491"/>
                    <a:pt x="620" y="484"/>
                  </a:cubicBezTo>
                  <a:cubicBezTo>
                    <a:pt x="616" y="477"/>
                    <a:pt x="592" y="486"/>
                    <a:pt x="585" y="489"/>
                  </a:cubicBezTo>
                  <a:cubicBezTo>
                    <a:pt x="579" y="493"/>
                    <a:pt x="571" y="504"/>
                    <a:pt x="568" y="504"/>
                  </a:cubicBezTo>
                  <a:cubicBezTo>
                    <a:pt x="565" y="504"/>
                    <a:pt x="574" y="498"/>
                    <a:pt x="575" y="496"/>
                  </a:cubicBezTo>
                  <a:cubicBezTo>
                    <a:pt x="577" y="494"/>
                    <a:pt x="575" y="491"/>
                    <a:pt x="577" y="492"/>
                  </a:cubicBezTo>
                  <a:cubicBezTo>
                    <a:pt x="579" y="493"/>
                    <a:pt x="584" y="485"/>
                    <a:pt x="588" y="482"/>
                  </a:cubicBezTo>
                  <a:cubicBezTo>
                    <a:pt x="592" y="479"/>
                    <a:pt x="596" y="482"/>
                    <a:pt x="596" y="479"/>
                  </a:cubicBezTo>
                  <a:cubicBezTo>
                    <a:pt x="597" y="477"/>
                    <a:pt x="599" y="475"/>
                    <a:pt x="602" y="472"/>
                  </a:cubicBezTo>
                  <a:cubicBezTo>
                    <a:pt x="606" y="469"/>
                    <a:pt x="649" y="470"/>
                    <a:pt x="653" y="470"/>
                  </a:cubicBezTo>
                  <a:cubicBezTo>
                    <a:pt x="657" y="470"/>
                    <a:pt x="665" y="464"/>
                    <a:pt x="667" y="461"/>
                  </a:cubicBezTo>
                  <a:cubicBezTo>
                    <a:pt x="669" y="457"/>
                    <a:pt x="672" y="457"/>
                    <a:pt x="678" y="458"/>
                  </a:cubicBezTo>
                  <a:cubicBezTo>
                    <a:pt x="684" y="458"/>
                    <a:pt x="687" y="453"/>
                    <a:pt x="689" y="451"/>
                  </a:cubicBezTo>
                  <a:cubicBezTo>
                    <a:pt x="692" y="449"/>
                    <a:pt x="691" y="448"/>
                    <a:pt x="689" y="447"/>
                  </a:cubicBezTo>
                  <a:cubicBezTo>
                    <a:pt x="686" y="447"/>
                    <a:pt x="684" y="445"/>
                    <a:pt x="686" y="445"/>
                  </a:cubicBezTo>
                  <a:cubicBezTo>
                    <a:pt x="689" y="445"/>
                    <a:pt x="690" y="443"/>
                    <a:pt x="691" y="440"/>
                  </a:cubicBezTo>
                  <a:cubicBezTo>
                    <a:pt x="692" y="437"/>
                    <a:pt x="690" y="438"/>
                    <a:pt x="687" y="434"/>
                  </a:cubicBezTo>
                  <a:cubicBezTo>
                    <a:pt x="683" y="430"/>
                    <a:pt x="682" y="435"/>
                    <a:pt x="678" y="435"/>
                  </a:cubicBezTo>
                  <a:cubicBezTo>
                    <a:pt x="675" y="435"/>
                    <a:pt x="681" y="430"/>
                    <a:pt x="678" y="429"/>
                  </a:cubicBezTo>
                  <a:cubicBezTo>
                    <a:pt x="675" y="427"/>
                    <a:pt x="670" y="428"/>
                    <a:pt x="665" y="432"/>
                  </a:cubicBezTo>
                  <a:cubicBezTo>
                    <a:pt x="661" y="435"/>
                    <a:pt x="661" y="432"/>
                    <a:pt x="658" y="435"/>
                  </a:cubicBezTo>
                  <a:cubicBezTo>
                    <a:pt x="654" y="439"/>
                    <a:pt x="654" y="433"/>
                    <a:pt x="656" y="432"/>
                  </a:cubicBezTo>
                  <a:cubicBezTo>
                    <a:pt x="657" y="430"/>
                    <a:pt x="659" y="432"/>
                    <a:pt x="660" y="430"/>
                  </a:cubicBezTo>
                  <a:cubicBezTo>
                    <a:pt x="662" y="428"/>
                    <a:pt x="664" y="430"/>
                    <a:pt x="668" y="427"/>
                  </a:cubicBezTo>
                  <a:cubicBezTo>
                    <a:pt x="672" y="425"/>
                    <a:pt x="675" y="426"/>
                    <a:pt x="677" y="424"/>
                  </a:cubicBezTo>
                  <a:cubicBezTo>
                    <a:pt x="678" y="422"/>
                    <a:pt x="675" y="419"/>
                    <a:pt x="671" y="420"/>
                  </a:cubicBezTo>
                  <a:cubicBezTo>
                    <a:pt x="667" y="421"/>
                    <a:pt x="664" y="415"/>
                    <a:pt x="662" y="417"/>
                  </a:cubicBezTo>
                  <a:cubicBezTo>
                    <a:pt x="659" y="418"/>
                    <a:pt x="660" y="414"/>
                    <a:pt x="657" y="416"/>
                  </a:cubicBezTo>
                  <a:cubicBezTo>
                    <a:pt x="654" y="417"/>
                    <a:pt x="652" y="415"/>
                    <a:pt x="651" y="412"/>
                  </a:cubicBezTo>
                  <a:cubicBezTo>
                    <a:pt x="650" y="408"/>
                    <a:pt x="642" y="403"/>
                    <a:pt x="637" y="401"/>
                  </a:cubicBezTo>
                  <a:cubicBezTo>
                    <a:pt x="633" y="400"/>
                    <a:pt x="636" y="397"/>
                    <a:pt x="638" y="399"/>
                  </a:cubicBezTo>
                  <a:cubicBezTo>
                    <a:pt x="641" y="401"/>
                    <a:pt x="644" y="397"/>
                    <a:pt x="645" y="396"/>
                  </a:cubicBezTo>
                  <a:cubicBezTo>
                    <a:pt x="646" y="394"/>
                    <a:pt x="643" y="392"/>
                    <a:pt x="642" y="392"/>
                  </a:cubicBezTo>
                  <a:cubicBezTo>
                    <a:pt x="640" y="392"/>
                    <a:pt x="640" y="390"/>
                    <a:pt x="641" y="388"/>
                  </a:cubicBezTo>
                  <a:cubicBezTo>
                    <a:pt x="641" y="386"/>
                    <a:pt x="636" y="384"/>
                    <a:pt x="635" y="382"/>
                  </a:cubicBezTo>
                  <a:cubicBezTo>
                    <a:pt x="635" y="380"/>
                    <a:pt x="632" y="379"/>
                    <a:pt x="632" y="377"/>
                  </a:cubicBezTo>
                  <a:cubicBezTo>
                    <a:pt x="632" y="376"/>
                    <a:pt x="629" y="373"/>
                    <a:pt x="629" y="371"/>
                  </a:cubicBezTo>
                  <a:cubicBezTo>
                    <a:pt x="629" y="369"/>
                    <a:pt x="624" y="365"/>
                    <a:pt x="624" y="362"/>
                  </a:cubicBezTo>
                  <a:cubicBezTo>
                    <a:pt x="624" y="360"/>
                    <a:pt x="621" y="358"/>
                    <a:pt x="620" y="355"/>
                  </a:cubicBezTo>
                  <a:cubicBezTo>
                    <a:pt x="619" y="352"/>
                    <a:pt x="617" y="353"/>
                    <a:pt x="616" y="358"/>
                  </a:cubicBezTo>
                  <a:cubicBezTo>
                    <a:pt x="615" y="362"/>
                    <a:pt x="611" y="362"/>
                    <a:pt x="612" y="363"/>
                  </a:cubicBezTo>
                  <a:cubicBezTo>
                    <a:pt x="615" y="366"/>
                    <a:pt x="613" y="366"/>
                    <a:pt x="611" y="368"/>
                  </a:cubicBezTo>
                  <a:cubicBezTo>
                    <a:pt x="610" y="370"/>
                    <a:pt x="612" y="372"/>
                    <a:pt x="610" y="372"/>
                  </a:cubicBezTo>
                  <a:cubicBezTo>
                    <a:pt x="607" y="372"/>
                    <a:pt x="608" y="378"/>
                    <a:pt x="607" y="376"/>
                  </a:cubicBezTo>
                  <a:cubicBezTo>
                    <a:pt x="605" y="373"/>
                    <a:pt x="602" y="374"/>
                    <a:pt x="602" y="376"/>
                  </a:cubicBezTo>
                  <a:cubicBezTo>
                    <a:pt x="602" y="379"/>
                    <a:pt x="596" y="381"/>
                    <a:pt x="594" y="381"/>
                  </a:cubicBezTo>
                  <a:cubicBezTo>
                    <a:pt x="592" y="381"/>
                    <a:pt x="592" y="376"/>
                    <a:pt x="590" y="377"/>
                  </a:cubicBezTo>
                  <a:cubicBezTo>
                    <a:pt x="588" y="379"/>
                    <a:pt x="588" y="373"/>
                    <a:pt x="585" y="373"/>
                  </a:cubicBezTo>
                  <a:cubicBezTo>
                    <a:pt x="582" y="374"/>
                    <a:pt x="580" y="373"/>
                    <a:pt x="581" y="371"/>
                  </a:cubicBezTo>
                  <a:cubicBezTo>
                    <a:pt x="582" y="368"/>
                    <a:pt x="576" y="367"/>
                    <a:pt x="578" y="365"/>
                  </a:cubicBezTo>
                  <a:cubicBezTo>
                    <a:pt x="580" y="363"/>
                    <a:pt x="577" y="361"/>
                    <a:pt x="577" y="356"/>
                  </a:cubicBezTo>
                  <a:cubicBezTo>
                    <a:pt x="576" y="351"/>
                    <a:pt x="579" y="351"/>
                    <a:pt x="579" y="349"/>
                  </a:cubicBezTo>
                  <a:cubicBezTo>
                    <a:pt x="579" y="347"/>
                    <a:pt x="577" y="347"/>
                    <a:pt x="575" y="349"/>
                  </a:cubicBezTo>
                  <a:cubicBezTo>
                    <a:pt x="573" y="350"/>
                    <a:pt x="573" y="347"/>
                    <a:pt x="571" y="347"/>
                  </a:cubicBezTo>
                  <a:cubicBezTo>
                    <a:pt x="568" y="347"/>
                    <a:pt x="561" y="347"/>
                    <a:pt x="561" y="344"/>
                  </a:cubicBezTo>
                  <a:cubicBezTo>
                    <a:pt x="561" y="340"/>
                    <a:pt x="558" y="342"/>
                    <a:pt x="557" y="339"/>
                  </a:cubicBezTo>
                  <a:cubicBezTo>
                    <a:pt x="556" y="336"/>
                    <a:pt x="553" y="338"/>
                    <a:pt x="553" y="336"/>
                  </a:cubicBezTo>
                  <a:cubicBezTo>
                    <a:pt x="553" y="334"/>
                    <a:pt x="552" y="333"/>
                    <a:pt x="550" y="333"/>
                  </a:cubicBezTo>
                  <a:cubicBezTo>
                    <a:pt x="548" y="333"/>
                    <a:pt x="547" y="330"/>
                    <a:pt x="544" y="330"/>
                  </a:cubicBezTo>
                  <a:cubicBezTo>
                    <a:pt x="541" y="330"/>
                    <a:pt x="538" y="332"/>
                    <a:pt x="536" y="333"/>
                  </a:cubicBezTo>
                  <a:cubicBezTo>
                    <a:pt x="535" y="333"/>
                    <a:pt x="530" y="330"/>
                    <a:pt x="529" y="331"/>
                  </a:cubicBezTo>
                  <a:cubicBezTo>
                    <a:pt x="527" y="333"/>
                    <a:pt x="527" y="331"/>
                    <a:pt x="522" y="329"/>
                  </a:cubicBezTo>
                  <a:cubicBezTo>
                    <a:pt x="518" y="328"/>
                    <a:pt x="512" y="328"/>
                    <a:pt x="512" y="329"/>
                  </a:cubicBezTo>
                  <a:cubicBezTo>
                    <a:pt x="511" y="331"/>
                    <a:pt x="508" y="331"/>
                    <a:pt x="508" y="335"/>
                  </a:cubicBezTo>
                  <a:cubicBezTo>
                    <a:pt x="509" y="339"/>
                    <a:pt x="513" y="338"/>
                    <a:pt x="514" y="341"/>
                  </a:cubicBezTo>
                  <a:cubicBezTo>
                    <a:pt x="514" y="343"/>
                    <a:pt x="512" y="342"/>
                    <a:pt x="512" y="345"/>
                  </a:cubicBezTo>
                  <a:cubicBezTo>
                    <a:pt x="511" y="347"/>
                    <a:pt x="509" y="347"/>
                    <a:pt x="509" y="348"/>
                  </a:cubicBezTo>
                  <a:cubicBezTo>
                    <a:pt x="509" y="350"/>
                    <a:pt x="511" y="350"/>
                    <a:pt x="512" y="353"/>
                  </a:cubicBezTo>
                  <a:cubicBezTo>
                    <a:pt x="512" y="356"/>
                    <a:pt x="514" y="356"/>
                    <a:pt x="515" y="360"/>
                  </a:cubicBezTo>
                  <a:cubicBezTo>
                    <a:pt x="515" y="364"/>
                    <a:pt x="513" y="364"/>
                    <a:pt x="512" y="364"/>
                  </a:cubicBezTo>
                  <a:cubicBezTo>
                    <a:pt x="510" y="365"/>
                    <a:pt x="512" y="367"/>
                    <a:pt x="509" y="370"/>
                  </a:cubicBezTo>
                  <a:cubicBezTo>
                    <a:pt x="507" y="372"/>
                    <a:pt x="505" y="376"/>
                    <a:pt x="507" y="377"/>
                  </a:cubicBezTo>
                  <a:cubicBezTo>
                    <a:pt x="509" y="379"/>
                    <a:pt x="516" y="382"/>
                    <a:pt x="519" y="387"/>
                  </a:cubicBezTo>
                  <a:cubicBezTo>
                    <a:pt x="522" y="392"/>
                    <a:pt x="521" y="399"/>
                    <a:pt x="520" y="405"/>
                  </a:cubicBezTo>
                  <a:cubicBezTo>
                    <a:pt x="520" y="410"/>
                    <a:pt x="514" y="411"/>
                    <a:pt x="509" y="416"/>
                  </a:cubicBezTo>
                  <a:cubicBezTo>
                    <a:pt x="505" y="420"/>
                    <a:pt x="500" y="420"/>
                    <a:pt x="498" y="420"/>
                  </a:cubicBezTo>
                  <a:cubicBezTo>
                    <a:pt x="496" y="420"/>
                    <a:pt x="497" y="424"/>
                    <a:pt x="500" y="428"/>
                  </a:cubicBezTo>
                  <a:cubicBezTo>
                    <a:pt x="503" y="431"/>
                    <a:pt x="501" y="432"/>
                    <a:pt x="502" y="436"/>
                  </a:cubicBezTo>
                  <a:cubicBezTo>
                    <a:pt x="504" y="439"/>
                    <a:pt x="502" y="442"/>
                    <a:pt x="504" y="445"/>
                  </a:cubicBezTo>
                  <a:cubicBezTo>
                    <a:pt x="507" y="449"/>
                    <a:pt x="505" y="450"/>
                    <a:pt x="503" y="452"/>
                  </a:cubicBezTo>
                  <a:cubicBezTo>
                    <a:pt x="500" y="455"/>
                    <a:pt x="504" y="453"/>
                    <a:pt x="504" y="456"/>
                  </a:cubicBezTo>
                  <a:cubicBezTo>
                    <a:pt x="504" y="459"/>
                    <a:pt x="503" y="458"/>
                    <a:pt x="500" y="456"/>
                  </a:cubicBezTo>
                  <a:cubicBezTo>
                    <a:pt x="498" y="454"/>
                    <a:pt x="496" y="459"/>
                    <a:pt x="496" y="461"/>
                  </a:cubicBezTo>
                  <a:cubicBezTo>
                    <a:pt x="496" y="463"/>
                    <a:pt x="490" y="458"/>
                    <a:pt x="489" y="458"/>
                  </a:cubicBezTo>
                  <a:cubicBezTo>
                    <a:pt x="488" y="459"/>
                    <a:pt x="489" y="455"/>
                    <a:pt x="486" y="453"/>
                  </a:cubicBezTo>
                  <a:cubicBezTo>
                    <a:pt x="483" y="450"/>
                    <a:pt x="481" y="450"/>
                    <a:pt x="481" y="447"/>
                  </a:cubicBezTo>
                  <a:cubicBezTo>
                    <a:pt x="481" y="445"/>
                    <a:pt x="475" y="443"/>
                    <a:pt x="475" y="440"/>
                  </a:cubicBezTo>
                  <a:cubicBezTo>
                    <a:pt x="475" y="437"/>
                    <a:pt x="476" y="430"/>
                    <a:pt x="474" y="428"/>
                  </a:cubicBezTo>
                  <a:cubicBezTo>
                    <a:pt x="473" y="426"/>
                    <a:pt x="474" y="423"/>
                    <a:pt x="475" y="422"/>
                  </a:cubicBezTo>
                  <a:cubicBezTo>
                    <a:pt x="476" y="420"/>
                    <a:pt x="474" y="417"/>
                    <a:pt x="471" y="417"/>
                  </a:cubicBezTo>
                  <a:cubicBezTo>
                    <a:pt x="468" y="417"/>
                    <a:pt x="463" y="415"/>
                    <a:pt x="459" y="416"/>
                  </a:cubicBezTo>
                  <a:cubicBezTo>
                    <a:pt x="454" y="416"/>
                    <a:pt x="452" y="415"/>
                    <a:pt x="450" y="414"/>
                  </a:cubicBezTo>
                  <a:cubicBezTo>
                    <a:pt x="449" y="413"/>
                    <a:pt x="445" y="410"/>
                    <a:pt x="439" y="409"/>
                  </a:cubicBezTo>
                  <a:cubicBezTo>
                    <a:pt x="434" y="407"/>
                    <a:pt x="431" y="405"/>
                    <a:pt x="431" y="403"/>
                  </a:cubicBezTo>
                  <a:cubicBezTo>
                    <a:pt x="430" y="401"/>
                    <a:pt x="425" y="400"/>
                    <a:pt x="423" y="399"/>
                  </a:cubicBezTo>
                  <a:cubicBezTo>
                    <a:pt x="422" y="397"/>
                    <a:pt x="417" y="396"/>
                    <a:pt x="415" y="396"/>
                  </a:cubicBezTo>
                  <a:cubicBezTo>
                    <a:pt x="413" y="397"/>
                    <a:pt x="407" y="392"/>
                    <a:pt x="404" y="392"/>
                  </a:cubicBezTo>
                  <a:cubicBezTo>
                    <a:pt x="401" y="392"/>
                    <a:pt x="393" y="395"/>
                    <a:pt x="392" y="396"/>
                  </a:cubicBezTo>
                  <a:cubicBezTo>
                    <a:pt x="391" y="396"/>
                    <a:pt x="392" y="393"/>
                    <a:pt x="393" y="392"/>
                  </a:cubicBezTo>
                  <a:cubicBezTo>
                    <a:pt x="394" y="390"/>
                    <a:pt x="390" y="385"/>
                    <a:pt x="390" y="382"/>
                  </a:cubicBezTo>
                  <a:cubicBezTo>
                    <a:pt x="389" y="378"/>
                    <a:pt x="387" y="374"/>
                    <a:pt x="384" y="375"/>
                  </a:cubicBezTo>
                  <a:cubicBezTo>
                    <a:pt x="380" y="375"/>
                    <a:pt x="376" y="373"/>
                    <a:pt x="375" y="372"/>
                  </a:cubicBezTo>
                  <a:cubicBezTo>
                    <a:pt x="374" y="372"/>
                    <a:pt x="374" y="362"/>
                    <a:pt x="374" y="357"/>
                  </a:cubicBezTo>
                  <a:cubicBezTo>
                    <a:pt x="375" y="353"/>
                    <a:pt x="380" y="347"/>
                    <a:pt x="380" y="344"/>
                  </a:cubicBezTo>
                  <a:cubicBezTo>
                    <a:pt x="380" y="341"/>
                    <a:pt x="383" y="340"/>
                    <a:pt x="386" y="339"/>
                  </a:cubicBezTo>
                  <a:cubicBezTo>
                    <a:pt x="388" y="339"/>
                    <a:pt x="386" y="333"/>
                    <a:pt x="389" y="333"/>
                  </a:cubicBezTo>
                  <a:cubicBezTo>
                    <a:pt x="392" y="333"/>
                    <a:pt x="392" y="332"/>
                    <a:pt x="392" y="329"/>
                  </a:cubicBezTo>
                  <a:cubicBezTo>
                    <a:pt x="393" y="327"/>
                    <a:pt x="396" y="329"/>
                    <a:pt x="394" y="327"/>
                  </a:cubicBezTo>
                  <a:cubicBezTo>
                    <a:pt x="392" y="325"/>
                    <a:pt x="394" y="325"/>
                    <a:pt x="398" y="325"/>
                  </a:cubicBezTo>
                  <a:cubicBezTo>
                    <a:pt x="402" y="325"/>
                    <a:pt x="408" y="323"/>
                    <a:pt x="407" y="319"/>
                  </a:cubicBezTo>
                  <a:cubicBezTo>
                    <a:pt x="406" y="315"/>
                    <a:pt x="396" y="318"/>
                    <a:pt x="396" y="315"/>
                  </a:cubicBezTo>
                  <a:cubicBezTo>
                    <a:pt x="396" y="311"/>
                    <a:pt x="382" y="311"/>
                    <a:pt x="383" y="309"/>
                  </a:cubicBezTo>
                  <a:cubicBezTo>
                    <a:pt x="384" y="307"/>
                    <a:pt x="397" y="311"/>
                    <a:pt x="401" y="312"/>
                  </a:cubicBezTo>
                  <a:cubicBezTo>
                    <a:pt x="406" y="314"/>
                    <a:pt x="407" y="314"/>
                    <a:pt x="411" y="314"/>
                  </a:cubicBezTo>
                  <a:cubicBezTo>
                    <a:pt x="415" y="314"/>
                    <a:pt x="412" y="309"/>
                    <a:pt x="413" y="307"/>
                  </a:cubicBezTo>
                  <a:cubicBezTo>
                    <a:pt x="413" y="305"/>
                    <a:pt x="421" y="310"/>
                    <a:pt x="425" y="309"/>
                  </a:cubicBezTo>
                  <a:cubicBezTo>
                    <a:pt x="429" y="308"/>
                    <a:pt x="433" y="299"/>
                    <a:pt x="436" y="297"/>
                  </a:cubicBezTo>
                  <a:cubicBezTo>
                    <a:pt x="440" y="295"/>
                    <a:pt x="436" y="293"/>
                    <a:pt x="430" y="293"/>
                  </a:cubicBezTo>
                  <a:cubicBezTo>
                    <a:pt x="423" y="294"/>
                    <a:pt x="420" y="291"/>
                    <a:pt x="416" y="288"/>
                  </a:cubicBezTo>
                  <a:cubicBezTo>
                    <a:pt x="412" y="286"/>
                    <a:pt x="413" y="284"/>
                    <a:pt x="417" y="284"/>
                  </a:cubicBezTo>
                  <a:cubicBezTo>
                    <a:pt x="420" y="284"/>
                    <a:pt x="429" y="292"/>
                    <a:pt x="433" y="292"/>
                  </a:cubicBezTo>
                  <a:cubicBezTo>
                    <a:pt x="436" y="292"/>
                    <a:pt x="442" y="285"/>
                    <a:pt x="445" y="283"/>
                  </a:cubicBezTo>
                  <a:cubicBezTo>
                    <a:pt x="448" y="281"/>
                    <a:pt x="442" y="280"/>
                    <a:pt x="440" y="278"/>
                  </a:cubicBezTo>
                  <a:cubicBezTo>
                    <a:pt x="438" y="277"/>
                    <a:pt x="443" y="276"/>
                    <a:pt x="446" y="276"/>
                  </a:cubicBezTo>
                  <a:cubicBezTo>
                    <a:pt x="449" y="276"/>
                    <a:pt x="450" y="278"/>
                    <a:pt x="451" y="280"/>
                  </a:cubicBezTo>
                  <a:cubicBezTo>
                    <a:pt x="453" y="281"/>
                    <a:pt x="458" y="279"/>
                    <a:pt x="460" y="279"/>
                  </a:cubicBezTo>
                  <a:cubicBezTo>
                    <a:pt x="463" y="279"/>
                    <a:pt x="460" y="275"/>
                    <a:pt x="456" y="273"/>
                  </a:cubicBezTo>
                  <a:cubicBezTo>
                    <a:pt x="451" y="271"/>
                    <a:pt x="456" y="268"/>
                    <a:pt x="457" y="271"/>
                  </a:cubicBezTo>
                  <a:cubicBezTo>
                    <a:pt x="458" y="273"/>
                    <a:pt x="461" y="273"/>
                    <a:pt x="463" y="276"/>
                  </a:cubicBezTo>
                  <a:cubicBezTo>
                    <a:pt x="465" y="280"/>
                    <a:pt x="466" y="277"/>
                    <a:pt x="469" y="276"/>
                  </a:cubicBezTo>
                  <a:cubicBezTo>
                    <a:pt x="473" y="275"/>
                    <a:pt x="475" y="272"/>
                    <a:pt x="477" y="270"/>
                  </a:cubicBezTo>
                  <a:cubicBezTo>
                    <a:pt x="479" y="268"/>
                    <a:pt x="479" y="271"/>
                    <a:pt x="481" y="267"/>
                  </a:cubicBezTo>
                  <a:cubicBezTo>
                    <a:pt x="484" y="264"/>
                    <a:pt x="480" y="261"/>
                    <a:pt x="478" y="259"/>
                  </a:cubicBezTo>
                  <a:cubicBezTo>
                    <a:pt x="475" y="256"/>
                    <a:pt x="478" y="254"/>
                    <a:pt x="475" y="253"/>
                  </a:cubicBezTo>
                  <a:cubicBezTo>
                    <a:pt x="472" y="251"/>
                    <a:pt x="471" y="249"/>
                    <a:pt x="475" y="249"/>
                  </a:cubicBezTo>
                  <a:cubicBezTo>
                    <a:pt x="479" y="250"/>
                    <a:pt x="481" y="249"/>
                    <a:pt x="483" y="247"/>
                  </a:cubicBezTo>
                  <a:cubicBezTo>
                    <a:pt x="485" y="244"/>
                    <a:pt x="478" y="244"/>
                    <a:pt x="481" y="242"/>
                  </a:cubicBezTo>
                  <a:cubicBezTo>
                    <a:pt x="484" y="240"/>
                    <a:pt x="481" y="238"/>
                    <a:pt x="478" y="238"/>
                  </a:cubicBezTo>
                  <a:cubicBezTo>
                    <a:pt x="475" y="238"/>
                    <a:pt x="472" y="237"/>
                    <a:pt x="472" y="234"/>
                  </a:cubicBezTo>
                  <a:cubicBezTo>
                    <a:pt x="472" y="231"/>
                    <a:pt x="466" y="233"/>
                    <a:pt x="463" y="231"/>
                  </a:cubicBezTo>
                  <a:cubicBezTo>
                    <a:pt x="460" y="230"/>
                    <a:pt x="452" y="230"/>
                    <a:pt x="450" y="230"/>
                  </a:cubicBezTo>
                  <a:cubicBezTo>
                    <a:pt x="449" y="231"/>
                    <a:pt x="448" y="238"/>
                    <a:pt x="451" y="238"/>
                  </a:cubicBezTo>
                  <a:cubicBezTo>
                    <a:pt x="454" y="238"/>
                    <a:pt x="456" y="241"/>
                    <a:pt x="454" y="242"/>
                  </a:cubicBezTo>
                  <a:cubicBezTo>
                    <a:pt x="451" y="243"/>
                    <a:pt x="454" y="246"/>
                    <a:pt x="452" y="245"/>
                  </a:cubicBezTo>
                  <a:cubicBezTo>
                    <a:pt x="450" y="245"/>
                    <a:pt x="448" y="244"/>
                    <a:pt x="447" y="249"/>
                  </a:cubicBezTo>
                  <a:cubicBezTo>
                    <a:pt x="446" y="254"/>
                    <a:pt x="446" y="255"/>
                    <a:pt x="443" y="257"/>
                  </a:cubicBezTo>
                  <a:cubicBezTo>
                    <a:pt x="440" y="259"/>
                    <a:pt x="442" y="252"/>
                    <a:pt x="440" y="252"/>
                  </a:cubicBezTo>
                  <a:cubicBezTo>
                    <a:pt x="437" y="252"/>
                    <a:pt x="436" y="258"/>
                    <a:pt x="438" y="258"/>
                  </a:cubicBezTo>
                  <a:cubicBezTo>
                    <a:pt x="441" y="259"/>
                    <a:pt x="441" y="261"/>
                    <a:pt x="441" y="263"/>
                  </a:cubicBezTo>
                  <a:cubicBezTo>
                    <a:pt x="442" y="266"/>
                    <a:pt x="438" y="264"/>
                    <a:pt x="436" y="267"/>
                  </a:cubicBezTo>
                  <a:cubicBezTo>
                    <a:pt x="434" y="270"/>
                    <a:pt x="434" y="266"/>
                    <a:pt x="431" y="264"/>
                  </a:cubicBezTo>
                  <a:cubicBezTo>
                    <a:pt x="429" y="262"/>
                    <a:pt x="426" y="258"/>
                    <a:pt x="426" y="255"/>
                  </a:cubicBezTo>
                  <a:cubicBezTo>
                    <a:pt x="426" y="253"/>
                    <a:pt x="427" y="252"/>
                    <a:pt x="429" y="252"/>
                  </a:cubicBezTo>
                  <a:cubicBezTo>
                    <a:pt x="431" y="251"/>
                    <a:pt x="429" y="250"/>
                    <a:pt x="429" y="246"/>
                  </a:cubicBezTo>
                  <a:cubicBezTo>
                    <a:pt x="429" y="243"/>
                    <a:pt x="427" y="244"/>
                    <a:pt x="424" y="241"/>
                  </a:cubicBezTo>
                  <a:cubicBezTo>
                    <a:pt x="421" y="237"/>
                    <a:pt x="418" y="237"/>
                    <a:pt x="416" y="239"/>
                  </a:cubicBezTo>
                  <a:cubicBezTo>
                    <a:pt x="415" y="241"/>
                    <a:pt x="416" y="244"/>
                    <a:pt x="413" y="245"/>
                  </a:cubicBezTo>
                  <a:cubicBezTo>
                    <a:pt x="411" y="246"/>
                    <a:pt x="412" y="251"/>
                    <a:pt x="410" y="251"/>
                  </a:cubicBezTo>
                  <a:cubicBezTo>
                    <a:pt x="408" y="252"/>
                    <a:pt x="409" y="242"/>
                    <a:pt x="407" y="242"/>
                  </a:cubicBezTo>
                  <a:cubicBezTo>
                    <a:pt x="405" y="241"/>
                    <a:pt x="405" y="239"/>
                    <a:pt x="408" y="238"/>
                  </a:cubicBezTo>
                  <a:cubicBezTo>
                    <a:pt x="411" y="238"/>
                    <a:pt x="412" y="235"/>
                    <a:pt x="410" y="235"/>
                  </a:cubicBezTo>
                  <a:cubicBezTo>
                    <a:pt x="408" y="235"/>
                    <a:pt x="404" y="232"/>
                    <a:pt x="402" y="232"/>
                  </a:cubicBezTo>
                  <a:cubicBezTo>
                    <a:pt x="400" y="231"/>
                    <a:pt x="398" y="235"/>
                    <a:pt x="396" y="233"/>
                  </a:cubicBezTo>
                  <a:cubicBezTo>
                    <a:pt x="394" y="232"/>
                    <a:pt x="396" y="228"/>
                    <a:pt x="396" y="226"/>
                  </a:cubicBezTo>
                  <a:cubicBezTo>
                    <a:pt x="397" y="224"/>
                    <a:pt x="399" y="227"/>
                    <a:pt x="401" y="225"/>
                  </a:cubicBezTo>
                  <a:cubicBezTo>
                    <a:pt x="403" y="222"/>
                    <a:pt x="396" y="222"/>
                    <a:pt x="396" y="220"/>
                  </a:cubicBezTo>
                  <a:cubicBezTo>
                    <a:pt x="396" y="217"/>
                    <a:pt x="391" y="216"/>
                    <a:pt x="389" y="215"/>
                  </a:cubicBezTo>
                  <a:cubicBezTo>
                    <a:pt x="387" y="214"/>
                    <a:pt x="390" y="210"/>
                    <a:pt x="389" y="208"/>
                  </a:cubicBezTo>
                  <a:cubicBezTo>
                    <a:pt x="388" y="206"/>
                    <a:pt x="382" y="201"/>
                    <a:pt x="379" y="201"/>
                  </a:cubicBezTo>
                  <a:cubicBezTo>
                    <a:pt x="376" y="202"/>
                    <a:pt x="375" y="197"/>
                    <a:pt x="377" y="198"/>
                  </a:cubicBezTo>
                  <a:cubicBezTo>
                    <a:pt x="379" y="198"/>
                    <a:pt x="380" y="197"/>
                    <a:pt x="383" y="193"/>
                  </a:cubicBezTo>
                  <a:cubicBezTo>
                    <a:pt x="386" y="190"/>
                    <a:pt x="386" y="189"/>
                    <a:pt x="384" y="188"/>
                  </a:cubicBezTo>
                  <a:cubicBezTo>
                    <a:pt x="382" y="187"/>
                    <a:pt x="381" y="185"/>
                    <a:pt x="385" y="185"/>
                  </a:cubicBezTo>
                  <a:cubicBezTo>
                    <a:pt x="388" y="186"/>
                    <a:pt x="395" y="188"/>
                    <a:pt x="397" y="186"/>
                  </a:cubicBezTo>
                  <a:cubicBezTo>
                    <a:pt x="399" y="185"/>
                    <a:pt x="406" y="174"/>
                    <a:pt x="409" y="171"/>
                  </a:cubicBezTo>
                  <a:cubicBezTo>
                    <a:pt x="411" y="167"/>
                    <a:pt x="407" y="166"/>
                    <a:pt x="400" y="167"/>
                  </a:cubicBezTo>
                  <a:cubicBezTo>
                    <a:pt x="394" y="168"/>
                    <a:pt x="392" y="165"/>
                    <a:pt x="387" y="164"/>
                  </a:cubicBezTo>
                  <a:cubicBezTo>
                    <a:pt x="382" y="164"/>
                    <a:pt x="372" y="165"/>
                    <a:pt x="370" y="167"/>
                  </a:cubicBezTo>
                  <a:cubicBezTo>
                    <a:pt x="369" y="168"/>
                    <a:pt x="373" y="170"/>
                    <a:pt x="372" y="172"/>
                  </a:cubicBezTo>
                  <a:cubicBezTo>
                    <a:pt x="372" y="173"/>
                    <a:pt x="369" y="170"/>
                    <a:pt x="367" y="171"/>
                  </a:cubicBezTo>
                  <a:cubicBezTo>
                    <a:pt x="366" y="172"/>
                    <a:pt x="368" y="174"/>
                    <a:pt x="367" y="180"/>
                  </a:cubicBezTo>
                  <a:cubicBezTo>
                    <a:pt x="367" y="187"/>
                    <a:pt x="369" y="187"/>
                    <a:pt x="370" y="189"/>
                  </a:cubicBezTo>
                  <a:cubicBezTo>
                    <a:pt x="372" y="192"/>
                    <a:pt x="372" y="195"/>
                    <a:pt x="372" y="199"/>
                  </a:cubicBezTo>
                  <a:cubicBezTo>
                    <a:pt x="372" y="203"/>
                    <a:pt x="368" y="202"/>
                    <a:pt x="367" y="203"/>
                  </a:cubicBezTo>
                  <a:cubicBezTo>
                    <a:pt x="366" y="204"/>
                    <a:pt x="370" y="206"/>
                    <a:pt x="369" y="208"/>
                  </a:cubicBezTo>
                  <a:cubicBezTo>
                    <a:pt x="369" y="211"/>
                    <a:pt x="365" y="207"/>
                    <a:pt x="363" y="207"/>
                  </a:cubicBezTo>
                  <a:cubicBezTo>
                    <a:pt x="361" y="208"/>
                    <a:pt x="359" y="214"/>
                    <a:pt x="361" y="216"/>
                  </a:cubicBezTo>
                  <a:cubicBezTo>
                    <a:pt x="363" y="218"/>
                    <a:pt x="364" y="218"/>
                    <a:pt x="362" y="220"/>
                  </a:cubicBezTo>
                  <a:cubicBezTo>
                    <a:pt x="361" y="222"/>
                    <a:pt x="359" y="226"/>
                    <a:pt x="363" y="229"/>
                  </a:cubicBezTo>
                  <a:cubicBezTo>
                    <a:pt x="367" y="232"/>
                    <a:pt x="375" y="232"/>
                    <a:pt x="379" y="235"/>
                  </a:cubicBezTo>
                  <a:cubicBezTo>
                    <a:pt x="383" y="237"/>
                    <a:pt x="377" y="236"/>
                    <a:pt x="379" y="239"/>
                  </a:cubicBezTo>
                  <a:cubicBezTo>
                    <a:pt x="381" y="242"/>
                    <a:pt x="376" y="243"/>
                    <a:pt x="377" y="245"/>
                  </a:cubicBezTo>
                  <a:cubicBezTo>
                    <a:pt x="377" y="248"/>
                    <a:pt x="378" y="246"/>
                    <a:pt x="380" y="242"/>
                  </a:cubicBezTo>
                  <a:cubicBezTo>
                    <a:pt x="383" y="239"/>
                    <a:pt x="384" y="244"/>
                    <a:pt x="384" y="247"/>
                  </a:cubicBezTo>
                  <a:cubicBezTo>
                    <a:pt x="384" y="250"/>
                    <a:pt x="381" y="248"/>
                    <a:pt x="379" y="252"/>
                  </a:cubicBezTo>
                  <a:cubicBezTo>
                    <a:pt x="376" y="255"/>
                    <a:pt x="374" y="256"/>
                    <a:pt x="371" y="255"/>
                  </a:cubicBezTo>
                  <a:cubicBezTo>
                    <a:pt x="367" y="254"/>
                    <a:pt x="369" y="260"/>
                    <a:pt x="371" y="263"/>
                  </a:cubicBezTo>
                  <a:cubicBezTo>
                    <a:pt x="372" y="266"/>
                    <a:pt x="370" y="267"/>
                    <a:pt x="366" y="266"/>
                  </a:cubicBezTo>
                  <a:cubicBezTo>
                    <a:pt x="362" y="265"/>
                    <a:pt x="360" y="262"/>
                    <a:pt x="362" y="259"/>
                  </a:cubicBezTo>
                  <a:cubicBezTo>
                    <a:pt x="364" y="256"/>
                    <a:pt x="366" y="253"/>
                    <a:pt x="363" y="253"/>
                  </a:cubicBezTo>
                  <a:cubicBezTo>
                    <a:pt x="361" y="253"/>
                    <a:pt x="356" y="253"/>
                    <a:pt x="354" y="250"/>
                  </a:cubicBezTo>
                  <a:cubicBezTo>
                    <a:pt x="352" y="248"/>
                    <a:pt x="355" y="249"/>
                    <a:pt x="360" y="249"/>
                  </a:cubicBezTo>
                  <a:cubicBezTo>
                    <a:pt x="365" y="250"/>
                    <a:pt x="361" y="246"/>
                    <a:pt x="364" y="246"/>
                  </a:cubicBezTo>
                  <a:cubicBezTo>
                    <a:pt x="368" y="246"/>
                    <a:pt x="370" y="248"/>
                    <a:pt x="373" y="245"/>
                  </a:cubicBezTo>
                  <a:cubicBezTo>
                    <a:pt x="376" y="243"/>
                    <a:pt x="371" y="238"/>
                    <a:pt x="369" y="239"/>
                  </a:cubicBezTo>
                  <a:cubicBezTo>
                    <a:pt x="366" y="239"/>
                    <a:pt x="362" y="241"/>
                    <a:pt x="362" y="238"/>
                  </a:cubicBezTo>
                  <a:cubicBezTo>
                    <a:pt x="362" y="236"/>
                    <a:pt x="367" y="237"/>
                    <a:pt x="369" y="237"/>
                  </a:cubicBezTo>
                  <a:cubicBezTo>
                    <a:pt x="371" y="236"/>
                    <a:pt x="368" y="233"/>
                    <a:pt x="364" y="234"/>
                  </a:cubicBezTo>
                  <a:cubicBezTo>
                    <a:pt x="361" y="235"/>
                    <a:pt x="358" y="235"/>
                    <a:pt x="355" y="232"/>
                  </a:cubicBezTo>
                  <a:cubicBezTo>
                    <a:pt x="352" y="229"/>
                    <a:pt x="347" y="227"/>
                    <a:pt x="346" y="234"/>
                  </a:cubicBezTo>
                  <a:cubicBezTo>
                    <a:pt x="345" y="241"/>
                    <a:pt x="340" y="237"/>
                    <a:pt x="338" y="240"/>
                  </a:cubicBezTo>
                  <a:cubicBezTo>
                    <a:pt x="336" y="242"/>
                    <a:pt x="340" y="244"/>
                    <a:pt x="345" y="244"/>
                  </a:cubicBezTo>
                  <a:cubicBezTo>
                    <a:pt x="350" y="244"/>
                    <a:pt x="353" y="248"/>
                    <a:pt x="351" y="248"/>
                  </a:cubicBezTo>
                  <a:cubicBezTo>
                    <a:pt x="349" y="248"/>
                    <a:pt x="350" y="252"/>
                    <a:pt x="347" y="250"/>
                  </a:cubicBezTo>
                  <a:cubicBezTo>
                    <a:pt x="345" y="249"/>
                    <a:pt x="342" y="250"/>
                    <a:pt x="344" y="253"/>
                  </a:cubicBezTo>
                  <a:cubicBezTo>
                    <a:pt x="346" y="255"/>
                    <a:pt x="343" y="256"/>
                    <a:pt x="344" y="258"/>
                  </a:cubicBezTo>
                  <a:cubicBezTo>
                    <a:pt x="344" y="260"/>
                    <a:pt x="340" y="258"/>
                    <a:pt x="336" y="258"/>
                  </a:cubicBezTo>
                  <a:cubicBezTo>
                    <a:pt x="332" y="257"/>
                    <a:pt x="325" y="259"/>
                    <a:pt x="320" y="260"/>
                  </a:cubicBezTo>
                  <a:cubicBezTo>
                    <a:pt x="315" y="261"/>
                    <a:pt x="310" y="259"/>
                    <a:pt x="308" y="257"/>
                  </a:cubicBezTo>
                  <a:cubicBezTo>
                    <a:pt x="306" y="254"/>
                    <a:pt x="303" y="255"/>
                    <a:pt x="299" y="255"/>
                  </a:cubicBezTo>
                  <a:cubicBezTo>
                    <a:pt x="296" y="255"/>
                    <a:pt x="297" y="251"/>
                    <a:pt x="292" y="251"/>
                  </a:cubicBezTo>
                  <a:cubicBezTo>
                    <a:pt x="287" y="251"/>
                    <a:pt x="288" y="247"/>
                    <a:pt x="288" y="245"/>
                  </a:cubicBezTo>
                  <a:cubicBezTo>
                    <a:pt x="287" y="242"/>
                    <a:pt x="278" y="243"/>
                    <a:pt x="275" y="245"/>
                  </a:cubicBezTo>
                  <a:cubicBezTo>
                    <a:pt x="271" y="247"/>
                    <a:pt x="265" y="246"/>
                    <a:pt x="263" y="250"/>
                  </a:cubicBezTo>
                  <a:cubicBezTo>
                    <a:pt x="261" y="254"/>
                    <a:pt x="265" y="254"/>
                    <a:pt x="267" y="254"/>
                  </a:cubicBezTo>
                  <a:cubicBezTo>
                    <a:pt x="269" y="254"/>
                    <a:pt x="269" y="250"/>
                    <a:pt x="274" y="251"/>
                  </a:cubicBezTo>
                  <a:cubicBezTo>
                    <a:pt x="279" y="252"/>
                    <a:pt x="283" y="246"/>
                    <a:pt x="285" y="248"/>
                  </a:cubicBezTo>
                  <a:cubicBezTo>
                    <a:pt x="287" y="250"/>
                    <a:pt x="276" y="254"/>
                    <a:pt x="272" y="255"/>
                  </a:cubicBezTo>
                  <a:cubicBezTo>
                    <a:pt x="267" y="256"/>
                    <a:pt x="268" y="260"/>
                    <a:pt x="272" y="266"/>
                  </a:cubicBezTo>
                  <a:cubicBezTo>
                    <a:pt x="277" y="273"/>
                    <a:pt x="270" y="269"/>
                    <a:pt x="270" y="272"/>
                  </a:cubicBezTo>
                  <a:cubicBezTo>
                    <a:pt x="270" y="275"/>
                    <a:pt x="262" y="271"/>
                    <a:pt x="265" y="270"/>
                  </a:cubicBezTo>
                  <a:cubicBezTo>
                    <a:pt x="269" y="269"/>
                    <a:pt x="267" y="266"/>
                    <a:pt x="265" y="264"/>
                  </a:cubicBezTo>
                  <a:cubicBezTo>
                    <a:pt x="262" y="261"/>
                    <a:pt x="260" y="264"/>
                    <a:pt x="260" y="261"/>
                  </a:cubicBezTo>
                  <a:cubicBezTo>
                    <a:pt x="261" y="259"/>
                    <a:pt x="258" y="261"/>
                    <a:pt x="255" y="259"/>
                  </a:cubicBezTo>
                  <a:cubicBezTo>
                    <a:pt x="253" y="257"/>
                    <a:pt x="251" y="256"/>
                    <a:pt x="248" y="258"/>
                  </a:cubicBezTo>
                  <a:cubicBezTo>
                    <a:pt x="245" y="259"/>
                    <a:pt x="241" y="259"/>
                    <a:pt x="233" y="260"/>
                  </a:cubicBezTo>
                  <a:cubicBezTo>
                    <a:pt x="226" y="261"/>
                    <a:pt x="212" y="261"/>
                    <a:pt x="209" y="259"/>
                  </a:cubicBezTo>
                  <a:cubicBezTo>
                    <a:pt x="207" y="256"/>
                    <a:pt x="216" y="252"/>
                    <a:pt x="219" y="252"/>
                  </a:cubicBezTo>
                  <a:cubicBezTo>
                    <a:pt x="221" y="253"/>
                    <a:pt x="220" y="249"/>
                    <a:pt x="216" y="246"/>
                  </a:cubicBezTo>
                  <a:cubicBezTo>
                    <a:pt x="211" y="243"/>
                    <a:pt x="202" y="241"/>
                    <a:pt x="202" y="243"/>
                  </a:cubicBezTo>
                  <a:cubicBezTo>
                    <a:pt x="203" y="245"/>
                    <a:pt x="197" y="243"/>
                    <a:pt x="191" y="242"/>
                  </a:cubicBezTo>
                  <a:cubicBezTo>
                    <a:pt x="184" y="241"/>
                    <a:pt x="183" y="238"/>
                    <a:pt x="179" y="238"/>
                  </a:cubicBezTo>
                  <a:cubicBezTo>
                    <a:pt x="175" y="238"/>
                    <a:pt x="168" y="237"/>
                    <a:pt x="163" y="233"/>
                  </a:cubicBezTo>
                  <a:cubicBezTo>
                    <a:pt x="158" y="229"/>
                    <a:pt x="146" y="230"/>
                    <a:pt x="145" y="234"/>
                  </a:cubicBezTo>
                  <a:cubicBezTo>
                    <a:pt x="144" y="237"/>
                    <a:pt x="140" y="237"/>
                    <a:pt x="136" y="237"/>
                  </a:cubicBezTo>
                  <a:cubicBezTo>
                    <a:pt x="132" y="237"/>
                    <a:pt x="138" y="233"/>
                    <a:pt x="136" y="232"/>
                  </a:cubicBezTo>
                  <a:cubicBezTo>
                    <a:pt x="134" y="231"/>
                    <a:pt x="136" y="226"/>
                    <a:pt x="133" y="226"/>
                  </a:cubicBezTo>
                  <a:cubicBezTo>
                    <a:pt x="131" y="225"/>
                    <a:pt x="128" y="237"/>
                    <a:pt x="123" y="237"/>
                  </a:cubicBezTo>
                  <a:cubicBezTo>
                    <a:pt x="117" y="237"/>
                    <a:pt x="115" y="224"/>
                    <a:pt x="110" y="221"/>
                  </a:cubicBezTo>
                  <a:cubicBezTo>
                    <a:pt x="106" y="218"/>
                    <a:pt x="102" y="217"/>
                    <a:pt x="106" y="222"/>
                  </a:cubicBezTo>
                  <a:cubicBezTo>
                    <a:pt x="109" y="227"/>
                    <a:pt x="102" y="224"/>
                    <a:pt x="103" y="227"/>
                  </a:cubicBezTo>
                  <a:cubicBezTo>
                    <a:pt x="103" y="230"/>
                    <a:pt x="97" y="234"/>
                    <a:pt x="97" y="232"/>
                  </a:cubicBezTo>
                  <a:cubicBezTo>
                    <a:pt x="97" y="230"/>
                    <a:pt x="93" y="228"/>
                    <a:pt x="89" y="233"/>
                  </a:cubicBezTo>
                  <a:cubicBezTo>
                    <a:pt x="85" y="238"/>
                    <a:pt x="82" y="238"/>
                    <a:pt x="81" y="236"/>
                  </a:cubicBezTo>
                  <a:cubicBezTo>
                    <a:pt x="81" y="234"/>
                    <a:pt x="68" y="241"/>
                    <a:pt x="69" y="243"/>
                  </a:cubicBezTo>
                  <a:cubicBezTo>
                    <a:pt x="69" y="245"/>
                    <a:pt x="67" y="246"/>
                    <a:pt x="64" y="246"/>
                  </a:cubicBezTo>
                  <a:cubicBezTo>
                    <a:pt x="60" y="246"/>
                    <a:pt x="63" y="243"/>
                    <a:pt x="66" y="242"/>
                  </a:cubicBezTo>
                  <a:cubicBezTo>
                    <a:pt x="69" y="240"/>
                    <a:pt x="77" y="234"/>
                    <a:pt x="81" y="233"/>
                  </a:cubicBezTo>
                  <a:cubicBezTo>
                    <a:pt x="85" y="232"/>
                    <a:pt x="94" y="229"/>
                    <a:pt x="94" y="227"/>
                  </a:cubicBezTo>
                  <a:cubicBezTo>
                    <a:pt x="94" y="225"/>
                    <a:pt x="90" y="226"/>
                    <a:pt x="87" y="226"/>
                  </a:cubicBezTo>
                  <a:cubicBezTo>
                    <a:pt x="84" y="225"/>
                    <a:pt x="79" y="229"/>
                    <a:pt x="74" y="231"/>
                  </a:cubicBezTo>
                  <a:cubicBezTo>
                    <a:pt x="69" y="233"/>
                    <a:pt x="64" y="232"/>
                    <a:pt x="65" y="235"/>
                  </a:cubicBezTo>
                  <a:cubicBezTo>
                    <a:pt x="67" y="238"/>
                    <a:pt x="61" y="235"/>
                    <a:pt x="59" y="237"/>
                  </a:cubicBezTo>
                  <a:cubicBezTo>
                    <a:pt x="58" y="239"/>
                    <a:pt x="56" y="236"/>
                    <a:pt x="58" y="235"/>
                  </a:cubicBezTo>
                  <a:cubicBezTo>
                    <a:pt x="59" y="234"/>
                    <a:pt x="53" y="232"/>
                    <a:pt x="53" y="234"/>
                  </a:cubicBezTo>
                  <a:cubicBezTo>
                    <a:pt x="53" y="235"/>
                    <a:pt x="52" y="236"/>
                    <a:pt x="48" y="236"/>
                  </a:cubicBezTo>
                  <a:cubicBezTo>
                    <a:pt x="44" y="236"/>
                    <a:pt x="39" y="239"/>
                    <a:pt x="42" y="242"/>
                  </a:cubicBezTo>
                  <a:cubicBezTo>
                    <a:pt x="45" y="244"/>
                    <a:pt x="47" y="245"/>
                    <a:pt x="46" y="246"/>
                  </a:cubicBezTo>
                  <a:cubicBezTo>
                    <a:pt x="44" y="248"/>
                    <a:pt x="40" y="242"/>
                    <a:pt x="33" y="243"/>
                  </a:cubicBezTo>
                  <a:cubicBezTo>
                    <a:pt x="27" y="244"/>
                    <a:pt x="15" y="236"/>
                    <a:pt x="15" y="234"/>
                  </a:cubicBezTo>
                  <a:cubicBezTo>
                    <a:pt x="15" y="233"/>
                    <a:pt x="6" y="234"/>
                    <a:pt x="0" y="233"/>
                  </a:cubicBezTo>
                  <a:cubicBezTo>
                    <a:pt x="0" y="356"/>
                    <a:pt x="0" y="356"/>
                    <a:pt x="0" y="356"/>
                  </a:cubicBezTo>
                  <a:cubicBezTo>
                    <a:pt x="0" y="356"/>
                    <a:pt x="3" y="359"/>
                    <a:pt x="4" y="357"/>
                  </a:cubicBezTo>
                  <a:cubicBezTo>
                    <a:pt x="5" y="356"/>
                    <a:pt x="7" y="358"/>
                    <a:pt x="11" y="356"/>
                  </a:cubicBezTo>
                  <a:cubicBezTo>
                    <a:pt x="16" y="354"/>
                    <a:pt x="17" y="358"/>
                    <a:pt x="17" y="360"/>
                  </a:cubicBezTo>
                  <a:cubicBezTo>
                    <a:pt x="17" y="362"/>
                    <a:pt x="23" y="365"/>
                    <a:pt x="25" y="368"/>
                  </a:cubicBezTo>
                  <a:cubicBezTo>
                    <a:pt x="27" y="371"/>
                    <a:pt x="29" y="374"/>
                    <a:pt x="31" y="372"/>
                  </a:cubicBezTo>
                  <a:cubicBezTo>
                    <a:pt x="34" y="370"/>
                    <a:pt x="39" y="369"/>
                    <a:pt x="39" y="366"/>
                  </a:cubicBezTo>
                  <a:cubicBezTo>
                    <a:pt x="39" y="363"/>
                    <a:pt x="50" y="363"/>
                    <a:pt x="50" y="367"/>
                  </a:cubicBezTo>
                  <a:cubicBezTo>
                    <a:pt x="50" y="371"/>
                    <a:pt x="61" y="376"/>
                    <a:pt x="67" y="386"/>
                  </a:cubicBezTo>
                  <a:cubicBezTo>
                    <a:pt x="73" y="397"/>
                    <a:pt x="72" y="400"/>
                    <a:pt x="81" y="403"/>
                  </a:cubicBezTo>
                  <a:cubicBezTo>
                    <a:pt x="90" y="407"/>
                    <a:pt x="90" y="409"/>
                    <a:pt x="89" y="412"/>
                  </a:cubicBezTo>
                  <a:cubicBezTo>
                    <a:pt x="88" y="415"/>
                    <a:pt x="94" y="417"/>
                    <a:pt x="90" y="419"/>
                  </a:cubicBezTo>
                  <a:cubicBezTo>
                    <a:pt x="89" y="420"/>
                    <a:pt x="87" y="422"/>
                    <a:pt x="85" y="423"/>
                  </a:cubicBezTo>
                  <a:cubicBezTo>
                    <a:pt x="85" y="425"/>
                    <a:pt x="87" y="426"/>
                    <a:pt x="88" y="427"/>
                  </a:cubicBezTo>
                  <a:cubicBezTo>
                    <a:pt x="90" y="429"/>
                    <a:pt x="84" y="429"/>
                    <a:pt x="86" y="431"/>
                  </a:cubicBezTo>
                  <a:cubicBezTo>
                    <a:pt x="88" y="432"/>
                    <a:pt x="86" y="435"/>
                    <a:pt x="88" y="437"/>
                  </a:cubicBezTo>
                  <a:cubicBezTo>
                    <a:pt x="89" y="439"/>
                    <a:pt x="93" y="438"/>
                    <a:pt x="95" y="436"/>
                  </a:cubicBezTo>
                  <a:cubicBezTo>
                    <a:pt x="97" y="435"/>
                    <a:pt x="98" y="438"/>
                    <a:pt x="96" y="441"/>
                  </a:cubicBezTo>
                  <a:cubicBezTo>
                    <a:pt x="95" y="444"/>
                    <a:pt x="98" y="446"/>
                    <a:pt x="100" y="444"/>
                  </a:cubicBezTo>
                  <a:cubicBezTo>
                    <a:pt x="101" y="442"/>
                    <a:pt x="105" y="447"/>
                    <a:pt x="106" y="448"/>
                  </a:cubicBezTo>
                  <a:cubicBezTo>
                    <a:pt x="108" y="449"/>
                    <a:pt x="110" y="451"/>
                    <a:pt x="107" y="451"/>
                  </a:cubicBezTo>
                  <a:cubicBezTo>
                    <a:pt x="104" y="451"/>
                    <a:pt x="105" y="456"/>
                    <a:pt x="107" y="456"/>
                  </a:cubicBezTo>
                  <a:cubicBezTo>
                    <a:pt x="109" y="456"/>
                    <a:pt x="108" y="459"/>
                    <a:pt x="108" y="460"/>
                  </a:cubicBezTo>
                  <a:cubicBezTo>
                    <a:pt x="108" y="462"/>
                    <a:pt x="115" y="464"/>
                    <a:pt x="117" y="464"/>
                  </a:cubicBezTo>
                  <a:cubicBezTo>
                    <a:pt x="119" y="463"/>
                    <a:pt x="121" y="465"/>
                    <a:pt x="122" y="467"/>
                  </a:cubicBezTo>
                  <a:cubicBezTo>
                    <a:pt x="123" y="469"/>
                    <a:pt x="128" y="470"/>
                    <a:pt x="129" y="469"/>
                  </a:cubicBezTo>
                  <a:cubicBezTo>
                    <a:pt x="131" y="468"/>
                    <a:pt x="132" y="471"/>
                    <a:pt x="132" y="474"/>
                  </a:cubicBezTo>
                  <a:cubicBezTo>
                    <a:pt x="133" y="476"/>
                    <a:pt x="136" y="475"/>
                    <a:pt x="138" y="475"/>
                  </a:cubicBezTo>
                  <a:cubicBezTo>
                    <a:pt x="141" y="475"/>
                    <a:pt x="142" y="478"/>
                    <a:pt x="143" y="477"/>
                  </a:cubicBezTo>
                  <a:cubicBezTo>
                    <a:pt x="146" y="476"/>
                    <a:pt x="147" y="481"/>
                    <a:pt x="149" y="485"/>
                  </a:cubicBezTo>
                  <a:cubicBezTo>
                    <a:pt x="371" y="484"/>
                    <a:pt x="371" y="484"/>
                    <a:pt x="371" y="484"/>
                  </a:cubicBezTo>
                  <a:cubicBezTo>
                    <a:pt x="371" y="484"/>
                    <a:pt x="371" y="478"/>
                    <a:pt x="374" y="480"/>
                  </a:cubicBezTo>
                  <a:cubicBezTo>
                    <a:pt x="376" y="482"/>
                    <a:pt x="374" y="485"/>
                    <a:pt x="377" y="486"/>
                  </a:cubicBezTo>
                  <a:cubicBezTo>
                    <a:pt x="380" y="487"/>
                    <a:pt x="382" y="489"/>
                    <a:pt x="384" y="488"/>
                  </a:cubicBezTo>
                  <a:cubicBezTo>
                    <a:pt x="386" y="488"/>
                    <a:pt x="389" y="485"/>
                    <a:pt x="391" y="489"/>
                  </a:cubicBezTo>
                  <a:cubicBezTo>
                    <a:pt x="394" y="492"/>
                    <a:pt x="396" y="489"/>
                    <a:pt x="398" y="491"/>
                  </a:cubicBezTo>
                  <a:cubicBezTo>
                    <a:pt x="400" y="493"/>
                    <a:pt x="403" y="495"/>
                    <a:pt x="405" y="493"/>
                  </a:cubicBezTo>
                  <a:cubicBezTo>
                    <a:pt x="407" y="490"/>
                    <a:pt x="413" y="493"/>
                    <a:pt x="417" y="494"/>
                  </a:cubicBezTo>
                  <a:cubicBezTo>
                    <a:pt x="420" y="491"/>
                    <a:pt x="424" y="484"/>
                    <a:pt x="427" y="484"/>
                  </a:cubicBezTo>
                  <a:cubicBezTo>
                    <a:pt x="432" y="484"/>
                    <a:pt x="443" y="485"/>
                    <a:pt x="444" y="491"/>
                  </a:cubicBezTo>
                  <a:cubicBezTo>
                    <a:pt x="445" y="498"/>
                    <a:pt x="452" y="492"/>
                    <a:pt x="453" y="498"/>
                  </a:cubicBezTo>
                  <a:cubicBezTo>
                    <a:pt x="453" y="502"/>
                    <a:pt x="458" y="506"/>
                    <a:pt x="457" y="509"/>
                  </a:cubicBezTo>
                  <a:cubicBezTo>
                    <a:pt x="459" y="510"/>
                    <a:pt x="460" y="511"/>
                    <a:pt x="462" y="512"/>
                  </a:cubicBezTo>
                  <a:cubicBezTo>
                    <a:pt x="464" y="511"/>
                    <a:pt x="470" y="512"/>
                    <a:pt x="474" y="514"/>
                  </a:cubicBezTo>
                  <a:cubicBezTo>
                    <a:pt x="479" y="515"/>
                    <a:pt x="487" y="511"/>
                    <a:pt x="489" y="517"/>
                  </a:cubicBezTo>
                  <a:cubicBezTo>
                    <a:pt x="492" y="524"/>
                    <a:pt x="497" y="528"/>
                    <a:pt x="492" y="529"/>
                  </a:cubicBezTo>
                  <a:cubicBezTo>
                    <a:pt x="487" y="529"/>
                    <a:pt x="481" y="522"/>
                    <a:pt x="482" y="526"/>
                  </a:cubicBezTo>
                  <a:cubicBezTo>
                    <a:pt x="482" y="530"/>
                    <a:pt x="479" y="528"/>
                    <a:pt x="479" y="533"/>
                  </a:cubicBezTo>
                  <a:cubicBezTo>
                    <a:pt x="479" y="539"/>
                    <a:pt x="476" y="546"/>
                    <a:pt x="473" y="546"/>
                  </a:cubicBezTo>
                  <a:cubicBezTo>
                    <a:pt x="473" y="546"/>
                    <a:pt x="473" y="546"/>
                    <a:pt x="473" y="546"/>
                  </a:cubicBezTo>
                  <a:cubicBezTo>
                    <a:pt x="473" y="548"/>
                    <a:pt x="473" y="550"/>
                    <a:pt x="474" y="552"/>
                  </a:cubicBezTo>
                  <a:cubicBezTo>
                    <a:pt x="477" y="550"/>
                    <a:pt x="481" y="547"/>
                    <a:pt x="484" y="547"/>
                  </a:cubicBezTo>
                  <a:cubicBezTo>
                    <a:pt x="490" y="547"/>
                    <a:pt x="491" y="550"/>
                    <a:pt x="495" y="548"/>
                  </a:cubicBezTo>
                  <a:cubicBezTo>
                    <a:pt x="498" y="545"/>
                    <a:pt x="499" y="544"/>
                    <a:pt x="500" y="546"/>
                  </a:cubicBezTo>
                  <a:cubicBezTo>
                    <a:pt x="500" y="546"/>
                    <a:pt x="500" y="547"/>
                    <a:pt x="500" y="547"/>
                  </a:cubicBezTo>
                  <a:cubicBezTo>
                    <a:pt x="501" y="546"/>
                    <a:pt x="502" y="545"/>
                    <a:pt x="502" y="545"/>
                  </a:cubicBezTo>
                  <a:cubicBezTo>
                    <a:pt x="502" y="544"/>
                    <a:pt x="502" y="543"/>
                    <a:pt x="502" y="542"/>
                  </a:cubicBezTo>
                  <a:cubicBezTo>
                    <a:pt x="498" y="542"/>
                    <a:pt x="497" y="542"/>
                    <a:pt x="496" y="540"/>
                  </a:cubicBezTo>
                  <a:cubicBezTo>
                    <a:pt x="494" y="536"/>
                    <a:pt x="507" y="533"/>
                    <a:pt x="512" y="534"/>
                  </a:cubicBezTo>
                  <a:cubicBezTo>
                    <a:pt x="518" y="534"/>
                    <a:pt x="521" y="530"/>
                    <a:pt x="523" y="533"/>
                  </a:cubicBezTo>
                  <a:cubicBezTo>
                    <a:pt x="527" y="530"/>
                    <a:pt x="533" y="525"/>
                    <a:pt x="534" y="525"/>
                  </a:cubicBezTo>
                  <a:cubicBezTo>
                    <a:pt x="536" y="525"/>
                    <a:pt x="562" y="524"/>
                    <a:pt x="562" y="524"/>
                  </a:cubicBezTo>
                  <a:cubicBezTo>
                    <a:pt x="562" y="524"/>
                    <a:pt x="571" y="519"/>
                    <a:pt x="572" y="514"/>
                  </a:cubicBezTo>
                  <a:cubicBezTo>
                    <a:pt x="573" y="509"/>
                    <a:pt x="579" y="497"/>
                    <a:pt x="582" y="500"/>
                  </a:cubicBezTo>
                  <a:cubicBezTo>
                    <a:pt x="585" y="502"/>
                    <a:pt x="592" y="500"/>
                    <a:pt x="593" y="503"/>
                  </a:cubicBezTo>
                  <a:cubicBezTo>
                    <a:pt x="593" y="505"/>
                    <a:pt x="590" y="513"/>
                    <a:pt x="599" y="525"/>
                  </a:cubicBezTo>
                  <a:cubicBezTo>
                    <a:pt x="603" y="523"/>
                    <a:pt x="606" y="521"/>
                    <a:pt x="608" y="522"/>
                  </a:cubicBezTo>
                  <a:cubicBezTo>
                    <a:pt x="611" y="522"/>
                    <a:pt x="616" y="517"/>
                    <a:pt x="617" y="515"/>
                  </a:cubicBezTo>
                  <a:cubicBezTo>
                    <a:pt x="619" y="512"/>
                    <a:pt x="621" y="517"/>
                    <a:pt x="618" y="518"/>
                  </a:cubicBezTo>
                  <a:cubicBezTo>
                    <a:pt x="615" y="519"/>
                    <a:pt x="620" y="521"/>
                    <a:pt x="625" y="521"/>
                  </a:cubicBezTo>
                  <a:cubicBezTo>
                    <a:pt x="630" y="521"/>
                    <a:pt x="623" y="523"/>
                    <a:pt x="619" y="523"/>
                  </a:cubicBezTo>
                  <a:cubicBezTo>
                    <a:pt x="615" y="522"/>
                    <a:pt x="614" y="523"/>
                    <a:pt x="609" y="528"/>
                  </a:cubicBezTo>
                  <a:cubicBezTo>
                    <a:pt x="604" y="533"/>
                    <a:pt x="605" y="534"/>
                    <a:pt x="608" y="537"/>
                  </a:cubicBezTo>
                  <a:cubicBezTo>
                    <a:pt x="611" y="539"/>
                    <a:pt x="614" y="538"/>
                    <a:pt x="618" y="535"/>
                  </a:cubicBezTo>
                  <a:cubicBezTo>
                    <a:pt x="622" y="532"/>
                    <a:pt x="622" y="528"/>
                    <a:pt x="626" y="528"/>
                  </a:cubicBezTo>
                  <a:cubicBezTo>
                    <a:pt x="630" y="529"/>
                    <a:pt x="640" y="525"/>
                    <a:pt x="645" y="523"/>
                  </a:cubicBezTo>
                  <a:cubicBezTo>
                    <a:pt x="649" y="522"/>
                    <a:pt x="646" y="521"/>
                    <a:pt x="646" y="519"/>
                  </a:cubicBezTo>
                  <a:cubicBezTo>
                    <a:pt x="646" y="517"/>
                    <a:pt x="654" y="517"/>
                    <a:pt x="657" y="515"/>
                  </a:cubicBezTo>
                  <a:cubicBezTo>
                    <a:pt x="660" y="513"/>
                    <a:pt x="656" y="512"/>
                    <a:pt x="654" y="512"/>
                  </a:cubicBezTo>
                  <a:close/>
                  <a:moveTo>
                    <a:pt x="190" y="281"/>
                  </a:moveTo>
                  <a:cubicBezTo>
                    <a:pt x="185" y="287"/>
                    <a:pt x="183" y="288"/>
                    <a:pt x="179" y="287"/>
                  </a:cubicBezTo>
                  <a:cubicBezTo>
                    <a:pt x="174" y="286"/>
                    <a:pt x="171" y="288"/>
                    <a:pt x="173" y="290"/>
                  </a:cubicBezTo>
                  <a:cubicBezTo>
                    <a:pt x="176" y="292"/>
                    <a:pt x="176" y="293"/>
                    <a:pt x="171" y="294"/>
                  </a:cubicBezTo>
                  <a:cubicBezTo>
                    <a:pt x="166" y="295"/>
                    <a:pt x="163" y="299"/>
                    <a:pt x="161" y="299"/>
                  </a:cubicBezTo>
                  <a:cubicBezTo>
                    <a:pt x="159" y="298"/>
                    <a:pt x="169" y="291"/>
                    <a:pt x="166" y="289"/>
                  </a:cubicBezTo>
                  <a:cubicBezTo>
                    <a:pt x="164" y="287"/>
                    <a:pt x="157" y="292"/>
                    <a:pt x="157" y="295"/>
                  </a:cubicBezTo>
                  <a:cubicBezTo>
                    <a:pt x="157" y="297"/>
                    <a:pt x="152" y="297"/>
                    <a:pt x="150" y="297"/>
                  </a:cubicBezTo>
                  <a:cubicBezTo>
                    <a:pt x="147" y="297"/>
                    <a:pt x="143" y="294"/>
                    <a:pt x="146" y="294"/>
                  </a:cubicBezTo>
                  <a:cubicBezTo>
                    <a:pt x="149" y="294"/>
                    <a:pt x="147" y="291"/>
                    <a:pt x="151" y="289"/>
                  </a:cubicBezTo>
                  <a:cubicBezTo>
                    <a:pt x="154" y="288"/>
                    <a:pt x="150" y="286"/>
                    <a:pt x="151" y="284"/>
                  </a:cubicBezTo>
                  <a:cubicBezTo>
                    <a:pt x="152" y="283"/>
                    <a:pt x="160" y="286"/>
                    <a:pt x="160" y="283"/>
                  </a:cubicBezTo>
                  <a:cubicBezTo>
                    <a:pt x="160" y="280"/>
                    <a:pt x="152" y="278"/>
                    <a:pt x="150" y="280"/>
                  </a:cubicBezTo>
                  <a:cubicBezTo>
                    <a:pt x="147" y="281"/>
                    <a:pt x="141" y="285"/>
                    <a:pt x="134" y="282"/>
                  </a:cubicBezTo>
                  <a:cubicBezTo>
                    <a:pt x="132" y="281"/>
                    <a:pt x="152" y="279"/>
                    <a:pt x="156" y="276"/>
                  </a:cubicBezTo>
                  <a:cubicBezTo>
                    <a:pt x="159" y="273"/>
                    <a:pt x="174" y="269"/>
                    <a:pt x="175" y="272"/>
                  </a:cubicBezTo>
                  <a:cubicBezTo>
                    <a:pt x="177" y="275"/>
                    <a:pt x="167" y="277"/>
                    <a:pt x="172" y="279"/>
                  </a:cubicBezTo>
                  <a:cubicBezTo>
                    <a:pt x="176" y="282"/>
                    <a:pt x="184" y="280"/>
                    <a:pt x="185" y="277"/>
                  </a:cubicBezTo>
                  <a:cubicBezTo>
                    <a:pt x="187" y="275"/>
                    <a:pt x="194" y="275"/>
                    <a:pt x="190" y="281"/>
                  </a:cubicBezTo>
                  <a:close/>
                  <a:moveTo>
                    <a:pt x="235" y="338"/>
                  </a:moveTo>
                  <a:cubicBezTo>
                    <a:pt x="229" y="343"/>
                    <a:pt x="230" y="342"/>
                    <a:pt x="225" y="343"/>
                  </a:cubicBezTo>
                  <a:cubicBezTo>
                    <a:pt x="220" y="343"/>
                    <a:pt x="224" y="348"/>
                    <a:pt x="218" y="349"/>
                  </a:cubicBezTo>
                  <a:cubicBezTo>
                    <a:pt x="212" y="349"/>
                    <a:pt x="198" y="350"/>
                    <a:pt x="196" y="346"/>
                  </a:cubicBezTo>
                  <a:cubicBezTo>
                    <a:pt x="196" y="345"/>
                    <a:pt x="204" y="346"/>
                    <a:pt x="204" y="344"/>
                  </a:cubicBezTo>
                  <a:cubicBezTo>
                    <a:pt x="205" y="341"/>
                    <a:pt x="207" y="338"/>
                    <a:pt x="211" y="338"/>
                  </a:cubicBezTo>
                  <a:cubicBezTo>
                    <a:pt x="214" y="338"/>
                    <a:pt x="214" y="333"/>
                    <a:pt x="208" y="330"/>
                  </a:cubicBezTo>
                  <a:cubicBezTo>
                    <a:pt x="202" y="327"/>
                    <a:pt x="217" y="325"/>
                    <a:pt x="220" y="330"/>
                  </a:cubicBezTo>
                  <a:cubicBezTo>
                    <a:pt x="223" y="334"/>
                    <a:pt x="229" y="338"/>
                    <a:pt x="232" y="334"/>
                  </a:cubicBezTo>
                  <a:cubicBezTo>
                    <a:pt x="235" y="331"/>
                    <a:pt x="254" y="322"/>
                    <a:pt x="254" y="326"/>
                  </a:cubicBezTo>
                  <a:cubicBezTo>
                    <a:pt x="254" y="331"/>
                    <a:pt x="240" y="333"/>
                    <a:pt x="235" y="338"/>
                  </a:cubicBezTo>
                  <a:close/>
                  <a:moveTo>
                    <a:pt x="359" y="468"/>
                  </a:moveTo>
                  <a:cubicBezTo>
                    <a:pt x="355" y="468"/>
                    <a:pt x="359" y="458"/>
                    <a:pt x="352" y="454"/>
                  </a:cubicBezTo>
                  <a:cubicBezTo>
                    <a:pt x="344" y="449"/>
                    <a:pt x="340" y="440"/>
                    <a:pt x="340" y="436"/>
                  </a:cubicBezTo>
                  <a:cubicBezTo>
                    <a:pt x="340" y="431"/>
                    <a:pt x="347" y="429"/>
                    <a:pt x="350" y="433"/>
                  </a:cubicBezTo>
                  <a:cubicBezTo>
                    <a:pt x="353" y="436"/>
                    <a:pt x="357" y="451"/>
                    <a:pt x="360" y="455"/>
                  </a:cubicBezTo>
                  <a:cubicBezTo>
                    <a:pt x="362" y="460"/>
                    <a:pt x="362" y="468"/>
                    <a:pt x="359" y="46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4" name="Freeform 311">
              <a:extLst>
                <a:ext uri="{FF2B5EF4-FFF2-40B4-BE49-F238E27FC236}">
                  <a16:creationId xmlns:a16="http://schemas.microsoft.com/office/drawing/2014/main" id="{F9EDDFAA-FBC8-894A-5181-1E546C69D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045" y="1618277"/>
              <a:ext cx="3066652" cy="2088879"/>
            </a:xfrm>
            <a:custGeom>
              <a:avLst/>
              <a:gdLst>
                <a:gd name="T0" fmla="*/ 249 w 817"/>
                <a:gd name="T1" fmla="*/ 164 h 556"/>
                <a:gd name="T2" fmla="*/ 218 w 817"/>
                <a:gd name="T3" fmla="*/ 25 h 556"/>
                <a:gd name="T4" fmla="*/ 132 w 817"/>
                <a:gd name="T5" fmla="*/ 15 h 556"/>
                <a:gd name="T6" fmla="*/ 96 w 817"/>
                <a:gd name="T7" fmla="*/ 8 h 556"/>
                <a:gd name="T8" fmla="*/ 66 w 817"/>
                <a:gd name="T9" fmla="*/ 15 h 556"/>
                <a:gd name="T10" fmla="*/ 13 w 817"/>
                <a:gd name="T11" fmla="*/ 42 h 556"/>
                <a:gd name="T12" fmla="*/ 50 w 817"/>
                <a:gd name="T13" fmla="*/ 74 h 556"/>
                <a:gd name="T14" fmla="*/ 12 w 817"/>
                <a:gd name="T15" fmla="*/ 76 h 556"/>
                <a:gd name="T16" fmla="*/ 42 w 817"/>
                <a:gd name="T17" fmla="*/ 97 h 556"/>
                <a:gd name="T18" fmla="*/ 30 w 817"/>
                <a:gd name="T19" fmla="*/ 113 h 556"/>
                <a:gd name="T20" fmla="*/ 32 w 817"/>
                <a:gd name="T21" fmla="*/ 156 h 556"/>
                <a:gd name="T22" fmla="*/ 68 w 817"/>
                <a:gd name="T23" fmla="*/ 168 h 556"/>
                <a:gd name="T24" fmla="*/ 72 w 817"/>
                <a:gd name="T25" fmla="*/ 192 h 556"/>
                <a:gd name="T26" fmla="*/ 60 w 817"/>
                <a:gd name="T27" fmla="*/ 205 h 556"/>
                <a:gd name="T28" fmla="*/ 104 w 817"/>
                <a:gd name="T29" fmla="*/ 178 h 556"/>
                <a:gd name="T30" fmla="*/ 123 w 817"/>
                <a:gd name="T31" fmla="*/ 152 h 556"/>
                <a:gd name="T32" fmla="*/ 136 w 817"/>
                <a:gd name="T33" fmla="*/ 143 h 556"/>
                <a:gd name="T34" fmla="*/ 161 w 817"/>
                <a:gd name="T35" fmla="*/ 154 h 556"/>
                <a:gd name="T36" fmla="*/ 177 w 817"/>
                <a:gd name="T37" fmla="*/ 144 h 556"/>
                <a:gd name="T38" fmla="*/ 196 w 817"/>
                <a:gd name="T39" fmla="*/ 152 h 556"/>
                <a:gd name="T40" fmla="*/ 242 w 817"/>
                <a:gd name="T41" fmla="*/ 166 h 556"/>
                <a:gd name="T42" fmla="*/ 267 w 817"/>
                <a:gd name="T43" fmla="*/ 177 h 556"/>
                <a:gd name="T44" fmla="*/ 268 w 817"/>
                <a:gd name="T45" fmla="*/ 187 h 556"/>
                <a:gd name="T46" fmla="*/ 277 w 817"/>
                <a:gd name="T47" fmla="*/ 188 h 556"/>
                <a:gd name="T48" fmla="*/ 285 w 817"/>
                <a:gd name="T49" fmla="*/ 196 h 556"/>
                <a:gd name="T50" fmla="*/ 282 w 817"/>
                <a:gd name="T51" fmla="*/ 214 h 556"/>
                <a:gd name="T52" fmla="*/ 300 w 817"/>
                <a:gd name="T53" fmla="*/ 214 h 556"/>
                <a:gd name="T54" fmla="*/ 10 w 817"/>
                <a:gd name="T55" fmla="*/ 223 h 556"/>
                <a:gd name="T56" fmla="*/ 127 w 817"/>
                <a:gd name="T57" fmla="*/ 171 h 556"/>
                <a:gd name="T58" fmla="*/ 126 w 817"/>
                <a:gd name="T59" fmla="*/ 183 h 556"/>
                <a:gd name="T60" fmla="*/ 17 w 817"/>
                <a:gd name="T61" fmla="*/ 156 h 556"/>
                <a:gd name="T62" fmla="*/ 100 w 817"/>
                <a:gd name="T63" fmla="*/ 544 h 556"/>
                <a:gd name="T64" fmla="*/ 66 w 817"/>
                <a:gd name="T65" fmla="*/ 528 h 556"/>
                <a:gd name="T66" fmla="*/ 790 w 817"/>
                <a:gd name="T67" fmla="*/ 306 h 556"/>
                <a:gd name="T68" fmla="*/ 720 w 817"/>
                <a:gd name="T69" fmla="*/ 334 h 556"/>
                <a:gd name="T70" fmla="*/ 692 w 817"/>
                <a:gd name="T71" fmla="*/ 344 h 556"/>
                <a:gd name="T72" fmla="*/ 662 w 817"/>
                <a:gd name="T73" fmla="*/ 319 h 556"/>
                <a:gd name="T74" fmla="*/ 679 w 817"/>
                <a:gd name="T75" fmla="*/ 305 h 556"/>
                <a:gd name="T76" fmla="*/ 646 w 817"/>
                <a:gd name="T77" fmla="*/ 297 h 556"/>
                <a:gd name="T78" fmla="*/ 623 w 817"/>
                <a:gd name="T79" fmla="*/ 285 h 556"/>
                <a:gd name="T80" fmla="*/ 589 w 817"/>
                <a:gd name="T81" fmla="*/ 276 h 556"/>
                <a:gd name="T82" fmla="*/ 365 w 817"/>
                <a:gd name="T83" fmla="*/ 285 h 556"/>
                <a:gd name="T84" fmla="*/ 359 w 817"/>
                <a:gd name="T85" fmla="*/ 304 h 556"/>
                <a:gd name="T86" fmla="*/ 360 w 817"/>
                <a:gd name="T87" fmla="*/ 377 h 556"/>
                <a:gd name="T88" fmla="*/ 387 w 817"/>
                <a:gd name="T89" fmla="*/ 417 h 556"/>
                <a:gd name="T90" fmla="*/ 440 w 817"/>
                <a:gd name="T91" fmla="*/ 439 h 556"/>
                <a:gd name="T92" fmla="*/ 513 w 817"/>
                <a:gd name="T93" fmla="*/ 457 h 556"/>
                <a:gd name="T94" fmla="*/ 556 w 817"/>
                <a:gd name="T95" fmla="*/ 484 h 556"/>
                <a:gd name="T96" fmla="*/ 578 w 817"/>
                <a:gd name="T97" fmla="*/ 471 h 556"/>
                <a:gd name="T98" fmla="*/ 608 w 817"/>
                <a:gd name="T99" fmla="*/ 459 h 556"/>
                <a:gd name="T100" fmla="*/ 635 w 817"/>
                <a:gd name="T101" fmla="*/ 462 h 556"/>
                <a:gd name="T102" fmla="*/ 668 w 817"/>
                <a:gd name="T103" fmla="*/ 459 h 556"/>
                <a:gd name="T104" fmla="*/ 696 w 817"/>
                <a:gd name="T105" fmla="*/ 492 h 556"/>
                <a:gd name="T106" fmla="*/ 699 w 817"/>
                <a:gd name="T107" fmla="*/ 451 h 556"/>
                <a:gd name="T108" fmla="*/ 737 w 817"/>
                <a:gd name="T109" fmla="*/ 411 h 556"/>
                <a:gd name="T110" fmla="*/ 741 w 817"/>
                <a:gd name="T111" fmla="*/ 391 h 556"/>
                <a:gd name="T112" fmla="*/ 744 w 817"/>
                <a:gd name="T113" fmla="*/ 388 h 556"/>
                <a:gd name="T114" fmla="*/ 764 w 817"/>
                <a:gd name="T115" fmla="*/ 360 h 556"/>
                <a:gd name="T116" fmla="*/ 785 w 817"/>
                <a:gd name="T117" fmla="*/ 343 h 556"/>
                <a:gd name="T118" fmla="*/ 817 w 817"/>
                <a:gd name="T119" fmla="*/ 317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17" h="556">
                  <a:moveTo>
                    <a:pt x="307" y="204"/>
                  </a:moveTo>
                  <a:cubicBezTo>
                    <a:pt x="308" y="201"/>
                    <a:pt x="308" y="199"/>
                    <a:pt x="299" y="195"/>
                  </a:cubicBezTo>
                  <a:cubicBezTo>
                    <a:pt x="290" y="192"/>
                    <a:pt x="291" y="189"/>
                    <a:pt x="285" y="178"/>
                  </a:cubicBezTo>
                  <a:cubicBezTo>
                    <a:pt x="279" y="168"/>
                    <a:pt x="268" y="163"/>
                    <a:pt x="268" y="159"/>
                  </a:cubicBezTo>
                  <a:cubicBezTo>
                    <a:pt x="268" y="155"/>
                    <a:pt x="257" y="155"/>
                    <a:pt x="257" y="158"/>
                  </a:cubicBezTo>
                  <a:cubicBezTo>
                    <a:pt x="257" y="161"/>
                    <a:pt x="252" y="162"/>
                    <a:pt x="249" y="164"/>
                  </a:cubicBezTo>
                  <a:cubicBezTo>
                    <a:pt x="247" y="166"/>
                    <a:pt x="245" y="163"/>
                    <a:pt x="243" y="160"/>
                  </a:cubicBezTo>
                  <a:cubicBezTo>
                    <a:pt x="241" y="157"/>
                    <a:pt x="235" y="154"/>
                    <a:pt x="235" y="152"/>
                  </a:cubicBezTo>
                  <a:cubicBezTo>
                    <a:pt x="235" y="150"/>
                    <a:pt x="234" y="146"/>
                    <a:pt x="229" y="148"/>
                  </a:cubicBezTo>
                  <a:cubicBezTo>
                    <a:pt x="225" y="150"/>
                    <a:pt x="223" y="148"/>
                    <a:pt x="222" y="149"/>
                  </a:cubicBezTo>
                  <a:cubicBezTo>
                    <a:pt x="221" y="151"/>
                    <a:pt x="218" y="148"/>
                    <a:pt x="218" y="148"/>
                  </a:cubicBezTo>
                  <a:cubicBezTo>
                    <a:pt x="218" y="25"/>
                    <a:pt x="218" y="25"/>
                    <a:pt x="218" y="25"/>
                  </a:cubicBezTo>
                  <a:cubicBezTo>
                    <a:pt x="216" y="25"/>
                    <a:pt x="215" y="25"/>
                    <a:pt x="214" y="24"/>
                  </a:cubicBezTo>
                  <a:cubicBezTo>
                    <a:pt x="209" y="22"/>
                    <a:pt x="201" y="19"/>
                    <a:pt x="197" y="20"/>
                  </a:cubicBezTo>
                  <a:cubicBezTo>
                    <a:pt x="193" y="21"/>
                    <a:pt x="185" y="22"/>
                    <a:pt x="182" y="20"/>
                  </a:cubicBezTo>
                  <a:cubicBezTo>
                    <a:pt x="179" y="19"/>
                    <a:pt x="175" y="18"/>
                    <a:pt x="169" y="18"/>
                  </a:cubicBezTo>
                  <a:cubicBezTo>
                    <a:pt x="163" y="19"/>
                    <a:pt x="160" y="15"/>
                    <a:pt x="152" y="13"/>
                  </a:cubicBezTo>
                  <a:cubicBezTo>
                    <a:pt x="145" y="12"/>
                    <a:pt x="134" y="14"/>
                    <a:pt x="132" y="15"/>
                  </a:cubicBezTo>
                  <a:cubicBezTo>
                    <a:pt x="129" y="16"/>
                    <a:pt x="130" y="12"/>
                    <a:pt x="127" y="13"/>
                  </a:cubicBezTo>
                  <a:cubicBezTo>
                    <a:pt x="123" y="13"/>
                    <a:pt x="126" y="11"/>
                    <a:pt x="124" y="8"/>
                  </a:cubicBezTo>
                  <a:cubicBezTo>
                    <a:pt x="122" y="6"/>
                    <a:pt x="113" y="8"/>
                    <a:pt x="110" y="9"/>
                  </a:cubicBezTo>
                  <a:cubicBezTo>
                    <a:pt x="107" y="9"/>
                    <a:pt x="106" y="7"/>
                    <a:pt x="106" y="5"/>
                  </a:cubicBezTo>
                  <a:cubicBezTo>
                    <a:pt x="106" y="4"/>
                    <a:pt x="103" y="4"/>
                    <a:pt x="102" y="6"/>
                  </a:cubicBezTo>
                  <a:cubicBezTo>
                    <a:pt x="101" y="9"/>
                    <a:pt x="97" y="9"/>
                    <a:pt x="96" y="8"/>
                  </a:cubicBezTo>
                  <a:cubicBezTo>
                    <a:pt x="94" y="6"/>
                    <a:pt x="99" y="6"/>
                    <a:pt x="99" y="4"/>
                  </a:cubicBezTo>
                  <a:cubicBezTo>
                    <a:pt x="99" y="2"/>
                    <a:pt x="94" y="1"/>
                    <a:pt x="93" y="1"/>
                  </a:cubicBezTo>
                  <a:cubicBezTo>
                    <a:pt x="91" y="0"/>
                    <a:pt x="88" y="3"/>
                    <a:pt x="84" y="6"/>
                  </a:cubicBezTo>
                  <a:cubicBezTo>
                    <a:pt x="81" y="9"/>
                    <a:pt x="75" y="9"/>
                    <a:pt x="72" y="9"/>
                  </a:cubicBezTo>
                  <a:cubicBezTo>
                    <a:pt x="68" y="8"/>
                    <a:pt x="64" y="9"/>
                    <a:pt x="64" y="11"/>
                  </a:cubicBezTo>
                  <a:cubicBezTo>
                    <a:pt x="64" y="13"/>
                    <a:pt x="68" y="13"/>
                    <a:pt x="66" y="15"/>
                  </a:cubicBezTo>
                  <a:cubicBezTo>
                    <a:pt x="63" y="18"/>
                    <a:pt x="63" y="12"/>
                    <a:pt x="60" y="15"/>
                  </a:cubicBezTo>
                  <a:cubicBezTo>
                    <a:pt x="58" y="17"/>
                    <a:pt x="50" y="17"/>
                    <a:pt x="48" y="17"/>
                  </a:cubicBezTo>
                  <a:cubicBezTo>
                    <a:pt x="47" y="16"/>
                    <a:pt x="41" y="23"/>
                    <a:pt x="39" y="25"/>
                  </a:cubicBezTo>
                  <a:cubicBezTo>
                    <a:pt x="37" y="26"/>
                    <a:pt x="40" y="28"/>
                    <a:pt x="35" y="33"/>
                  </a:cubicBezTo>
                  <a:cubicBezTo>
                    <a:pt x="31" y="38"/>
                    <a:pt x="18" y="37"/>
                    <a:pt x="15" y="37"/>
                  </a:cubicBezTo>
                  <a:cubicBezTo>
                    <a:pt x="12" y="37"/>
                    <a:pt x="14" y="40"/>
                    <a:pt x="13" y="42"/>
                  </a:cubicBezTo>
                  <a:cubicBezTo>
                    <a:pt x="12" y="44"/>
                    <a:pt x="15" y="46"/>
                    <a:pt x="22" y="48"/>
                  </a:cubicBezTo>
                  <a:cubicBezTo>
                    <a:pt x="29" y="50"/>
                    <a:pt x="34" y="60"/>
                    <a:pt x="35" y="62"/>
                  </a:cubicBezTo>
                  <a:cubicBezTo>
                    <a:pt x="36" y="64"/>
                    <a:pt x="45" y="62"/>
                    <a:pt x="49" y="62"/>
                  </a:cubicBezTo>
                  <a:cubicBezTo>
                    <a:pt x="52" y="63"/>
                    <a:pt x="48" y="68"/>
                    <a:pt x="51" y="69"/>
                  </a:cubicBezTo>
                  <a:cubicBezTo>
                    <a:pt x="54" y="71"/>
                    <a:pt x="59" y="69"/>
                    <a:pt x="60" y="71"/>
                  </a:cubicBezTo>
                  <a:cubicBezTo>
                    <a:pt x="61" y="74"/>
                    <a:pt x="54" y="71"/>
                    <a:pt x="50" y="74"/>
                  </a:cubicBezTo>
                  <a:cubicBezTo>
                    <a:pt x="47" y="76"/>
                    <a:pt x="45" y="78"/>
                    <a:pt x="43" y="76"/>
                  </a:cubicBezTo>
                  <a:cubicBezTo>
                    <a:pt x="42" y="74"/>
                    <a:pt x="36" y="75"/>
                    <a:pt x="33" y="75"/>
                  </a:cubicBezTo>
                  <a:cubicBezTo>
                    <a:pt x="30" y="76"/>
                    <a:pt x="33" y="72"/>
                    <a:pt x="33" y="70"/>
                  </a:cubicBezTo>
                  <a:cubicBezTo>
                    <a:pt x="33" y="68"/>
                    <a:pt x="29" y="67"/>
                    <a:pt x="23" y="70"/>
                  </a:cubicBezTo>
                  <a:cubicBezTo>
                    <a:pt x="17" y="74"/>
                    <a:pt x="19" y="72"/>
                    <a:pt x="19" y="75"/>
                  </a:cubicBezTo>
                  <a:cubicBezTo>
                    <a:pt x="18" y="78"/>
                    <a:pt x="15" y="73"/>
                    <a:pt x="12" y="76"/>
                  </a:cubicBezTo>
                  <a:cubicBezTo>
                    <a:pt x="8" y="78"/>
                    <a:pt x="2" y="80"/>
                    <a:pt x="1" y="82"/>
                  </a:cubicBezTo>
                  <a:cubicBezTo>
                    <a:pt x="0" y="84"/>
                    <a:pt x="9" y="86"/>
                    <a:pt x="12" y="87"/>
                  </a:cubicBezTo>
                  <a:cubicBezTo>
                    <a:pt x="16" y="87"/>
                    <a:pt x="8" y="90"/>
                    <a:pt x="11" y="90"/>
                  </a:cubicBezTo>
                  <a:cubicBezTo>
                    <a:pt x="14" y="91"/>
                    <a:pt x="13" y="94"/>
                    <a:pt x="17" y="96"/>
                  </a:cubicBezTo>
                  <a:cubicBezTo>
                    <a:pt x="22" y="99"/>
                    <a:pt x="32" y="96"/>
                    <a:pt x="34" y="96"/>
                  </a:cubicBezTo>
                  <a:cubicBezTo>
                    <a:pt x="37" y="96"/>
                    <a:pt x="39" y="100"/>
                    <a:pt x="42" y="97"/>
                  </a:cubicBezTo>
                  <a:cubicBezTo>
                    <a:pt x="44" y="95"/>
                    <a:pt x="52" y="89"/>
                    <a:pt x="56" y="92"/>
                  </a:cubicBezTo>
                  <a:cubicBezTo>
                    <a:pt x="60" y="96"/>
                    <a:pt x="51" y="95"/>
                    <a:pt x="53" y="98"/>
                  </a:cubicBezTo>
                  <a:cubicBezTo>
                    <a:pt x="56" y="100"/>
                    <a:pt x="58" y="106"/>
                    <a:pt x="54" y="108"/>
                  </a:cubicBezTo>
                  <a:cubicBezTo>
                    <a:pt x="50" y="111"/>
                    <a:pt x="47" y="109"/>
                    <a:pt x="45" y="109"/>
                  </a:cubicBezTo>
                  <a:cubicBezTo>
                    <a:pt x="42" y="109"/>
                    <a:pt x="44" y="113"/>
                    <a:pt x="40" y="116"/>
                  </a:cubicBezTo>
                  <a:cubicBezTo>
                    <a:pt x="37" y="118"/>
                    <a:pt x="34" y="113"/>
                    <a:pt x="30" y="113"/>
                  </a:cubicBezTo>
                  <a:cubicBezTo>
                    <a:pt x="26" y="113"/>
                    <a:pt x="27" y="118"/>
                    <a:pt x="27" y="121"/>
                  </a:cubicBezTo>
                  <a:cubicBezTo>
                    <a:pt x="27" y="124"/>
                    <a:pt x="20" y="121"/>
                    <a:pt x="19" y="127"/>
                  </a:cubicBezTo>
                  <a:cubicBezTo>
                    <a:pt x="17" y="133"/>
                    <a:pt x="10" y="128"/>
                    <a:pt x="15" y="134"/>
                  </a:cubicBezTo>
                  <a:cubicBezTo>
                    <a:pt x="19" y="140"/>
                    <a:pt x="19" y="136"/>
                    <a:pt x="22" y="139"/>
                  </a:cubicBezTo>
                  <a:cubicBezTo>
                    <a:pt x="26" y="141"/>
                    <a:pt x="18" y="146"/>
                    <a:pt x="22" y="147"/>
                  </a:cubicBezTo>
                  <a:cubicBezTo>
                    <a:pt x="25" y="147"/>
                    <a:pt x="29" y="154"/>
                    <a:pt x="32" y="156"/>
                  </a:cubicBezTo>
                  <a:cubicBezTo>
                    <a:pt x="34" y="158"/>
                    <a:pt x="38" y="155"/>
                    <a:pt x="41" y="155"/>
                  </a:cubicBezTo>
                  <a:cubicBezTo>
                    <a:pt x="45" y="154"/>
                    <a:pt x="43" y="149"/>
                    <a:pt x="45" y="151"/>
                  </a:cubicBezTo>
                  <a:cubicBezTo>
                    <a:pt x="48" y="153"/>
                    <a:pt x="51" y="159"/>
                    <a:pt x="49" y="160"/>
                  </a:cubicBezTo>
                  <a:cubicBezTo>
                    <a:pt x="47" y="162"/>
                    <a:pt x="48" y="166"/>
                    <a:pt x="48" y="168"/>
                  </a:cubicBezTo>
                  <a:cubicBezTo>
                    <a:pt x="48" y="171"/>
                    <a:pt x="56" y="170"/>
                    <a:pt x="57" y="167"/>
                  </a:cubicBezTo>
                  <a:cubicBezTo>
                    <a:pt x="57" y="165"/>
                    <a:pt x="64" y="164"/>
                    <a:pt x="68" y="168"/>
                  </a:cubicBezTo>
                  <a:cubicBezTo>
                    <a:pt x="71" y="172"/>
                    <a:pt x="73" y="173"/>
                    <a:pt x="73" y="170"/>
                  </a:cubicBezTo>
                  <a:cubicBezTo>
                    <a:pt x="73" y="167"/>
                    <a:pt x="76" y="163"/>
                    <a:pt x="76" y="166"/>
                  </a:cubicBezTo>
                  <a:cubicBezTo>
                    <a:pt x="76" y="168"/>
                    <a:pt x="79" y="169"/>
                    <a:pt x="85" y="167"/>
                  </a:cubicBezTo>
                  <a:cubicBezTo>
                    <a:pt x="90" y="164"/>
                    <a:pt x="88" y="167"/>
                    <a:pt x="85" y="170"/>
                  </a:cubicBezTo>
                  <a:cubicBezTo>
                    <a:pt x="81" y="175"/>
                    <a:pt x="85" y="182"/>
                    <a:pt x="82" y="183"/>
                  </a:cubicBezTo>
                  <a:cubicBezTo>
                    <a:pt x="79" y="184"/>
                    <a:pt x="77" y="191"/>
                    <a:pt x="72" y="192"/>
                  </a:cubicBezTo>
                  <a:cubicBezTo>
                    <a:pt x="68" y="192"/>
                    <a:pt x="60" y="201"/>
                    <a:pt x="59" y="202"/>
                  </a:cubicBezTo>
                  <a:cubicBezTo>
                    <a:pt x="58" y="204"/>
                    <a:pt x="48" y="200"/>
                    <a:pt x="46" y="204"/>
                  </a:cubicBezTo>
                  <a:cubicBezTo>
                    <a:pt x="45" y="208"/>
                    <a:pt x="39" y="211"/>
                    <a:pt x="40" y="212"/>
                  </a:cubicBezTo>
                  <a:cubicBezTo>
                    <a:pt x="42" y="214"/>
                    <a:pt x="50" y="209"/>
                    <a:pt x="50" y="207"/>
                  </a:cubicBezTo>
                  <a:cubicBezTo>
                    <a:pt x="50" y="205"/>
                    <a:pt x="51" y="206"/>
                    <a:pt x="53" y="207"/>
                  </a:cubicBezTo>
                  <a:cubicBezTo>
                    <a:pt x="54" y="209"/>
                    <a:pt x="58" y="206"/>
                    <a:pt x="60" y="205"/>
                  </a:cubicBezTo>
                  <a:cubicBezTo>
                    <a:pt x="61" y="204"/>
                    <a:pt x="64" y="204"/>
                    <a:pt x="65" y="204"/>
                  </a:cubicBezTo>
                  <a:cubicBezTo>
                    <a:pt x="67" y="204"/>
                    <a:pt x="68" y="202"/>
                    <a:pt x="73" y="201"/>
                  </a:cubicBezTo>
                  <a:cubicBezTo>
                    <a:pt x="77" y="201"/>
                    <a:pt x="76" y="199"/>
                    <a:pt x="77" y="197"/>
                  </a:cubicBezTo>
                  <a:cubicBezTo>
                    <a:pt x="78" y="194"/>
                    <a:pt x="90" y="189"/>
                    <a:pt x="92" y="188"/>
                  </a:cubicBezTo>
                  <a:cubicBezTo>
                    <a:pt x="94" y="188"/>
                    <a:pt x="93" y="184"/>
                    <a:pt x="95" y="184"/>
                  </a:cubicBezTo>
                  <a:cubicBezTo>
                    <a:pt x="98" y="184"/>
                    <a:pt x="101" y="181"/>
                    <a:pt x="104" y="178"/>
                  </a:cubicBezTo>
                  <a:cubicBezTo>
                    <a:pt x="107" y="176"/>
                    <a:pt x="108" y="177"/>
                    <a:pt x="110" y="176"/>
                  </a:cubicBezTo>
                  <a:cubicBezTo>
                    <a:pt x="112" y="175"/>
                    <a:pt x="111" y="171"/>
                    <a:pt x="113" y="170"/>
                  </a:cubicBezTo>
                  <a:cubicBezTo>
                    <a:pt x="115" y="170"/>
                    <a:pt x="117" y="168"/>
                    <a:pt x="117" y="166"/>
                  </a:cubicBezTo>
                  <a:cubicBezTo>
                    <a:pt x="117" y="164"/>
                    <a:pt x="111" y="164"/>
                    <a:pt x="111" y="163"/>
                  </a:cubicBezTo>
                  <a:cubicBezTo>
                    <a:pt x="110" y="162"/>
                    <a:pt x="115" y="157"/>
                    <a:pt x="117" y="157"/>
                  </a:cubicBezTo>
                  <a:cubicBezTo>
                    <a:pt x="119" y="157"/>
                    <a:pt x="122" y="155"/>
                    <a:pt x="123" y="152"/>
                  </a:cubicBezTo>
                  <a:cubicBezTo>
                    <a:pt x="123" y="149"/>
                    <a:pt x="126" y="149"/>
                    <a:pt x="128" y="146"/>
                  </a:cubicBezTo>
                  <a:cubicBezTo>
                    <a:pt x="130" y="144"/>
                    <a:pt x="130" y="142"/>
                    <a:pt x="132" y="142"/>
                  </a:cubicBezTo>
                  <a:cubicBezTo>
                    <a:pt x="134" y="141"/>
                    <a:pt x="137" y="138"/>
                    <a:pt x="139" y="137"/>
                  </a:cubicBezTo>
                  <a:cubicBezTo>
                    <a:pt x="142" y="135"/>
                    <a:pt x="139" y="139"/>
                    <a:pt x="144" y="139"/>
                  </a:cubicBezTo>
                  <a:cubicBezTo>
                    <a:pt x="149" y="139"/>
                    <a:pt x="148" y="143"/>
                    <a:pt x="144" y="142"/>
                  </a:cubicBezTo>
                  <a:cubicBezTo>
                    <a:pt x="140" y="140"/>
                    <a:pt x="139" y="140"/>
                    <a:pt x="136" y="143"/>
                  </a:cubicBezTo>
                  <a:cubicBezTo>
                    <a:pt x="132" y="146"/>
                    <a:pt x="135" y="147"/>
                    <a:pt x="132" y="151"/>
                  </a:cubicBezTo>
                  <a:cubicBezTo>
                    <a:pt x="130" y="154"/>
                    <a:pt x="130" y="156"/>
                    <a:pt x="133" y="157"/>
                  </a:cubicBezTo>
                  <a:cubicBezTo>
                    <a:pt x="136" y="157"/>
                    <a:pt x="133" y="159"/>
                    <a:pt x="130" y="160"/>
                  </a:cubicBezTo>
                  <a:cubicBezTo>
                    <a:pt x="127" y="161"/>
                    <a:pt x="129" y="163"/>
                    <a:pt x="133" y="163"/>
                  </a:cubicBezTo>
                  <a:cubicBezTo>
                    <a:pt x="137" y="163"/>
                    <a:pt x="144" y="157"/>
                    <a:pt x="149" y="154"/>
                  </a:cubicBezTo>
                  <a:cubicBezTo>
                    <a:pt x="155" y="151"/>
                    <a:pt x="159" y="154"/>
                    <a:pt x="161" y="154"/>
                  </a:cubicBezTo>
                  <a:cubicBezTo>
                    <a:pt x="162" y="153"/>
                    <a:pt x="159" y="150"/>
                    <a:pt x="161" y="149"/>
                  </a:cubicBezTo>
                  <a:cubicBezTo>
                    <a:pt x="163" y="149"/>
                    <a:pt x="159" y="148"/>
                    <a:pt x="157" y="145"/>
                  </a:cubicBezTo>
                  <a:cubicBezTo>
                    <a:pt x="156" y="141"/>
                    <a:pt x="159" y="143"/>
                    <a:pt x="160" y="141"/>
                  </a:cubicBezTo>
                  <a:cubicBezTo>
                    <a:pt x="161" y="138"/>
                    <a:pt x="163" y="139"/>
                    <a:pt x="165" y="140"/>
                  </a:cubicBezTo>
                  <a:cubicBezTo>
                    <a:pt x="166" y="142"/>
                    <a:pt x="169" y="139"/>
                    <a:pt x="170" y="143"/>
                  </a:cubicBezTo>
                  <a:cubicBezTo>
                    <a:pt x="172" y="146"/>
                    <a:pt x="174" y="142"/>
                    <a:pt x="177" y="144"/>
                  </a:cubicBezTo>
                  <a:cubicBezTo>
                    <a:pt x="180" y="146"/>
                    <a:pt x="176" y="146"/>
                    <a:pt x="173" y="147"/>
                  </a:cubicBezTo>
                  <a:cubicBezTo>
                    <a:pt x="170" y="147"/>
                    <a:pt x="172" y="151"/>
                    <a:pt x="174" y="149"/>
                  </a:cubicBezTo>
                  <a:cubicBezTo>
                    <a:pt x="176" y="148"/>
                    <a:pt x="178" y="146"/>
                    <a:pt x="180" y="148"/>
                  </a:cubicBezTo>
                  <a:cubicBezTo>
                    <a:pt x="183" y="150"/>
                    <a:pt x="183" y="149"/>
                    <a:pt x="185" y="148"/>
                  </a:cubicBezTo>
                  <a:cubicBezTo>
                    <a:pt x="187" y="146"/>
                    <a:pt x="187" y="148"/>
                    <a:pt x="187" y="149"/>
                  </a:cubicBezTo>
                  <a:cubicBezTo>
                    <a:pt x="187" y="151"/>
                    <a:pt x="191" y="151"/>
                    <a:pt x="196" y="152"/>
                  </a:cubicBezTo>
                  <a:cubicBezTo>
                    <a:pt x="201" y="153"/>
                    <a:pt x="211" y="152"/>
                    <a:pt x="214" y="151"/>
                  </a:cubicBezTo>
                  <a:cubicBezTo>
                    <a:pt x="216" y="151"/>
                    <a:pt x="215" y="155"/>
                    <a:pt x="221" y="156"/>
                  </a:cubicBezTo>
                  <a:cubicBezTo>
                    <a:pt x="226" y="157"/>
                    <a:pt x="228" y="151"/>
                    <a:pt x="231" y="153"/>
                  </a:cubicBezTo>
                  <a:cubicBezTo>
                    <a:pt x="233" y="155"/>
                    <a:pt x="231" y="156"/>
                    <a:pt x="229" y="158"/>
                  </a:cubicBezTo>
                  <a:cubicBezTo>
                    <a:pt x="227" y="160"/>
                    <a:pt x="231" y="160"/>
                    <a:pt x="233" y="161"/>
                  </a:cubicBezTo>
                  <a:cubicBezTo>
                    <a:pt x="235" y="162"/>
                    <a:pt x="240" y="163"/>
                    <a:pt x="242" y="166"/>
                  </a:cubicBezTo>
                  <a:cubicBezTo>
                    <a:pt x="245" y="168"/>
                    <a:pt x="246" y="170"/>
                    <a:pt x="252" y="173"/>
                  </a:cubicBezTo>
                  <a:cubicBezTo>
                    <a:pt x="257" y="176"/>
                    <a:pt x="252" y="166"/>
                    <a:pt x="256" y="169"/>
                  </a:cubicBezTo>
                  <a:cubicBezTo>
                    <a:pt x="261" y="173"/>
                    <a:pt x="259" y="169"/>
                    <a:pt x="263" y="173"/>
                  </a:cubicBezTo>
                  <a:cubicBezTo>
                    <a:pt x="266" y="176"/>
                    <a:pt x="265" y="171"/>
                    <a:pt x="264" y="166"/>
                  </a:cubicBezTo>
                  <a:cubicBezTo>
                    <a:pt x="262" y="161"/>
                    <a:pt x="265" y="164"/>
                    <a:pt x="267" y="167"/>
                  </a:cubicBezTo>
                  <a:cubicBezTo>
                    <a:pt x="268" y="169"/>
                    <a:pt x="268" y="174"/>
                    <a:pt x="267" y="177"/>
                  </a:cubicBezTo>
                  <a:cubicBezTo>
                    <a:pt x="266" y="180"/>
                    <a:pt x="261" y="178"/>
                    <a:pt x="261" y="176"/>
                  </a:cubicBezTo>
                  <a:cubicBezTo>
                    <a:pt x="262" y="174"/>
                    <a:pt x="256" y="175"/>
                    <a:pt x="256" y="177"/>
                  </a:cubicBezTo>
                  <a:cubicBezTo>
                    <a:pt x="256" y="180"/>
                    <a:pt x="260" y="185"/>
                    <a:pt x="262" y="185"/>
                  </a:cubicBezTo>
                  <a:cubicBezTo>
                    <a:pt x="265" y="186"/>
                    <a:pt x="263" y="190"/>
                    <a:pt x="265" y="191"/>
                  </a:cubicBezTo>
                  <a:cubicBezTo>
                    <a:pt x="267" y="191"/>
                    <a:pt x="267" y="196"/>
                    <a:pt x="269" y="195"/>
                  </a:cubicBezTo>
                  <a:cubicBezTo>
                    <a:pt x="270" y="195"/>
                    <a:pt x="270" y="189"/>
                    <a:pt x="268" y="187"/>
                  </a:cubicBezTo>
                  <a:cubicBezTo>
                    <a:pt x="266" y="184"/>
                    <a:pt x="267" y="181"/>
                    <a:pt x="269" y="181"/>
                  </a:cubicBezTo>
                  <a:cubicBezTo>
                    <a:pt x="271" y="182"/>
                    <a:pt x="269" y="186"/>
                    <a:pt x="270" y="187"/>
                  </a:cubicBezTo>
                  <a:cubicBezTo>
                    <a:pt x="271" y="188"/>
                    <a:pt x="273" y="186"/>
                    <a:pt x="275" y="184"/>
                  </a:cubicBezTo>
                  <a:cubicBezTo>
                    <a:pt x="278" y="183"/>
                    <a:pt x="274" y="179"/>
                    <a:pt x="275" y="177"/>
                  </a:cubicBezTo>
                  <a:cubicBezTo>
                    <a:pt x="276" y="174"/>
                    <a:pt x="279" y="178"/>
                    <a:pt x="280" y="182"/>
                  </a:cubicBezTo>
                  <a:cubicBezTo>
                    <a:pt x="281" y="186"/>
                    <a:pt x="277" y="186"/>
                    <a:pt x="277" y="188"/>
                  </a:cubicBezTo>
                  <a:cubicBezTo>
                    <a:pt x="277" y="190"/>
                    <a:pt x="274" y="189"/>
                    <a:pt x="273" y="190"/>
                  </a:cubicBezTo>
                  <a:cubicBezTo>
                    <a:pt x="272" y="191"/>
                    <a:pt x="272" y="198"/>
                    <a:pt x="274" y="198"/>
                  </a:cubicBezTo>
                  <a:cubicBezTo>
                    <a:pt x="275" y="198"/>
                    <a:pt x="276" y="192"/>
                    <a:pt x="277" y="195"/>
                  </a:cubicBezTo>
                  <a:cubicBezTo>
                    <a:pt x="278" y="198"/>
                    <a:pt x="281" y="191"/>
                    <a:pt x="282" y="194"/>
                  </a:cubicBezTo>
                  <a:cubicBezTo>
                    <a:pt x="283" y="197"/>
                    <a:pt x="287" y="200"/>
                    <a:pt x="289" y="200"/>
                  </a:cubicBezTo>
                  <a:cubicBezTo>
                    <a:pt x="290" y="199"/>
                    <a:pt x="288" y="196"/>
                    <a:pt x="285" y="196"/>
                  </a:cubicBezTo>
                  <a:cubicBezTo>
                    <a:pt x="283" y="196"/>
                    <a:pt x="283" y="191"/>
                    <a:pt x="286" y="191"/>
                  </a:cubicBezTo>
                  <a:cubicBezTo>
                    <a:pt x="288" y="191"/>
                    <a:pt x="292" y="197"/>
                    <a:pt x="292" y="199"/>
                  </a:cubicBezTo>
                  <a:cubicBezTo>
                    <a:pt x="292" y="201"/>
                    <a:pt x="290" y="201"/>
                    <a:pt x="288" y="203"/>
                  </a:cubicBezTo>
                  <a:cubicBezTo>
                    <a:pt x="286" y="206"/>
                    <a:pt x="283" y="200"/>
                    <a:pt x="281" y="200"/>
                  </a:cubicBezTo>
                  <a:cubicBezTo>
                    <a:pt x="279" y="200"/>
                    <a:pt x="281" y="204"/>
                    <a:pt x="282" y="206"/>
                  </a:cubicBezTo>
                  <a:cubicBezTo>
                    <a:pt x="283" y="209"/>
                    <a:pt x="279" y="212"/>
                    <a:pt x="282" y="214"/>
                  </a:cubicBezTo>
                  <a:cubicBezTo>
                    <a:pt x="285" y="216"/>
                    <a:pt x="284" y="213"/>
                    <a:pt x="285" y="211"/>
                  </a:cubicBezTo>
                  <a:cubicBezTo>
                    <a:pt x="285" y="210"/>
                    <a:pt x="288" y="212"/>
                    <a:pt x="289" y="213"/>
                  </a:cubicBezTo>
                  <a:cubicBezTo>
                    <a:pt x="291" y="214"/>
                    <a:pt x="291" y="210"/>
                    <a:pt x="291" y="209"/>
                  </a:cubicBezTo>
                  <a:cubicBezTo>
                    <a:pt x="291" y="207"/>
                    <a:pt x="294" y="208"/>
                    <a:pt x="295" y="210"/>
                  </a:cubicBezTo>
                  <a:cubicBezTo>
                    <a:pt x="297" y="212"/>
                    <a:pt x="297" y="208"/>
                    <a:pt x="299" y="208"/>
                  </a:cubicBezTo>
                  <a:cubicBezTo>
                    <a:pt x="301" y="208"/>
                    <a:pt x="300" y="212"/>
                    <a:pt x="300" y="214"/>
                  </a:cubicBezTo>
                  <a:cubicBezTo>
                    <a:pt x="300" y="216"/>
                    <a:pt x="303" y="212"/>
                    <a:pt x="303" y="214"/>
                  </a:cubicBezTo>
                  <a:cubicBezTo>
                    <a:pt x="303" y="215"/>
                    <a:pt x="303" y="215"/>
                    <a:pt x="303" y="215"/>
                  </a:cubicBezTo>
                  <a:cubicBezTo>
                    <a:pt x="305" y="214"/>
                    <a:pt x="307" y="212"/>
                    <a:pt x="308" y="211"/>
                  </a:cubicBezTo>
                  <a:cubicBezTo>
                    <a:pt x="312" y="209"/>
                    <a:pt x="306" y="207"/>
                    <a:pt x="307" y="204"/>
                  </a:cubicBezTo>
                  <a:close/>
                  <a:moveTo>
                    <a:pt x="6" y="229"/>
                  </a:moveTo>
                  <a:cubicBezTo>
                    <a:pt x="10" y="227"/>
                    <a:pt x="12" y="225"/>
                    <a:pt x="10" y="223"/>
                  </a:cubicBezTo>
                  <a:cubicBezTo>
                    <a:pt x="8" y="221"/>
                    <a:pt x="3" y="231"/>
                    <a:pt x="6" y="229"/>
                  </a:cubicBezTo>
                  <a:close/>
                  <a:moveTo>
                    <a:pt x="36" y="213"/>
                  </a:moveTo>
                  <a:cubicBezTo>
                    <a:pt x="32" y="212"/>
                    <a:pt x="22" y="218"/>
                    <a:pt x="25" y="219"/>
                  </a:cubicBezTo>
                  <a:cubicBezTo>
                    <a:pt x="28" y="219"/>
                    <a:pt x="29" y="216"/>
                    <a:pt x="32" y="216"/>
                  </a:cubicBezTo>
                  <a:cubicBezTo>
                    <a:pt x="35" y="216"/>
                    <a:pt x="40" y="215"/>
                    <a:pt x="36" y="213"/>
                  </a:cubicBezTo>
                  <a:close/>
                  <a:moveTo>
                    <a:pt x="127" y="171"/>
                  </a:moveTo>
                  <a:cubicBezTo>
                    <a:pt x="127" y="169"/>
                    <a:pt x="124" y="169"/>
                    <a:pt x="120" y="174"/>
                  </a:cubicBezTo>
                  <a:cubicBezTo>
                    <a:pt x="117" y="178"/>
                    <a:pt x="114" y="180"/>
                    <a:pt x="113" y="182"/>
                  </a:cubicBezTo>
                  <a:cubicBezTo>
                    <a:pt x="113" y="184"/>
                    <a:pt x="109" y="181"/>
                    <a:pt x="107" y="184"/>
                  </a:cubicBezTo>
                  <a:cubicBezTo>
                    <a:pt x="106" y="186"/>
                    <a:pt x="108" y="192"/>
                    <a:pt x="111" y="190"/>
                  </a:cubicBezTo>
                  <a:cubicBezTo>
                    <a:pt x="113" y="188"/>
                    <a:pt x="113" y="190"/>
                    <a:pt x="115" y="190"/>
                  </a:cubicBezTo>
                  <a:cubicBezTo>
                    <a:pt x="117" y="190"/>
                    <a:pt x="124" y="185"/>
                    <a:pt x="126" y="183"/>
                  </a:cubicBezTo>
                  <a:cubicBezTo>
                    <a:pt x="127" y="180"/>
                    <a:pt x="123" y="179"/>
                    <a:pt x="122" y="178"/>
                  </a:cubicBezTo>
                  <a:cubicBezTo>
                    <a:pt x="122" y="176"/>
                    <a:pt x="126" y="176"/>
                    <a:pt x="128" y="175"/>
                  </a:cubicBezTo>
                  <a:cubicBezTo>
                    <a:pt x="130" y="174"/>
                    <a:pt x="126" y="173"/>
                    <a:pt x="127" y="171"/>
                  </a:cubicBezTo>
                  <a:close/>
                  <a:moveTo>
                    <a:pt x="13" y="150"/>
                  </a:moveTo>
                  <a:cubicBezTo>
                    <a:pt x="13" y="147"/>
                    <a:pt x="5" y="150"/>
                    <a:pt x="6" y="153"/>
                  </a:cubicBezTo>
                  <a:cubicBezTo>
                    <a:pt x="7" y="155"/>
                    <a:pt x="14" y="157"/>
                    <a:pt x="17" y="156"/>
                  </a:cubicBezTo>
                  <a:cubicBezTo>
                    <a:pt x="20" y="155"/>
                    <a:pt x="21" y="152"/>
                    <a:pt x="19" y="151"/>
                  </a:cubicBezTo>
                  <a:cubicBezTo>
                    <a:pt x="17" y="149"/>
                    <a:pt x="13" y="153"/>
                    <a:pt x="13" y="150"/>
                  </a:cubicBezTo>
                  <a:close/>
                  <a:moveTo>
                    <a:pt x="100" y="544"/>
                  </a:moveTo>
                  <a:cubicBezTo>
                    <a:pt x="95" y="545"/>
                    <a:pt x="98" y="556"/>
                    <a:pt x="100" y="554"/>
                  </a:cubicBezTo>
                  <a:cubicBezTo>
                    <a:pt x="102" y="553"/>
                    <a:pt x="105" y="552"/>
                    <a:pt x="106" y="551"/>
                  </a:cubicBezTo>
                  <a:cubicBezTo>
                    <a:pt x="107" y="548"/>
                    <a:pt x="104" y="543"/>
                    <a:pt x="100" y="544"/>
                  </a:cubicBezTo>
                  <a:close/>
                  <a:moveTo>
                    <a:pt x="94" y="537"/>
                  </a:moveTo>
                  <a:cubicBezTo>
                    <a:pt x="91" y="538"/>
                    <a:pt x="93" y="542"/>
                    <a:pt x="95" y="541"/>
                  </a:cubicBezTo>
                  <a:cubicBezTo>
                    <a:pt x="98" y="539"/>
                    <a:pt x="97" y="537"/>
                    <a:pt x="94" y="537"/>
                  </a:cubicBezTo>
                  <a:close/>
                  <a:moveTo>
                    <a:pt x="66" y="528"/>
                  </a:moveTo>
                  <a:cubicBezTo>
                    <a:pt x="69" y="531"/>
                    <a:pt x="70" y="530"/>
                    <a:pt x="71" y="528"/>
                  </a:cubicBezTo>
                  <a:cubicBezTo>
                    <a:pt x="72" y="526"/>
                    <a:pt x="64" y="525"/>
                    <a:pt x="66" y="528"/>
                  </a:cubicBezTo>
                  <a:close/>
                  <a:moveTo>
                    <a:pt x="79" y="534"/>
                  </a:moveTo>
                  <a:cubicBezTo>
                    <a:pt x="80" y="536"/>
                    <a:pt x="82" y="537"/>
                    <a:pt x="84" y="534"/>
                  </a:cubicBezTo>
                  <a:cubicBezTo>
                    <a:pt x="85" y="532"/>
                    <a:pt x="77" y="530"/>
                    <a:pt x="79" y="534"/>
                  </a:cubicBezTo>
                  <a:close/>
                  <a:moveTo>
                    <a:pt x="811" y="295"/>
                  </a:moveTo>
                  <a:cubicBezTo>
                    <a:pt x="810" y="292"/>
                    <a:pt x="803" y="294"/>
                    <a:pt x="800" y="292"/>
                  </a:cubicBezTo>
                  <a:cubicBezTo>
                    <a:pt x="797" y="289"/>
                    <a:pt x="791" y="301"/>
                    <a:pt x="790" y="306"/>
                  </a:cubicBezTo>
                  <a:cubicBezTo>
                    <a:pt x="789" y="311"/>
                    <a:pt x="780" y="316"/>
                    <a:pt x="780" y="316"/>
                  </a:cubicBezTo>
                  <a:cubicBezTo>
                    <a:pt x="780" y="316"/>
                    <a:pt x="754" y="317"/>
                    <a:pt x="752" y="317"/>
                  </a:cubicBezTo>
                  <a:cubicBezTo>
                    <a:pt x="751" y="317"/>
                    <a:pt x="745" y="322"/>
                    <a:pt x="741" y="325"/>
                  </a:cubicBezTo>
                  <a:cubicBezTo>
                    <a:pt x="741" y="325"/>
                    <a:pt x="742" y="325"/>
                    <a:pt x="742" y="325"/>
                  </a:cubicBezTo>
                  <a:cubicBezTo>
                    <a:pt x="744" y="330"/>
                    <a:pt x="735" y="333"/>
                    <a:pt x="726" y="333"/>
                  </a:cubicBezTo>
                  <a:cubicBezTo>
                    <a:pt x="723" y="333"/>
                    <a:pt x="721" y="333"/>
                    <a:pt x="720" y="334"/>
                  </a:cubicBezTo>
                  <a:cubicBezTo>
                    <a:pt x="720" y="335"/>
                    <a:pt x="720" y="336"/>
                    <a:pt x="720" y="337"/>
                  </a:cubicBezTo>
                  <a:cubicBezTo>
                    <a:pt x="720" y="337"/>
                    <a:pt x="719" y="338"/>
                    <a:pt x="718" y="339"/>
                  </a:cubicBezTo>
                  <a:cubicBezTo>
                    <a:pt x="716" y="342"/>
                    <a:pt x="705" y="347"/>
                    <a:pt x="699" y="350"/>
                  </a:cubicBezTo>
                  <a:cubicBezTo>
                    <a:pt x="692" y="354"/>
                    <a:pt x="683" y="352"/>
                    <a:pt x="683" y="347"/>
                  </a:cubicBezTo>
                  <a:cubicBezTo>
                    <a:pt x="683" y="341"/>
                    <a:pt x="688" y="342"/>
                    <a:pt x="689" y="345"/>
                  </a:cubicBezTo>
                  <a:cubicBezTo>
                    <a:pt x="690" y="346"/>
                    <a:pt x="691" y="345"/>
                    <a:pt x="692" y="344"/>
                  </a:cubicBezTo>
                  <a:cubicBezTo>
                    <a:pt x="691" y="342"/>
                    <a:pt x="691" y="340"/>
                    <a:pt x="691" y="338"/>
                  </a:cubicBezTo>
                  <a:cubicBezTo>
                    <a:pt x="689" y="337"/>
                    <a:pt x="692" y="329"/>
                    <a:pt x="688" y="327"/>
                  </a:cubicBezTo>
                  <a:cubicBezTo>
                    <a:pt x="684" y="326"/>
                    <a:pt x="679" y="333"/>
                    <a:pt x="680" y="329"/>
                  </a:cubicBezTo>
                  <a:cubicBezTo>
                    <a:pt x="680" y="324"/>
                    <a:pt x="687" y="320"/>
                    <a:pt x="683" y="314"/>
                  </a:cubicBezTo>
                  <a:cubicBezTo>
                    <a:pt x="679" y="308"/>
                    <a:pt x="672" y="308"/>
                    <a:pt x="670" y="313"/>
                  </a:cubicBezTo>
                  <a:cubicBezTo>
                    <a:pt x="669" y="317"/>
                    <a:pt x="664" y="315"/>
                    <a:pt x="662" y="319"/>
                  </a:cubicBezTo>
                  <a:cubicBezTo>
                    <a:pt x="660" y="322"/>
                    <a:pt x="659" y="330"/>
                    <a:pt x="660" y="336"/>
                  </a:cubicBezTo>
                  <a:cubicBezTo>
                    <a:pt x="661" y="342"/>
                    <a:pt x="660" y="344"/>
                    <a:pt x="654" y="348"/>
                  </a:cubicBezTo>
                  <a:cubicBezTo>
                    <a:pt x="649" y="351"/>
                    <a:pt x="646" y="343"/>
                    <a:pt x="648" y="332"/>
                  </a:cubicBezTo>
                  <a:cubicBezTo>
                    <a:pt x="650" y="325"/>
                    <a:pt x="654" y="318"/>
                    <a:pt x="650" y="318"/>
                  </a:cubicBezTo>
                  <a:cubicBezTo>
                    <a:pt x="646" y="318"/>
                    <a:pt x="655" y="310"/>
                    <a:pt x="662" y="308"/>
                  </a:cubicBezTo>
                  <a:cubicBezTo>
                    <a:pt x="670" y="306"/>
                    <a:pt x="679" y="307"/>
                    <a:pt x="679" y="305"/>
                  </a:cubicBezTo>
                  <a:cubicBezTo>
                    <a:pt x="679" y="304"/>
                    <a:pt x="679" y="304"/>
                    <a:pt x="680" y="304"/>
                  </a:cubicBezTo>
                  <a:cubicBezTo>
                    <a:pt x="678" y="303"/>
                    <a:pt x="677" y="302"/>
                    <a:pt x="675" y="301"/>
                  </a:cubicBezTo>
                  <a:cubicBezTo>
                    <a:pt x="675" y="301"/>
                    <a:pt x="675" y="302"/>
                    <a:pt x="674" y="302"/>
                  </a:cubicBezTo>
                  <a:cubicBezTo>
                    <a:pt x="671" y="304"/>
                    <a:pt x="672" y="299"/>
                    <a:pt x="667" y="299"/>
                  </a:cubicBezTo>
                  <a:cubicBezTo>
                    <a:pt x="661" y="299"/>
                    <a:pt x="656" y="304"/>
                    <a:pt x="652" y="302"/>
                  </a:cubicBezTo>
                  <a:cubicBezTo>
                    <a:pt x="648" y="299"/>
                    <a:pt x="650" y="297"/>
                    <a:pt x="646" y="297"/>
                  </a:cubicBezTo>
                  <a:cubicBezTo>
                    <a:pt x="642" y="297"/>
                    <a:pt x="649" y="289"/>
                    <a:pt x="643" y="292"/>
                  </a:cubicBezTo>
                  <a:cubicBezTo>
                    <a:pt x="637" y="296"/>
                    <a:pt x="629" y="303"/>
                    <a:pt x="625" y="300"/>
                  </a:cubicBezTo>
                  <a:cubicBezTo>
                    <a:pt x="621" y="296"/>
                    <a:pt x="617" y="301"/>
                    <a:pt x="614" y="298"/>
                  </a:cubicBezTo>
                  <a:cubicBezTo>
                    <a:pt x="612" y="295"/>
                    <a:pt x="624" y="287"/>
                    <a:pt x="630" y="288"/>
                  </a:cubicBezTo>
                  <a:cubicBezTo>
                    <a:pt x="632" y="288"/>
                    <a:pt x="633" y="287"/>
                    <a:pt x="635" y="286"/>
                  </a:cubicBezTo>
                  <a:cubicBezTo>
                    <a:pt x="631" y="285"/>
                    <a:pt x="625" y="282"/>
                    <a:pt x="623" y="285"/>
                  </a:cubicBezTo>
                  <a:cubicBezTo>
                    <a:pt x="621" y="287"/>
                    <a:pt x="618" y="285"/>
                    <a:pt x="616" y="283"/>
                  </a:cubicBezTo>
                  <a:cubicBezTo>
                    <a:pt x="614" y="281"/>
                    <a:pt x="612" y="284"/>
                    <a:pt x="609" y="281"/>
                  </a:cubicBezTo>
                  <a:cubicBezTo>
                    <a:pt x="607" y="277"/>
                    <a:pt x="604" y="280"/>
                    <a:pt x="602" y="280"/>
                  </a:cubicBezTo>
                  <a:cubicBezTo>
                    <a:pt x="600" y="281"/>
                    <a:pt x="598" y="279"/>
                    <a:pt x="595" y="278"/>
                  </a:cubicBezTo>
                  <a:cubicBezTo>
                    <a:pt x="592" y="277"/>
                    <a:pt x="594" y="274"/>
                    <a:pt x="592" y="272"/>
                  </a:cubicBezTo>
                  <a:cubicBezTo>
                    <a:pt x="589" y="270"/>
                    <a:pt x="589" y="276"/>
                    <a:pt x="589" y="276"/>
                  </a:cubicBezTo>
                  <a:cubicBezTo>
                    <a:pt x="367" y="277"/>
                    <a:pt x="367" y="277"/>
                    <a:pt x="367" y="277"/>
                  </a:cubicBezTo>
                  <a:cubicBezTo>
                    <a:pt x="368" y="277"/>
                    <a:pt x="368" y="277"/>
                    <a:pt x="368" y="278"/>
                  </a:cubicBezTo>
                  <a:cubicBezTo>
                    <a:pt x="371" y="281"/>
                    <a:pt x="369" y="283"/>
                    <a:pt x="370" y="286"/>
                  </a:cubicBezTo>
                  <a:cubicBezTo>
                    <a:pt x="371" y="290"/>
                    <a:pt x="370" y="294"/>
                    <a:pt x="367" y="294"/>
                  </a:cubicBezTo>
                  <a:cubicBezTo>
                    <a:pt x="364" y="294"/>
                    <a:pt x="364" y="291"/>
                    <a:pt x="366" y="290"/>
                  </a:cubicBezTo>
                  <a:cubicBezTo>
                    <a:pt x="368" y="289"/>
                    <a:pt x="367" y="285"/>
                    <a:pt x="365" y="285"/>
                  </a:cubicBezTo>
                  <a:cubicBezTo>
                    <a:pt x="364" y="285"/>
                    <a:pt x="363" y="284"/>
                    <a:pt x="363" y="282"/>
                  </a:cubicBezTo>
                  <a:cubicBezTo>
                    <a:pt x="360" y="283"/>
                    <a:pt x="356" y="283"/>
                    <a:pt x="351" y="282"/>
                  </a:cubicBezTo>
                  <a:cubicBezTo>
                    <a:pt x="351" y="282"/>
                    <a:pt x="351" y="283"/>
                    <a:pt x="351" y="283"/>
                  </a:cubicBezTo>
                  <a:cubicBezTo>
                    <a:pt x="351" y="285"/>
                    <a:pt x="352" y="290"/>
                    <a:pt x="355" y="294"/>
                  </a:cubicBezTo>
                  <a:cubicBezTo>
                    <a:pt x="358" y="297"/>
                    <a:pt x="356" y="300"/>
                    <a:pt x="359" y="301"/>
                  </a:cubicBezTo>
                  <a:cubicBezTo>
                    <a:pt x="361" y="303"/>
                    <a:pt x="361" y="304"/>
                    <a:pt x="359" y="304"/>
                  </a:cubicBezTo>
                  <a:cubicBezTo>
                    <a:pt x="356" y="303"/>
                    <a:pt x="358" y="306"/>
                    <a:pt x="357" y="311"/>
                  </a:cubicBezTo>
                  <a:cubicBezTo>
                    <a:pt x="356" y="316"/>
                    <a:pt x="356" y="327"/>
                    <a:pt x="356" y="331"/>
                  </a:cubicBezTo>
                  <a:cubicBezTo>
                    <a:pt x="355" y="334"/>
                    <a:pt x="351" y="340"/>
                    <a:pt x="354" y="343"/>
                  </a:cubicBezTo>
                  <a:cubicBezTo>
                    <a:pt x="356" y="347"/>
                    <a:pt x="358" y="352"/>
                    <a:pt x="356" y="356"/>
                  </a:cubicBezTo>
                  <a:cubicBezTo>
                    <a:pt x="355" y="361"/>
                    <a:pt x="355" y="364"/>
                    <a:pt x="357" y="367"/>
                  </a:cubicBezTo>
                  <a:cubicBezTo>
                    <a:pt x="359" y="370"/>
                    <a:pt x="358" y="376"/>
                    <a:pt x="360" y="377"/>
                  </a:cubicBezTo>
                  <a:cubicBezTo>
                    <a:pt x="362" y="379"/>
                    <a:pt x="364" y="381"/>
                    <a:pt x="366" y="384"/>
                  </a:cubicBezTo>
                  <a:cubicBezTo>
                    <a:pt x="368" y="388"/>
                    <a:pt x="369" y="386"/>
                    <a:pt x="370" y="389"/>
                  </a:cubicBezTo>
                  <a:cubicBezTo>
                    <a:pt x="370" y="392"/>
                    <a:pt x="370" y="393"/>
                    <a:pt x="373" y="394"/>
                  </a:cubicBezTo>
                  <a:cubicBezTo>
                    <a:pt x="376" y="395"/>
                    <a:pt x="374" y="398"/>
                    <a:pt x="374" y="400"/>
                  </a:cubicBezTo>
                  <a:cubicBezTo>
                    <a:pt x="374" y="402"/>
                    <a:pt x="378" y="405"/>
                    <a:pt x="383" y="409"/>
                  </a:cubicBezTo>
                  <a:cubicBezTo>
                    <a:pt x="387" y="413"/>
                    <a:pt x="383" y="417"/>
                    <a:pt x="387" y="417"/>
                  </a:cubicBezTo>
                  <a:cubicBezTo>
                    <a:pt x="390" y="417"/>
                    <a:pt x="393" y="419"/>
                    <a:pt x="397" y="421"/>
                  </a:cubicBezTo>
                  <a:cubicBezTo>
                    <a:pt x="400" y="423"/>
                    <a:pt x="401" y="422"/>
                    <a:pt x="403" y="422"/>
                  </a:cubicBezTo>
                  <a:cubicBezTo>
                    <a:pt x="406" y="423"/>
                    <a:pt x="410" y="428"/>
                    <a:pt x="411" y="431"/>
                  </a:cubicBezTo>
                  <a:cubicBezTo>
                    <a:pt x="411" y="433"/>
                    <a:pt x="412" y="434"/>
                    <a:pt x="413" y="436"/>
                  </a:cubicBezTo>
                  <a:cubicBezTo>
                    <a:pt x="431" y="434"/>
                    <a:pt x="431" y="434"/>
                    <a:pt x="431" y="434"/>
                  </a:cubicBezTo>
                  <a:cubicBezTo>
                    <a:pt x="431" y="434"/>
                    <a:pt x="437" y="438"/>
                    <a:pt x="440" y="439"/>
                  </a:cubicBezTo>
                  <a:cubicBezTo>
                    <a:pt x="443" y="439"/>
                    <a:pt x="461" y="446"/>
                    <a:pt x="461" y="446"/>
                  </a:cubicBezTo>
                  <a:cubicBezTo>
                    <a:pt x="484" y="446"/>
                    <a:pt x="484" y="446"/>
                    <a:pt x="484" y="446"/>
                  </a:cubicBezTo>
                  <a:cubicBezTo>
                    <a:pt x="486" y="442"/>
                    <a:pt x="486" y="442"/>
                    <a:pt x="486" y="442"/>
                  </a:cubicBezTo>
                  <a:cubicBezTo>
                    <a:pt x="499" y="442"/>
                    <a:pt x="499" y="442"/>
                    <a:pt x="499" y="442"/>
                  </a:cubicBezTo>
                  <a:cubicBezTo>
                    <a:pt x="499" y="442"/>
                    <a:pt x="507" y="450"/>
                    <a:pt x="508" y="450"/>
                  </a:cubicBezTo>
                  <a:cubicBezTo>
                    <a:pt x="509" y="451"/>
                    <a:pt x="513" y="454"/>
                    <a:pt x="513" y="457"/>
                  </a:cubicBezTo>
                  <a:cubicBezTo>
                    <a:pt x="513" y="459"/>
                    <a:pt x="514" y="461"/>
                    <a:pt x="516" y="462"/>
                  </a:cubicBezTo>
                  <a:cubicBezTo>
                    <a:pt x="518" y="463"/>
                    <a:pt x="525" y="467"/>
                    <a:pt x="525" y="467"/>
                  </a:cubicBezTo>
                  <a:cubicBezTo>
                    <a:pt x="526" y="466"/>
                    <a:pt x="528" y="459"/>
                    <a:pt x="532" y="459"/>
                  </a:cubicBezTo>
                  <a:cubicBezTo>
                    <a:pt x="535" y="459"/>
                    <a:pt x="545" y="462"/>
                    <a:pt x="546" y="467"/>
                  </a:cubicBezTo>
                  <a:cubicBezTo>
                    <a:pt x="548" y="473"/>
                    <a:pt x="552" y="477"/>
                    <a:pt x="554" y="478"/>
                  </a:cubicBezTo>
                  <a:cubicBezTo>
                    <a:pt x="555" y="479"/>
                    <a:pt x="554" y="483"/>
                    <a:pt x="556" y="484"/>
                  </a:cubicBezTo>
                  <a:cubicBezTo>
                    <a:pt x="557" y="486"/>
                    <a:pt x="557" y="489"/>
                    <a:pt x="558" y="489"/>
                  </a:cubicBezTo>
                  <a:cubicBezTo>
                    <a:pt x="559" y="489"/>
                    <a:pt x="566" y="493"/>
                    <a:pt x="569" y="493"/>
                  </a:cubicBezTo>
                  <a:cubicBezTo>
                    <a:pt x="570" y="493"/>
                    <a:pt x="571" y="494"/>
                    <a:pt x="572" y="494"/>
                  </a:cubicBezTo>
                  <a:cubicBezTo>
                    <a:pt x="573" y="488"/>
                    <a:pt x="566" y="487"/>
                    <a:pt x="570" y="484"/>
                  </a:cubicBezTo>
                  <a:cubicBezTo>
                    <a:pt x="575" y="481"/>
                    <a:pt x="570" y="478"/>
                    <a:pt x="572" y="476"/>
                  </a:cubicBezTo>
                  <a:cubicBezTo>
                    <a:pt x="574" y="475"/>
                    <a:pt x="578" y="474"/>
                    <a:pt x="578" y="471"/>
                  </a:cubicBezTo>
                  <a:cubicBezTo>
                    <a:pt x="578" y="469"/>
                    <a:pt x="580" y="469"/>
                    <a:pt x="583" y="470"/>
                  </a:cubicBezTo>
                  <a:cubicBezTo>
                    <a:pt x="586" y="470"/>
                    <a:pt x="591" y="465"/>
                    <a:pt x="591" y="463"/>
                  </a:cubicBezTo>
                  <a:cubicBezTo>
                    <a:pt x="590" y="461"/>
                    <a:pt x="591" y="461"/>
                    <a:pt x="595" y="461"/>
                  </a:cubicBezTo>
                  <a:cubicBezTo>
                    <a:pt x="598" y="462"/>
                    <a:pt x="597" y="458"/>
                    <a:pt x="600" y="458"/>
                  </a:cubicBezTo>
                  <a:cubicBezTo>
                    <a:pt x="602" y="459"/>
                    <a:pt x="603" y="460"/>
                    <a:pt x="604" y="459"/>
                  </a:cubicBezTo>
                  <a:cubicBezTo>
                    <a:pt x="604" y="457"/>
                    <a:pt x="606" y="457"/>
                    <a:pt x="608" y="459"/>
                  </a:cubicBezTo>
                  <a:cubicBezTo>
                    <a:pt x="609" y="462"/>
                    <a:pt x="614" y="462"/>
                    <a:pt x="614" y="460"/>
                  </a:cubicBezTo>
                  <a:cubicBezTo>
                    <a:pt x="615" y="457"/>
                    <a:pt x="617" y="460"/>
                    <a:pt x="620" y="462"/>
                  </a:cubicBezTo>
                  <a:cubicBezTo>
                    <a:pt x="622" y="465"/>
                    <a:pt x="623" y="464"/>
                    <a:pt x="626" y="464"/>
                  </a:cubicBezTo>
                  <a:cubicBezTo>
                    <a:pt x="630" y="464"/>
                    <a:pt x="630" y="463"/>
                    <a:pt x="630" y="461"/>
                  </a:cubicBezTo>
                  <a:cubicBezTo>
                    <a:pt x="630" y="459"/>
                    <a:pt x="634" y="466"/>
                    <a:pt x="637" y="466"/>
                  </a:cubicBezTo>
                  <a:cubicBezTo>
                    <a:pt x="640" y="467"/>
                    <a:pt x="638" y="464"/>
                    <a:pt x="635" y="462"/>
                  </a:cubicBezTo>
                  <a:cubicBezTo>
                    <a:pt x="633" y="460"/>
                    <a:pt x="636" y="459"/>
                    <a:pt x="634" y="458"/>
                  </a:cubicBezTo>
                  <a:cubicBezTo>
                    <a:pt x="631" y="456"/>
                    <a:pt x="636" y="454"/>
                    <a:pt x="641" y="454"/>
                  </a:cubicBezTo>
                  <a:cubicBezTo>
                    <a:pt x="645" y="454"/>
                    <a:pt x="645" y="455"/>
                    <a:pt x="646" y="453"/>
                  </a:cubicBezTo>
                  <a:cubicBezTo>
                    <a:pt x="648" y="450"/>
                    <a:pt x="649" y="453"/>
                    <a:pt x="649" y="455"/>
                  </a:cubicBezTo>
                  <a:cubicBezTo>
                    <a:pt x="649" y="457"/>
                    <a:pt x="656" y="454"/>
                    <a:pt x="660" y="454"/>
                  </a:cubicBezTo>
                  <a:cubicBezTo>
                    <a:pt x="664" y="454"/>
                    <a:pt x="667" y="457"/>
                    <a:pt x="668" y="459"/>
                  </a:cubicBezTo>
                  <a:cubicBezTo>
                    <a:pt x="668" y="461"/>
                    <a:pt x="671" y="462"/>
                    <a:pt x="673" y="460"/>
                  </a:cubicBezTo>
                  <a:cubicBezTo>
                    <a:pt x="676" y="458"/>
                    <a:pt x="678" y="455"/>
                    <a:pt x="681" y="458"/>
                  </a:cubicBezTo>
                  <a:cubicBezTo>
                    <a:pt x="683" y="460"/>
                    <a:pt x="686" y="463"/>
                    <a:pt x="689" y="466"/>
                  </a:cubicBezTo>
                  <a:cubicBezTo>
                    <a:pt x="692" y="469"/>
                    <a:pt x="687" y="473"/>
                    <a:pt x="689" y="476"/>
                  </a:cubicBezTo>
                  <a:cubicBezTo>
                    <a:pt x="691" y="478"/>
                    <a:pt x="689" y="481"/>
                    <a:pt x="692" y="484"/>
                  </a:cubicBezTo>
                  <a:cubicBezTo>
                    <a:pt x="696" y="486"/>
                    <a:pt x="693" y="491"/>
                    <a:pt x="696" y="492"/>
                  </a:cubicBezTo>
                  <a:cubicBezTo>
                    <a:pt x="698" y="493"/>
                    <a:pt x="701" y="497"/>
                    <a:pt x="701" y="499"/>
                  </a:cubicBezTo>
                  <a:cubicBezTo>
                    <a:pt x="701" y="501"/>
                    <a:pt x="707" y="503"/>
                    <a:pt x="707" y="500"/>
                  </a:cubicBezTo>
                  <a:cubicBezTo>
                    <a:pt x="707" y="497"/>
                    <a:pt x="710" y="493"/>
                    <a:pt x="711" y="490"/>
                  </a:cubicBezTo>
                  <a:cubicBezTo>
                    <a:pt x="711" y="488"/>
                    <a:pt x="709" y="477"/>
                    <a:pt x="706" y="474"/>
                  </a:cubicBezTo>
                  <a:cubicBezTo>
                    <a:pt x="704" y="471"/>
                    <a:pt x="707" y="470"/>
                    <a:pt x="704" y="467"/>
                  </a:cubicBezTo>
                  <a:cubicBezTo>
                    <a:pt x="701" y="463"/>
                    <a:pt x="699" y="456"/>
                    <a:pt x="699" y="451"/>
                  </a:cubicBezTo>
                  <a:cubicBezTo>
                    <a:pt x="700" y="446"/>
                    <a:pt x="706" y="437"/>
                    <a:pt x="709" y="434"/>
                  </a:cubicBezTo>
                  <a:cubicBezTo>
                    <a:pt x="712" y="431"/>
                    <a:pt x="715" y="433"/>
                    <a:pt x="716" y="430"/>
                  </a:cubicBezTo>
                  <a:cubicBezTo>
                    <a:pt x="717" y="427"/>
                    <a:pt x="720" y="424"/>
                    <a:pt x="723" y="424"/>
                  </a:cubicBezTo>
                  <a:cubicBezTo>
                    <a:pt x="725" y="424"/>
                    <a:pt x="727" y="424"/>
                    <a:pt x="727" y="422"/>
                  </a:cubicBezTo>
                  <a:cubicBezTo>
                    <a:pt x="728" y="420"/>
                    <a:pt x="731" y="417"/>
                    <a:pt x="736" y="416"/>
                  </a:cubicBezTo>
                  <a:cubicBezTo>
                    <a:pt x="741" y="415"/>
                    <a:pt x="738" y="413"/>
                    <a:pt x="737" y="411"/>
                  </a:cubicBezTo>
                  <a:cubicBezTo>
                    <a:pt x="735" y="408"/>
                    <a:pt x="738" y="406"/>
                    <a:pt x="739" y="408"/>
                  </a:cubicBezTo>
                  <a:cubicBezTo>
                    <a:pt x="740" y="409"/>
                    <a:pt x="742" y="409"/>
                    <a:pt x="744" y="408"/>
                  </a:cubicBezTo>
                  <a:cubicBezTo>
                    <a:pt x="746" y="407"/>
                    <a:pt x="750" y="403"/>
                    <a:pt x="746" y="403"/>
                  </a:cubicBezTo>
                  <a:cubicBezTo>
                    <a:pt x="742" y="403"/>
                    <a:pt x="741" y="402"/>
                    <a:pt x="744" y="401"/>
                  </a:cubicBezTo>
                  <a:cubicBezTo>
                    <a:pt x="746" y="400"/>
                    <a:pt x="744" y="395"/>
                    <a:pt x="741" y="395"/>
                  </a:cubicBezTo>
                  <a:cubicBezTo>
                    <a:pt x="738" y="395"/>
                    <a:pt x="739" y="393"/>
                    <a:pt x="741" y="391"/>
                  </a:cubicBezTo>
                  <a:cubicBezTo>
                    <a:pt x="743" y="389"/>
                    <a:pt x="738" y="386"/>
                    <a:pt x="735" y="384"/>
                  </a:cubicBezTo>
                  <a:cubicBezTo>
                    <a:pt x="733" y="383"/>
                    <a:pt x="737" y="382"/>
                    <a:pt x="739" y="382"/>
                  </a:cubicBezTo>
                  <a:cubicBezTo>
                    <a:pt x="740" y="381"/>
                    <a:pt x="739" y="373"/>
                    <a:pt x="740" y="371"/>
                  </a:cubicBezTo>
                  <a:cubicBezTo>
                    <a:pt x="741" y="369"/>
                    <a:pt x="744" y="369"/>
                    <a:pt x="743" y="371"/>
                  </a:cubicBezTo>
                  <a:cubicBezTo>
                    <a:pt x="741" y="373"/>
                    <a:pt x="740" y="376"/>
                    <a:pt x="742" y="379"/>
                  </a:cubicBezTo>
                  <a:cubicBezTo>
                    <a:pt x="744" y="382"/>
                    <a:pt x="745" y="384"/>
                    <a:pt x="744" y="388"/>
                  </a:cubicBezTo>
                  <a:cubicBezTo>
                    <a:pt x="743" y="393"/>
                    <a:pt x="745" y="392"/>
                    <a:pt x="748" y="386"/>
                  </a:cubicBezTo>
                  <a:cubicBezTo>
                    <a:pt x="750" y="381"/>
                    <a:pt x="751" y="376"/>
                    <a:pt x="749" y="376"/>
                  </a:cubicBezTo>
                  <a:cubicBezTo>
                    <a:pt x="747" y="375"/>
                    <a:pt x="747" y="370"/>
                    <a:pt x="749" y="372"/>
                  </a:cubicBezTo>
                  <a:cubicBezTo>
                    <a:pt x="751" y="375"/>
                    <a:pt x="752" y="375"/>
                    <a:pt x="755" y="372"/>
                  </a:cubicBezTo>
                  <a:cubicBezTo>
                    <a:pt x="758" y="369"/>
                    <a:pt x="761" y="363"/>
                    <a:pt x="759" y="362"/>
                  </a:cubicBezTo>
                  <a:cubicBezTo>
                    <a:pt x="757" y="361"/>
                    <a:pt x="760" y="359"/>
                    <a:pt x="764" y="360"/>
                  </a:cubicBezTo>
                  <a:cubicBezTo>
                    <a:pt x="767" y="360"/>
                    <a:pt x="775" y="357"/>
                    <a:pt x="775" y="356"/>
                  </a:cubicBezTo>
                  <a:cubicBezTo>
                    <a:pt x="777" y="353"/>
                    <a:pt x="763" y="358"/>
                    <a:pt x="763" y="356"/>
                  </a:cubicBezTo>
                  <a:cubicBezTo>
                    <a:pt x="763" y="354"/>
                    <a:pt x="772" y="352"/>
                    <a:pt x="776" y="352"/>
                  </a:cubicBezTo>
                  <a:cubicBezTo>
                    <a:pt x="780" y="352"/>
                    <a:pt x="778" y="346"/>
                    <a:pt x="780" y="349"/>
                  </a:cubicBezTo>
                  <a:cubicBezTo>
                    <a:pt x="782" y="351"/>
                    <a:pt x="784" y="350"/>
                    <a:pt x="787" y="349"/>
                  </a:cubicBezTo>
                  <a:cubicBezTo>
                    <a:pt x="789" y="348"/>
                    <a:pt x="787" y="344"/>
                    <a:pt x="785" y="343"/>
                  </a:cubicBezTo>
                  <a:cubicBezTo>
                    <a:pt x="782" y="342"/>
                    <a:pt x="787" y="340"/>
                    <a:pt x="786" y="339"/>
                  </a:cubicBezTo>
                  <a:cubicBezTo>
                    <a:pt x="785" y="337"/>
                    <a:pt x="788" y="331"/>
                    <a:pt x="791" y="330"/>
                  </a:cubicBezTo>
                  <a:cubicBezTo>
                    <a:pt x="794" y="329"/>
                    <a:pt x="793" y="327"/>
                    <a:pt x="796" y="327"/>
                  </a:cubicBezTo>
                  <a:cubicBezTo>
                    <a:pt x="798" y="327"/>
                    <a:pt x="799" y="324"/>
                    <a:pt x="801" y="321"/>
                  </a:cubicBezTo>
                  <a:cubicBezTo>
                    <a:pt x="804" y="319"/>
                    <a:pt x="808" y="325"/>
                    <a:pt x="811" y="322"/>
                  </a:cubicBezTo>
                  <a:cubicBezTo>
                    <a:pt x="813" y="320"/>
                    <a:pt x="815" y="319"/>
                    <a:pt x="817" y="317"/>
                  </a:cubicBezTo>
                  <a:cubicBezTo>
                    <a:pt x="808" y="305"/>
                    <a:pt x="811" y="297"/>
                    <a:pt x="811" y="29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5" name="Freeform 312">
              <a:extLst>
                <a:ext uri="{FF2B5EF4-FFF2-40B4-BE49-F238E27FC236}">
                  <a16:creationId xmlns:a16="http://schemas.microsoft.com/office/drawing/2014/main" id="{C59E35BA-C124-CB9F-3E0A-D04C77B29B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2835" y="2862720"/>
              <a:ext cx="385713" cy="277777"/>
            </a:xfrm>
            <a:custGeom>
              <a:avLst/>
              <a:gdLst>
                <a:gd name="T0" fmla="*/ 102 w 103"/>
                <a:gd name="T1" fmla="*/ 13 h 74"/>
                <a:gd name="T2" fmla="*/ 94 w 103"/>
                <a:gd name="T3" fmla="*/ 13 h 74"/>
                <a:gd name="T4" fmla="*/ 84 w 103"/>
                <a:gd name="T5" fmla="*/ 10 h 74"/>
                <a:gd name="T6" fmla="*/ 81 w 103"/>
                <a:gd name="T7" fmla="*/ 10 h 74"/>
                <a:gd name="T8" fmla="*/ 74 w 103"/>
                <a:gd name="T9" fmla="*/ 10 h 74"/>
                <a:gd name="T10" fmla="*/ 66 w 103"/>
                <a:gd name="T11" fmla="*/ 6 h 74"/>
                <a:gd name="T12" fmla="*/ 62 w 103"/>
                <a:gd name="T13" fmla="*/ 4 h 74"/>
                <a:gd name="T14" fmla="*/ 48 w 103"/>
                <a:gd name="T15" fmla="*/ 3 h 74"/>
                <a:gd name="T16" fmla="*/ 21 w 103"/>
                <a:gd name="T17" fmla="*/ 2 h 74"/>
                <a:gd name="T18" fmla="*/ 12 w 103"/>
                <a:gd name="T19" fmla="*/ 0 h 74"/>
                <a:gd name="T20" fmla="*/ 5 w 103"/>
                <a:gd name="T21" fmla="*/ 4 h 74"/>
                <a:gd name="T22" fmla="*/ 3 w 103"/>
                <a:gd name="T23" fmla="*/ 10 h 74"/>
                <a:gd name="T24" fmla="*/ 5 w 103"/>
                <a:gd name="T25" fmla="*/ 18 h 74"/>
                <a:gd name="T26" fmla="*/ 7 w 103"/>
                <a:gd name="T27" fmla="*/ 17 h 74"/>
                <a:gd name="T28" fmla="*/ 10 w 103"/>
                <a:gd name="T29" fmla="*/ 17 h 74"/>
                <a:gd name="T30" fmla="*/ 15 w 103"/>
                <a:gd name="T31" fmla="*/ 18 h 74"/>
                <a:gd name="T32" fmla="*/ 18 w 103"/>
                <a:gd name="T33" fmla="*/ 18 h 74"/>
                <a:gd name="T34" fmla="*/ 23 w 103"/>
                <a:gd name="T35" fmla="*/ 19 h 74"/>
                <a:gd name="T36" fmla="*/ 25 w 103"/>
                <a:gd name="T37" fmla="*/ 22 h 74"/>
                <a:gd name="T38" fmla="*/ 20 w 103"/>
                <a:gd name="T39" fmla="*/ 27 h 74"/>
                <a:gd name="T40" fmla="*/ 20 w 103"/>
                <a:gd name="T41" fmla="*/ 34 h 74"/>
                <a:gd name="T42" fmla="*/ 19 w 103"/>
                <a:gd name="T43" fmla="*/ 40 h 74"/>
                <a:gd name="T44" fmla="*/ 17 w 103"/>
                <a:gd name="T45" fmla="*/ 43 h 74"/>
                <a:gd name="T46" fmla="*/ 19 w 103"/>
                <a:gd name="T47" fmla="*/ 47 h 74"/>
                <a:gd name="T48" fmla="*/ 17 w 103"/>
                <a:gd name="T49" fmla="*/ 52 h 74"/>
                <a:gd name="T50" fmla="*/ 19 w 103"/>
                <a:gd name="T51" fmla="*/ 56 h 74"/>
                <a:gd name="T52" fmla="*/ 16 w 103"/>
                <a:gd name="T53" fmla="*/ 61 h 74"/>
                <a:gd name="T54" fmla="*/ 17 w 103"/>
                <a:gd name="T55" fmla="*/ 63 h 74"/>
                <a:gd name="T56" fmla="*/ 21 w 103"/>
                <a:gd name="T57" fmla="*/ 64 h 74"/>
                <a:gd name="T58" fmla="*/ 31 w 103"/>
                <a:gd name="T59" fmla="*/ 73 h 74"/>
                <a:gd name="T60" fmla="*/ 33 w 103"/>
                <a:gd name="T61" fmla="*/ 70 h 74"/>
                <a:gd name="T62" fmla="*/ 37 w 103"/>
                <a:gd name="T63" fmla="*/ 70 h 74"/>
                <a:gd name="T64" fmla="*/ 45 w 103"/>
                <a:gd name="T65" fmla="*/ 67 h 74"/>
                <a:gd name="T66" fmla="*/ 55 w 103"/>
                <a:gd name="T67" fmla="*/ 67 h 74"/>
                <a:gd name="T68" fmla="*/ 61 w 103"/>
                <a:gd name="T69" fmla="*/ 64 h 74"/>
                <a:gd name="T70" fmla="*/ 67 w 103"/>
                <a:gd name="T71" fmla="*/ 60 h 74"/>
                <a:gd name="T72" fmla="*/ 70 w 103"/>
                <a:gd name="T73" fmla="*/ 54 h 74"/>
                <a:gd name="T74" fmla="*/ 76 w 103"/>
                <a:gd name="T75" fmla="*/ 48 h 74"/>
                <a:gd name="T76" fmla="*/ 76 w 103"/>
                <a:gd name="T77" fmla="*/ 36 h 74"/>
                <a:gd name="T78" fmla="*/ 83 w 103"/>
                <a:gd name="T79" fmla="*/ 28 h 74"/>
                <a:gd name="T80" fmla="*/ 90 w 103"/>
                <a:gd name="T81" fmla="*/ 24 h 74"/>
                <a:gd name="T82" fmla="*/ 99 w 103"/>
                <a:gd name="T83" fmla="*/ 20 h 74"/>
                <a:gd name="T84" fmla="*/ 102 w 103"/>
                <a:gd name="T85" fmla="*/ 13 h 74"/>
                <a:gd name="T86" fmla="*/ 103 w 103"/>
                <a:gd name="T87" fmla="*/ 39 h 74"/>
                <a:gd name="T88" fmla="*/ 96 w 103"/>
                <a:gd name="T89" fmla="*/ 41 h 74"/>
                <a:gd name="T90" fmla="*/ 103 w 103"/>
                <a:gd name="T91" fmla="*/ 3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3" h="74">
                  <a:moveTo>
                    <a:pt x="102" y="13"/>
                  </a:moveTo>
                  <a:cubicBezTo>
                    <a:pt x="99" y="13"/>
                    <a:pt x="96" y="13"/>
                    <a:pt x="94" y="13"/>
                  </a:cubicBezTo>
                  <a:cubicBezTo>
                    <a:pt x="91" y="12"/>
                    <a:pt x="86" y="12"/>
                    <a:pt x="84" y="10"/>
                  </a:cubicBezTo>
                  <a:cubicBezTo>
                    <a:pt x="83" y="9"/>
                    <a:pt x="81" y="8"/>
                    <a:pt x="81" y="10"/>
                  </a:cubicBezTo>
                  <a:cubicBezTo>
                    <a:pt x="81" y="11"/>
                    <a:pt x="77" y="12"/>
                    <a:pt x="74" y="10"/>
                  </a:cubicBezTo>
                  <a:cubicBezTo>
                    <a:pt x="72" y="9"/>
                    <a:pt x="68" y="8"/>
                    <a:pt x="66" y="6"/>
                  </a:cubicBezTo>
                  <a:cubicBezTo>
                    <a:pt x="66" y="6"/>
                    <a:pt x="64" y="5"/>
                    <a:pt x="62" y="4"/>
                  </a:cubicBezTo>
                  <a:cubicBezTo>
                    <a:pt x="59" y="5"/>
                    <a:pt x="53" y="2"/>
                    <a:pt x="48" y="3"/>
                  </a:cubicBezTo>
                  <a:cubicBezTo>
                    <a:pt x="43" y="3"/>
                    <a:pt x="28" y="2"/>
                    <a:pt x="21" y="2"/>
                  </a:cubicBezTo>
                  <a:cubicBezTo>
                    <a:pt x="15" y="3"/>
                    <a:pt x="15" y="0"/>
                    <a:pt x="12" y="0"/>
                  </a:cubicBezTo>
                  <a:cubicBezTo>
                    <a:pt x="8" y="0"/>
                    <a:pt x="10" y="4"/>
                    <a:pt x="5" y="4"/>
                  </a:cubicBezTo>
                  <a:cubicBezTo>
                    <a:pt x="0" y="4"/>
                    <a:pt x="0" y="7"/>
                    <a:pt x="3" y="10"/>
                  </a:cubicBezTo>
                  <a:cubicBezTo>
                    <a:pt x="5" y="11"/>
                    <a:pt x="5" y="15"/>
                    <a:pt x="5" y="18"/>
                  </a:cubicBezTo>
                  <a:cubicBezTo>
                    <a:pt x="6" y="18"/>
                    <a:pt x="6" y="17"/>
                    <a:pt x="7" y="17"/>
                  </a:cubicBezTo>
                  <a:cubicBezTo>
                    <a:pt x="8" y="15"/>
                    <a:pt x="10" y="15"/>
                    <a:pt x="10" y="17"/>
                  </a:cubicBezTo>
                  <a:cubicBezTo>
                    <a:pt x="10" y="19"/>
                    <a:pt x="13" y="18"/>
                    <a:pt x="15" y="18"/>
                  </a:cubicBezTo>
                  <a:cubicBezTo>
                    <a:pt x="16" y="18"/>
                    <a:pt x="16" y="20"/>
                    <a:pt x="18" y="18"/>
                  </a:cubicBezTo>
                  <a:cubicBezTo>
                    <a:pt x="20" y="17"/>
                    <a:pt x="23" y="17"/>
                    <a:pt x="23" y="19"/>
                  </a:cubicBezTo>
                  <a:cubicBezTo>
                    <a:pt x="23" y="21"/>
                    <a:pt x="27" y="20"/>
                    <a:pt x="25" y="22"/>
                  </a:cubicBezTo>
                  <a:cubicBezTo>
                    <a:pt x="22" y="25"/>
                    <a:pt x="20" y="25"/>
                    <a:pt x="20" y="27"/>
                  </a:cubicBezTo>
                  <a:cubicBezTo>
                    <a:pt x="20" y="29"/>
                    <a:pt x="22" y="32"/>
                    <a:pt x="20" y="34"/>
                  </a:cubicBezTo>
                  <a:cubicBezTo>
                    <a:pt x="18" y="36"/>
                    <a:pt x="21" y="40"/>
                    <a:pt x="19" y="40"/>
                  </a:cubicBezTo>
                  <a:cubicBezTo>
                    <a:pt x="17" y="40"/>
                    <a:pt x="14" y="41"/>
                    <a:pt x="17" y="43"/>
                  </a:cubicBezTo>
                  <a:cubicBezTo>
                    <a:pt x="19" y="45"/>
                    <a:pt x="21" y="47"/>
                    <a:pt x="19" y="47"/>
                  </a:cubicBezTo>
                  <a:cubicBezTo>
                    <a:pt x="17" y="47"/>
                    <a:pt x="16" y="51"/>
                    <a:pt x="17" y="52"/>
                  </a:cubicBezTo>
                  <a:cubicBezTo>
                    <a:pt x="18" y="53"/>
                    <a:pt x="22" y="55"/>
                    <a:pt x="19" y="56"/>
                  </a:cubicBezTo>
                  <a:cubicBezTo>
                    <a:pt x="16" y="56"/>
                    <a:pt x="16" y="59"/>
                    <a:pt x="16" y="61"/>
                  </a:cubicBezTo>
                  <a:cubicBezTo>
                    <a:pt x="16" y="61"/>
                    <a:pt x="16" y="62"/>
                    <a:pt x="17" y="63"/>
                  </a:cubicBezTo>
                  <a:cubicBezTo>
                    <a:pt x="18" y="63"/>
                    <a:pt x="20" y="63"/>
                    <a:pt x="21" y="64"/>
                  </a:cubicBezTo>
                  <a:cubicBezTo>
                    <a:pt x="24" y="65"/>
                    <a:pt x="26" y="74"/>
                    <a:pt x="31" y="73"/>
                  </a:cubicBezTo>
                  <a:cubicBezTo>
                    <a:pt x="33" y="73"/>
                    <a:pt x="32" y="71"/>
                    <a:pt x="33" y="70"/>
                  </a:cubicBezTo>
                  <a:cubicBezTo>
                    <a:pt x="34" y="69"/>
                    <a:pt x="35" y="70"/>
                    <a:pt x="37" y="70"/>
                  </a:cubicBezTo>
                  <a:cubicBezTo>
                    <a:pt x="39" y="70"/>
                    <a:pt x="40" y="67"/>
                    <a:pt x="45" y="67"/>
                  </a:cubicBezTo>
                  <a:cubicBezTo>
                    <a:pt x="49" y="67"/>
                    <a:pt x="52" y="67"/>
                    <a:pt x="55" y="67"/>
                  </a:cubicBezTo>
                  <a:cubicBezTo>
                    <a:pt x="58" y="67"/>
                    <a:pt x="60" y="66"/>
                    <a:pt x="61" y="64"/>
                  </a:cubicBezTo>
                  <a:cubicBezTo>
                    <a:pt x="61" y="62"/>
                    <a:pt x="64" y="60"/>
                    <a:pt x="67" y="60"/>
                  </a:cubicBezTo>
                  <a:cubicBezTo>
                    <a:pt x="70" y="59"/>
                    <a:pt x="70" y="56"/>
                    <a:pt x="70" y="54"/>
                  </a:cubicBezTo>
                  <a:cubicBezTo>
                    <a:pt x="70" y="52"/>
                    <a:pt x="76" y="49"/>
                    <a:pt x="76" y="48"/>
                  </a:cubicBezTo>
                  <a:cubicBezTo>
                    <a:pt x="76" y="46"/>
                    <a:pt x="73" y="41"/>
                    <a:pt x="76" y="36"/>
                  </a:cubicBezTo>
                  <a:cubicBezTo>
                    <a:pt x="79" y="31"/>
                    <a:pt x="83" y="31"/>
                    <a:pt x="83" y="28"/>
                  </a:cubicBezTo>
                  <a:cubicBezTo>
                    <a:pt x="83" y="26"/>
                    <a:pt x="86" y="25"/>
                    <a:pt x="90" y="24"/>
                  </a:cubicBezTo>
                  <a:cubicBezTo>
                    <a:pt x="94" y="24"/>
                    <a:pt x="95" y="21"/>
                    <a:pt x="99" y="20"/>
                  </a:cubicBezTo>
                  <a:cubicBezTo>
                    <a:pt x="102" y="19"/>
                    <a:pt x="103" y="16"/>
                    <a:pt x="102" y="13"/>
                  </a:cubicBezTo>
                  <a:close/>
                  <a:moveTo>
                    <a:pt x="103" y="39"/>
                  </a:moveTo>
                  <a:cubicBezTo>
                    <a:pt x="102" y="35"/>
                    <a:pt x="94" y="40"/>
                    <a:pt x="96" y="41"/>
                  </a:cubicBezTo>
                  <a:cubicBezTo>
                    <a:pt x="99" y="44"/>
                    <a:pt x="103" y="43"/>
                    <a:pt x="103" y="3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6" name="Freeform 313">
              <a:extLst>
                <a:ext uri="{FF2B5EF4-FFF2-40B4-BE49-F238E27FC236}">
                  <a16:creationId xmlns:a16="http://schemas.microsoft.com/office/drawing/2014/main" id="{2AF690CA-8CA4-EBE7-5211-C899F25A2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430" y="2742083"/>
              <a:ext cx="101587" cy="57144"/>
            </a:xfrm>
            <a:custGeom>
              <a:avLst/>
              <a:gdLst>
                <a:gd name="T0" fmla="*/ 0 w 27"/>
                <a:gd name="T1" fmla="*/ 13 h 15"/>
                <a:gd name="T2" fmla="*/ 5 w 27"/>
                <a:gd name="T3" fmla="*/ 13 h 15"/>
                <a:gd name="T4" fmla="*/ 6 w 27"/>
                <a:gd name="T5" fmla="*/ 15 h 15"/>
                <a:gd name="T6" fmla="*/ 12 w 27"/>
                <a:gd name="T7" fmla="*/ 14 h 15"/>
                <a:gd name="T8" fmla="*/ 17 w 27"/>
                <a:gd name="T9" fmla="*/ 14 h 15"/>
                <a:gd name="T10" fmla="*/ 20 w 27"/>
                <a:gd name="T11" fmla="*/ 11 h 15"/>
                <a:gd name="T12" fmla="*/ 22 w 27"/>
                <a:gd name="T13" fmla="*/ 7 h 15"/>
                <a:gd name="T14" fmla="*/ 27 w 27"/>
                <a:gd name="T15" fmla="*/ 3 h 15"/>
                <a:gd name="T16" fmla="*/ 25 w 27"/>
                <a:gd name="T17" fmla="*/ 0 h 15"/>
                <a:gd name="T18" fmla="*/ 19 w 27"/>
                <a:gd name="T19" fmla="*/ 2 h 15"/>
                <a:gd name="T20" fmla="*/ 12 w 27"/>
                <a:gd name="T21" fmla="*/ 4 h 15"/>
                <a:gd name="T22" fmla="*/ 3 w 27"/>
                <a:gd name="T23" fmla="*/ 3 h 15"/>
                <a:gd name="T24" fmla="*/ 0 w 27"/>
                <a:gd name="T25" fmla="*/ 3 h 15"/>
                <a:gd name="T26" fmla="*/ 0 w 27"/>
                <a:gd name="T2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15">
                  <a:moveTo>
                    <a:pt x="0" y="13"/>
                  </a:moveTo>
                  <a:cubicBezTo>
                    <a:pt x="2" y="12"/>
                    <a:pt x="4" y="12"/>
                    <a:pt x="5" y="13"/>
                  </a:cubicBezTo>
                  <a:cubicBezTo>
                    <a:pt x="6" y="13"/>
                    <a:pt x="6" y="14"/>
                    <a:pt x="6" y="15"/>
                  </a:cubicBezTo>
                  <a:cubicBezTo>
                    <a:pt x="8" y="15"/>
                    <a:pt x="11" y="14"/>
                    <a:pt x="12" y="14"/>
                  </a:cubicBezTo>
                  <a:cubicBezTo>
                    <a:pt x="13" y="13"/>
                    <a:pt x="17" y="15"/>
                    <a:pt x="17" y="14"/>
                  </a:cubicBezTo>
                  <a:cubicBezTo>
                    <a:pt x="17" y="13"/>
                    <a:pt x="18" y="11"/>
                    <a:pt x="20" y="11"/>
                  </a:cubicBezTo>
                  <a:cubicBezTo>
                    <a:pt x="21" y="11"/>
                    <a:pt x="20" y="7"/>
                    <a:pt x="22" y="7"/>
                  </a:cubicBezTo>
                  <a:cubicBezTo>
                    <a:pt x="23" y="6"/>
                    <a:pt x="27" y="3"/>
                    <a:pt x="27" y="3"/>
                  </a:cubicBezTo>
                  <a:cubicBezTo>
                    <a:pt x="27" y="3"/>
                    <a:pt x="25" y="0"/>
                    <a:pt x="25" y="0"/>
                  </a:cubicBezTo>
                  <a:cubicBezTo>
                    <a:pt x="24" y="0"/>
                    <a:pt x="23" y="2"/>
                    <a:pt x="19" y="2"/>
                  </a:cubicBezTo>
                  <a:cubicBezTo>
                    <a:pt x="16" y="2"/>
                    <a:pt x="14" y="4"/>
                    <a:pt x="12" y="4"/>
                  </a:cubicBezTo>
                  <a:cubicBezTo>
                    <a:pt x="11" y="4"/>
                    <a:pt x="6" y="3"/>
                    <a:pt x="3" y="3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5"/>
                    <a:pt x="0" y="9"/>
                    <a:pt x="0" y="1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7" name="Freeform 314">
              <a:extLst>
                <a:ext uri="{FF2B5EF4-FFF2-40B4-BE49-F238E27FC236}">
                  <a16:creationId xmlns:a16="http://schemas.microsoft.com/office/drawing/2014/main" id="{8FDC3DF1-690A-2848-24F0-F1D1F8C17E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3778" y="2934143"/>
              <a:ext cx="192063" cy="241269"/>
            </a:xfrm>
            <a:custGeom>
              <a:avLst/>
              <a:gdLst>
                <a:gd name="T0" fmla="*/ 51 w 51"/>
                <a:gd name="T1" fmla="*/ 0 h 64"/>
                <a:gd name="T2" fmla="*/ 47 w 51"/>
                <a:gd name="T3" fmla="*/ 2 h 64"/>
                <a:gd name="T4" fmla="*/ 44 w 51"/>
                <a:gd name="T5" fmla="*/ 4 h 64"/>
                <a:gd name="T6" fmla="*/ 35 w 51"/>
                <a:gd name="T7" fmla="*/ 2 h 64"/>
                <a:gd name="T8" fmla="*/ 24 w 51"/>
                <a:gd name="T9" fmla="*/ 2 h 64"/>
                <a:gd name="T10" fmla="*/ 24 w 51"/>
                <a:gd name="T11" fmla="*/ 3 h 64"/>
                <a:gd name="T12" fmla="*/ 17 w 51"/>
                <a:gd name="T13" fmla="*/ 6 h 64"/>
                <a:gd name="T14" fmla="*/ 13 w 51"/>
                <a:gd name="T15" fmla="*/ 8 h 64"/>
                <a:gd name="T16" fmla="*/ 7 w 51"/>
                <a:gd name="T17" fmla="*/ 9 h 64"/>
                <a:gd name="T18" fmla="*/ 5 w 51"/>
                <a:gd name="T19" fmla="*/ 14 h 64"/>
                <a:gd name="T20" fmla="*/ 3 w 51"/>
                <a:gd name="T21" fmla="*/ 17 h 64"/>
                <a:gd name="T22" fmla="*/ 0 w 51"/>
                <a:gd name="T23" fmla="*/ 21 h 64"/>
                <a:gd name="T24" fmla="*/ 1 w 51"/>
                <a:gd name="T25" fmla="*/ 21 h 64"/>
                <a:gd name="T26" fmla="*/ 5 w 51"/>
                <a:gd name="T27" fmla="*/ 28 h 64"/>
                <a:gd name="T28" fmla="*/ 11 w 51"/>
                <a:gd name="T29" fmla="*/ 30 h 64"/>
                <a:gd name="T30" fmla="*/ 18 w 51"/>
                <a:gd name="T31" fmla="*/ 33 h 64"/>
                <a:gd name="T32" fmla="*/ 9 w 51"/>
                <a:gd name="T33" fmla="*/ 33 h 64"/>
                <a:gd name="T34" fmla="*/ 11 w 51"/>
                <a:gd name="T35" fmla="*/ 40 h 64"/>
                <a:gd name="T36" fmla="*/ 15 w 51"/>
                <a:gd name="T37" fmla="*/ 46 h 64"/>
                <a:gd name="T38" fmla="*/ 23 w 51"/>
                <a:gd name="T39" fmla="*/ 49 h 64"/>
                <a:gd name="T40" fmla="*/ 21 w 51"/>
                <a:gd name="T41" fmla="*/ 41 h 64"/>
                <a:gd name="T42" fmla="*/ 27 w 51"/>
                <a:gd name="T43" fmla="*/ 41 h 64"/>
                <a:gd name="T44" fmla="*/ 23 w 51"/>
                <a:gd name="T45" fmla="*/ 38 h 64"/>
                <a:gd name="T46" fmla="*/ 26 w 51"/>
                <a:gd name="T47" fmla="*/ 36 h 64"/>
                <a:gd name="T48" fmla="*/ 32 w 51"/>
                <a:gd name="T49" fmla="*/ 36 h 64"/>
                <a:gd name="T50" fmla="*/ 29 w 51"/>
                <a:gd name="T51" fmla="*/ 29 h 64"/>
                <a:gd name="T52" fmla="*/ 23 w 51"/>
                <a:gd name="T53" fmla="*/ 29 h 64"/>
                <a:gd name="T54" fmla="*/ 25 w 51"/>
                <a:gd name="T55" fmla="*/ 25 h 64"/>
                <a:gd name="T56" fmla="*/ 19 w 51"/>
                <a:gd name="T57" fmla="*/ 16 h 64"/>
                <a:gd name="T58" fmla="*/ 23 w 51"/>
                <a:gd name="T59" fmla="*/ 14 h 64"/>
                <a:gd name="T60" fmla="*/ 29 w 51"/>
                <a:gd name="T61" fmla="*/ 15 h 64"/>
                <a:gd name="T62" fmla="*/ 31 w 51"/>
                <a:gd name="T63" fmla="*/ 9 h 64"/>
                <a:gd name="T64" fmla="*/ 36 w 51"/>
                <a:gd name="T65" fmla="*/ 10 h 64"/>
                <a:gd name="T66" fmla="*/ 42 w 51"/>
                <a:gd name="T67" fmla="*/ 7 h 64"/>
                <a:gd name="T68" fmla="*/ 47 w 51"/>
                <a:gd name="T69" fmla="*/ 10 h 64"/>
                <a:gd name="T70" fmla="*/ 49 w 51"/>
                <a:gd name="T71" fmla="*/ 7 h 64"/>
                <a:gd name="T72" fmla="*/ 51 w 51"/>
                <a:gd name="T73" fmla="*/ 3 h 64"/>
                <a:gd name="T74" fmla="*/ 51 w 51"/>
                <a:gd name="T75" fmla="*/ 0 h 64"/>
                <a:gd name="T76" fmla="*/ 44 w 51"/>
                <a:gd name="T77" fmla="*/ 60 h 64"/>
                <a:gd name="T78" fmla="*/ 31 w 51"/>
                <a:gd name="T79" fmla="*/ 59 h 64"/>
                <a:gd name="T80" fmla="*/ 26 w 51"/>
                <a:gd name="T81" fmla="*/ 61 h 64"/>
                <a:gd name="T82" fmla="*/ 38 w 51"/>
                <a:gd name="T83" fmla="*/ 64 h 64"/>
                <a:gd name="T84" fmla="*/ 49 w 51"/>
                <a:gd name="T85" fmla="*/ 60 h 64"/>
                <a:gd name="T86" fmla="*/ 44 w 51"/>
                <a:gd name="T87" fmla="*/ 6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1" h="64">
                  <a:moveTo>
                    <a:pt x="51" y="0"/>
                  </a:moveTo>
                  <a:cubicBezTo>
                    <a:pt x="49" y="0"/>
                    <a:pt x="46" y="1"/>
                    <a:pt x="47" y="2"/>
                  </a:cubicBezTo>
                  <a:cubicBezTo>
                    <a:pt x="47" y="3"/>
                    <a:pt x="46" y="4"/>
                    <a:pt x="44" y="4"/>
                  </a:cubicBezTo>
                  <a:cubicBezTo>
                    <a:pt x="44" y="4"/>
                    <a:pt x="37" y="3"/>
                    <a:pt x="35" y="2"/>
                  </a:cubicBezTo>
                  <a:cubicBezTo>
                    <a:pt x="34" y="2"/>
                    <a:pt x="27" y="2"/>
                    <a:pt x="24" y="2"/>
                  </a:cubicBezTo>
                  <a:cubicBezTo>
                    <a:pt x="24" y="2"/>
                    <a:pt x="24" y="2"/>
                    <a:pt x="24" y="3"/>
                  </a:cubicBezTo>
                  <a:cubicBezTo>
                    <a:pt x="24" y="4"/>
                    <a:pt x="18" y="7"/>
                    <a:pt x="17" y="6"/>
                  </a:cubicBezTo>
                  <a:cubicBezTo>
                    <a:pt x="16" y="6"/>
                    <a:pt x="15" y="8"/>
                    <a:pt x="13" y="8"/>
                  </a:cubicBezTo>
                  <a:cubicBezTo>
                    <a:pt x="11" y="9"/>
                    <a:pt x="8" y="8"/>
                    <a:pt x="7" y="9"/>
                  </a:cubicBezTo>
                  <a:cubicBezTo>
                    <a:pt x="7" y="10"/>
                    <a:pt x="6" y="12"/>
                    <a:pt x="5" y="14"/>
                  </a:cubicBezTo>
                  <a:cubicBezTo>
                    <a:pt x="3" y="15"/>
                    <a:pt x="4" y="16"/>
                    <a:pt x="3" y="17"/>
                  </a:cubicBezTo>
                  <a:cubicBezTo>
                    <a:pt x="1" y="17"/>
                    <a:pt x="1" y="19"/>
                    <a:pt x="0" y="21"/>
                  </a:cubicBezTo>
                  <a:cubicBezTo>
                    <a:pt x="0" y="21"/>
                    <a:pt x="1" y="21"/>
                    <a:pt x="1" y="21"/>
                  </a:cubicBezTo>
                  <a:cubicBezTo>
                    <a:pt x="3" y="22"/>
                    <a:pt x="5" y="25"/>
                    <a:pt x="5" y="28"/>
                  </a:cubicBezTo>
                  <a:cubicBezTo>
                    <a:pt x="5" y="31"/>
                    <a:pt x="9" y="32"/>
                    <a:pt x="11" y="30"/>
                  </a:cubicBezTo>
                  <a:cubicBezTo>
                    <a:pt x="13" y="28"/>
                    <a:pt x="18" y="31"/>
                    <a:pt x="18" y="33"/>
                  </a:cubicBezTo>
                  <a:cubicBezTo>
                    <a:pt x="18" y="34"/>
                    <a:pt x="12" y="31"/>
                    <a:pt x="9" y="33"/>
                  </a:cubicBezTo>
                  <a:cubicBezTo>
                    <a:pt x="6" y="36"/>
                    <a:pt x="12" y="38"/>
                    <a:pt x="11" y="40"/>
                  </a:cubicBezTo>
                  <a:cubicBezTo>
                    <a:pt x="10" y="43"/>
                    <a:pt x="12" y="46"/>
                    <a:pt x="15" y="46"/>
                  </a:cubicBezTo>
                  <a:cubicBezTo>
                    <a:pt x="18" y="46"/>
                    <a:pt x="21" y="50"/>
                    <a:pt x="23" y="49"/>
                  </a:cubicBezTo>
                  <a:cubicBezTo>
                    <a:pt x="24" y="49"/>
                    <a:pt x="21" y="42"/>
                    <a:pt x="21" y="41"/>
                  </a:cubicBezTo>
                  <a:cubicBezTo>
                    <a:pt x="22" y="40"/>
                    <a:pt x="25" y="43"/>
                    <a:pt x="27" y="41"/>
                  </a:cubicBezTo>
                  <a:cubicBezTo>
                    <a:pt x="29" y="39"/>
                    <a:pt x="26" y="38"/>
                    <a:pt x="23" y="38"/>
                  </a:cubicBezTo>
                  <a:cubicBezTo>
                    <a:pt x="21" y="38"/>
                    <a:pt x="23" y="34"/>
                    <a:pt x="26" y="36"/>
                  </a:cubicBezTo>
                  <a:cubicBezTo>
                    <a:pt x="29" y="38"/>
                    <a:pt x="30" y="36"/>
                    <a:pt x="32" y="36"/>
                  </a:cubicBezTo>
                  <a:cubicBezTo>
                    <a:pt x="33" y="35"/>
                    <a:pt x="34" y="30"/>
                    <a:pt x="29" y="29"/>
                  </a:cubicBezTo>
                  <a:cubicBezTo>
                    <a:pt x="25" y="28"/>
                    <a:pt x="25" y="32"/>
                    <a:pt x="23" y="29"/>
                  </a:cubicBezTo>
                  <a:cubicBezTo>
                    <a:pt x="20" y="26"/>
                    <a:pt x="25" y="27"/>
                    <a:pt x="25" y="25"/>
                  </a:cubicBezTo>
                  <a:cubicBezTo>
                    <a:pt x="25" y="22"/>
                    <a:pt x="21" y="19"/>
                    <a:pt x="19" y="16"/>
                  </a:cubicBezTo>
                  <a:cubicBezTo>
                    <a:pt x="17" y="13"/>
                    <a:pt x="22" y="12"/>
                    <a:pt x="23" y="14"/>
                  </a:cubicBezTo>
                  <a:cubicBezTo>
                    <a:pt x="24" y="16"/>
                    <a:pt x="27" y="15"/>
                    <a:pt x="29" y="15"/>
                  </a:cubicBezTo>
                  <a:cubicBezTo>
                    <a:pt x="31" y="14"/>
                    <a:pt x="27" y="10"/>
                    <a:pt x="31" y="9"/>
                  </a:cubicBezTo>
                  <a:cubicBezTo>
                    <a:pt x="34" y="7"/>
                    <a:pt x="34" y="10"/>
                    <a:pt x="36" y="10"/>
                  </a:cubicBezTo>
                  <a:cubicBezTo>
                    <a:pt x="37" y="11"/>
                    <a:pt x="38" y="7"/>
                    <a:pt x="42" y="7"/>
                  </a:cubicBezTo>
                  <a:cubicBezTo>
                    <a:pt x="44" y="7"/>
                    <a:pt x="45" y="8"/>
                    <a:pt x="47" y="10"/>
                  </a:cubicBezTo>
                  <a:cubicBezTo>
                    <a:pt x="48" y="9"/>
                    <a:pt x="49" y="8"/>
                    <a:pt x="49" y="7"/>
                  </a:cubicBezTo>
                  <a:cubicBezTo>
                    <a:pt x="49" y="6"/>
                    <a:pt x="51" y="5"/>
                    <a:pt x="51" y="3"/>
                  </a:cubicBezTo>
                  <a:cubicBezTo>
                    <a:pt x="51" y="2"/>
                    <a:pt x="51" y="1"/>
                    <a:pt x="51" y="0"/>
                  </a:cubicBezTo>
                  <a:close/>
                  <a:moveTo>
                    <a:pt x="44" y="60"/>
                  </a:moveTo>
                  <a:cubicBezTo>
                    <a:pt x="42" y="59"/>
                    <a:pt x="34" y="61"/>
                    <a:pt x="31" y="59"/>
                  </a:cubicBezTo>
                  <a:cubicBezTo>
                    <a:pt x="29" y="56"/>
                    <a:pt x="24" y="60"/>
                    <a:pt x="26" y="61"/>
                  </a:cubicBezTo>
                  <a:cubicBezTo>
                    <a:pt x="29" y="61"/>
                    <a:pt x="34" y="64"/>
                    <a:pt x="38" y="64"/>
                  </a:cubicBezTo>
                  <a:cubicBezTo>
                    <a:pt x="43" y="64"/>
                    <a:pt x="49" y="62"/>
                    <a:pt x="49" y="60"/>
                  </a:cubicBezTo>
                  <a:cubicBezTo>
                    <a:pt x="49" y="59"/>
                    <a:pt x="46" y="61"/>
                    <a:pt x="44" y="6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8" name="Freeform 315">
              <a:extLst>
                <a:ext uri="{FF2B5EF4-FFF2-40B4-BE49-F238E27FC236}">
                  <a16:creationId xmlns:a16="http://schemas.microsoft.com/office/drawing/2014/main" id="{80809DDE-07E6-452A-CF6C-5EF894D23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924" y="3132559"/>
              <a:ext cx="79365" cy="49207"/>
            </a:xfrm>
            <a:custGeom>
              <a:avLst/>
              <a:gdLst>
                <a:gd name="T0" fmla="*/ 14 w 21"/>
                <a:gd name="T1" fmla="*/ 8 h 13"/>
                <a:gd name="T2" fmla="*/ 19 w 21"/>
                <a:gd name="T3" fmla="*/ 3 h 13"/>
                <a:gd name="T4" fmla="*/ 18 w 21"/>
                <a:gd name="T5" fmla="*/ 2 h 13"/>
                <a:gd name="T6" fmla="*/ 7 w 21"/>
                <a:gd name="T7" fmla="*/ 5 h 13"/>
                <a:gd name="T8" fmla="*/ 3 w 21"/>
                <a:gd name="T9" fmla="*/ 11 h 13"/>
                <a:gd name="T10" fmla="*/ 14 w 21"/>
                <a:gd name="T11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3">
                  <a:moveTo>
                    <a:pt x="14" y="8"/>
                  </a:moveTo>
                  <a:cubicBezTo>
                    <a:pt x="14" y="7"/>
                    <a:pt x="16" y="4"/>
                    <a:pt x="19" y="3"/>
                  </a:cubicBezTo>
                  <a:cubicBezTo>
                    <a:pt x="21" y="2"/>
                    <a:pt x="20" y="0"/>
                    <a:pt x="18" y="2"/>
                  </a:cubicBezTo>
                  <a:cubicBezTo>
                    <a:pt x="17" y="3"/>
                    <a:pt x="12" y="5"/>
                    <a:pt x="7" y="5"/>
                  </a:cubicBezTo>
                  <a:cubicBezTo>
                    <a:pt x="2" y="5"/>
                    <a:pt x="0" y="9"/>
                    <a:pt x="3" y="11"/>
                  </a:cubicBezTo>
                  <a:cubicBezTo>
                    <a:pt x="8" y="13"/>
                    <a:pt x="14" y="10"/>
                    <a:pt x="14" y="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79" name="Freeform 316">
              <a:extLst>
                <a:ext uri="{FF2B5EF4-FFF2-40B4-BE49-F238E27FC236}">
                  <a16:creationId xmlns:a16="http://schemas.microsoft.com/office/drawing/2014/main" id="{4CF4706D-C906-DCBA-7833-1F532E934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2044" y="1870657"/>
              <a:ext cx="326982" cy="165079"/>
            </a:xfrm>
            <a:custGeom>
              <a:avLst/>
              <a:gdLst>
                <a:gd name="T0" fmla="*/ 73 w 87"/>
                <a:gd name="T1" fmla="*/ 31 h 44"/>
                <a:gd name="T2" fmla="*/ 79 w 87"/>
                <a:gd name="T3" fmla="*/ 26 h 44"/>
                <a:gd name="T4" fmla="*/ 86 w 87"/>
                <a:gd name="T5" fmla="*/ 20 h 44"/>
                <a:gd name="T6" fmla="*/ 81 w 87"/>
                <a:gd name="T7" fmla="*/ 14 h 44"/>
                <a:gd name="T8" fmla="*/ 77 w 87"/>
                <a:gd name="T9" fmla="*/ 10 h 44"/>
                <a:gd name="T10" fmla="*/ 76 w 87"/>
                <a:gd name="T11" fmla="*/ 5 h 44"/>
                <a:gd name="T12" fmla="*/ 70 w 87"/>
                <a:gd name="T13" fmla="*/ 5 h 44"/>
                <a:gd name="T14" fmla="*/ 62 w 87"/>
                <a:gd name="T15" fmla="*/ 1 h 44"/>
                <a:gd name="T16" fmla="*/ 61 w 87"/>
                <a:gd name="T17" fmla="*/ 6 h 44"/>
                <a:gd name="T18" fmla="*/ 57 w 87"/>
                <a:gd name="T19" fmla="*/ 7 h 44"/>
                <a:gd name="T20" fmla="*/ 53 w 87"/>
                <a:gd name="T21" fmla="*/ 7 h 44"/>
                <a:gd name="T22" fmla="*/ 49 w 87"/>
                <a:gd name="T23" fmla="*/ 7 h 44"/>
                <a:gd name="T24" fmla="*/ 45 w 87"/>
                <a:gd name="T25" fmla="*/ 6 h 44"/>
                <a:gd name="T26" fmla="*/ 39 w 87"/>
                <a:gd name="T27" fmla="*/ 10 h 44"/>
                <a:gd name="T28" fmla="*/ 36 w 87"/>
                <a:gd name="T29" fmla="*/ 8 h 44"/>
                <a:gd name="T30" fmla="*/ 32 w 87"/>
                <a:gd name="T31" fmla="*/ 11 h 44"/>
                <a:gd name="T32" fmla="*/ 31 w 87"/>
                <a:gd name="T33" fmla="*/ 14 h 44"/>
                <a:gd name="T34" fmla="*/ 26 w 87"/>
                <a:gd name="T35" fmla="*/ 17 h 44"/>
                <a:gd name="T36" fmla="*/ 24 w 87"/>
                <a:gd name="T37" fmla="*/ 10 h 44"/>
                <a:gd name="T38" fmla="*/ 12 w 87"/>
                <a:gd name="T39" fmla="*/ 2 h 44"/>
                <a:gd name="T40" fmla="*/ 13 w 87"/>
                <a:gd name="T41" fmla="*/ 7 h 44"/>
                <a:gd name="T42" fmla="*/ 10 w 87"/>
                <a:gd name="T43" fmla="*/ 6 h 44"/>
                <a:gd name="T44" fmla="*/ 5 w 87"/>
                <a:gd name="T45" fmla="*/ 8 h 44"/>
                <a:gd name="T46" fmla="*/ 1 w 87"/>
                <a:gd name="T47" fmla="*/ 14 h 44"/>
                <a:gd name="T48" fmla="*/ 8 w 87"/>
                <a:gd name="T49" fmla="*/ 16 h 44"/>
                <a:gd name="T50" fmla="*/ 18 w 87"/>
                <a:gd name="T51" fmla="*/ 16 h 44"/>
                <a:gd name="T52" fmla="*/ 17 w 87"/>
                <a:gd name="T53" fmla="*/ 20 h 44"/>
                <a:gd name="T54" fmla="*/ 12 w 87"/>
                <a:gd name="T55" fmla="*/ 22 h 44"/>
                <a:gd name="T56" fmla="*/ 3 w 87"/>
                <a:gd name="T57" fmla="*/ 24 h 44"/>
                <a:gd name="T58" fmla="*/ 15 w 87"/>
                <a:gd name="T59" fmla="*/ 25 h 44"/>
                <a:gd name="T60" fmla="*/ 18 w 87"/>
                <a:gd name="T61" fmla="*/ 28 h 44"/>
                <a:gd name="T62" fmla="*/ 20 w 87"/>
                <a:gd name="T63" fmla="*/ 30 h 44"/>
                <a:gd name="T64" fmla="*/ 17 w 87"/>
                <a:gd name="T65" fmla="*/ 34 h 44"/>
                <a:gd name="T66" fmla="*/ 13 w 87"/>
                <a:gd name="T67" fmla="*/ 37 h 44"/>
                <a:gd name="T68" fmla="*/ 24 w 87"/>
                <a:gd name="T69" fmla="*/ 36 h 44"/>
                <a:gd name="T70" fmla="*/ 38 w 87"/>
                <a:gd name="T71" fmla="*/ 42 h 44"/>
                <a:gd name="T72" fmla="*/ 52 w 87"/>
                <a:gd name="T73" fmla="*/ 39 h 44"/>
                <a:gd name="T74" fmla="*/ 62 w 87"/>
                <a:gd name="T75" fmla="*/ 35 h 44"/>
                <a:gd name="T76" fmla="*/ 73 w 87"/>
                <a:gd name="T77" fmla="*/ 31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7" h="44">
                  <a:moveTo>
                    <a:pt x="73" y="31"/>
                  </a:moveTo>
                  <a:cubicBezTo>
                    <a:pt x="78" y="31"/>
                    <a:pt x="77" y="26"/>
                    <a:pt x="79" y="26"/>
                  </a:cubicBezTo>
                  <a:cubicBezTo>
                    <a:pt x="81" y="26"/>
                    <a:pt x="84" y="23"/>
                    <a:pt x="86" y="20"/>
                  </a:cubicBezTo>
                  <a:cubicBezTo>
                    <a:pt x="87" y="18"/>
                    <a:pt x="84" y="14"/>
                    <a:pt x="81" y="14"/>
                  </a:cubicBezTo>
                  <a:cubicBezTo>
                    <a:pt x="79" y="14"/>
                    <a:pt x="76" y="11"/>
                    <a:pt x="77" y="10"/>
                  </a:cubicBezTo>
                  <a:cubicBezTo>
                    <a:pt x="78" y="8"/>
                    <a:pt x="75" y="6"/>
                    <a:pt x="76" y="5"/>
                  </a:cubicBezTo>
                  <a:cubicBezTo>
                    <a:pt x="76" y="3"/>
                    <a:pt x="72" y="5"/>
                    <a:pt x="70" y="5"/>
                  </a:cubicBezTo>
                  <a:cubicBezTo>
                    <a:pt x="68" y="6"/>
                    <a:pt x="64" y="0"/>
                    <a:pt x="62" y="1"/>
                  </a:cubicBezTo>
                  <a:cubicBezTo>
                    <a:pt x="61" y="2"/>
                    <a:pt x="62" y="5"/>
                    <a:pt x="61" y="6"/>
                  </a:cubicBezTo>
                  <a:cubicBezTo>
                    <a:pt x="61" y="8"/>
                    <a:pt x="57" y="5"/>
                    <a:pt x="57" y="7"/>
                  </a:cubicBezTo>
                  <a:cubicBezTo>
                    <a:pt x="57" y="8"/>
                    <a:pt x="55" y="8"/>
                    <a:pt x="53" y="7"/>
                  </a:cubicBezTo>
                  <a:cubicBezTo>
                    <a:pt x="52" y="5"/>
                    <a:pt x="49" y="6"/>
                    <a:pt x="49" y="7"/>
                  </a:cubicBezTo>
                  <a:cubicBezTo>
                    <a:pt x="49" y="9"/>
                    <a:pt x="47" y="8"/>
                    <a:pt x="45" y="6"/>
                  </a:cubicBezTo>
                  <a:cubicBezTo>
                    <a:pt x="42" y="4"/>
                    <a:pt x="39" y="8"/>
                    <a:pt x="39" y="10"/>
                  </a:cubicBezTo>
                  <a:cubicBezTo>
                    <a:pt x="40" y="11"/>
                    <a:pt x="38" y="12"/>
                    <a:pt x="36" y="8"/>
                  </a:cubicBezTo>
                  <a:cubicBezTo>
                    <a:pt x="34" y="4"/>
                    <a:pt x="31" y="8"/>
                    <a:pt x="32" y="11"/>
                  </a:cubicBezTo>
                  <a:cubicBezTo>
                    <a:pt x="34" y="13"/>
                    <a:pt x="33" y="15"/>
                    <a:pt x="31" y="14"/>
                  </a:cubicBezTo>
                  <a:cubicBezTo>
                    <a:pt x="30" y="13"/>
                    <a:pt x="27" y="15"/>
                    <a:pt x="26" y="17"/>
                  </a:cubicBezTo>
                  <a:cubicBezTo>
                    <a:pt x="25" y="18"/>
                    <a:pt x="21" y="12"/>
                    <a:pt x="24" y="10"/>
                  </a:cubicBezTo>
                  <a:cubicBezTo>
                    <a:pt x="27" y="9"/>
                    <a:pt x="15" y="2"/>
                    <a:pt x="12" y="2"/>
                  </a:cubicBezTo>
                  <a:cubicBezTo>
                    <a:pt x="8" y="2"/>
                    <a:pt x="11" y="5"/>
                    <a:pt x="13" y="7"/>
                  </a:cubicBezTo>
                  <a:cubicBezTo>
                    <a:pt x="15" y="8"/>
                    <a:pt x="11" y="8"/>
                    <a:pt x="10" y="6"/>
                  </a:cubicBezTo>
                  <a:cubicBezTo>
                    <a:pt x="9" y="5"/>
                    <a:pt x="6" y="6"/>
                    <a:pt x="5" y="8"/>
                  </a:cubicBezTo>
                  <a:cubicBezTo>
                    <a:pt x="3" y="11"/>
                    <a:pt x="1" y="12"/>
                    <a:pt x="1" y="14"/>
                  </a:cubicBezTo>
                  <a:cubicBezTo>
                    <a:pt x="0" y="15"/>
                    <a:pt x="5" y="17"/>
                    <a:pt x="8" y="16"/>
                  </a:cubicBezTo>
                  <a:cubicBezTo>
                    <a:pt x="12" y="14"/>
                    <a:pt x="16" y="14"/>
                    <a:pt x="18" y="16"/>
                  </a:cubicBezTo>
                  <a:cubicBezTo>
                    <a:pt x="20" y="17"/>
                    <a:pt x="15" y="18"/>
                    <a:pt x="17" y="20"/>
                  </a:cubicBezTo>
                  <a:cubicBezTo>
                    <a:pt x="19" y="21"/>
                    <a:pt x="17" y="22"/>
                    <a:pt x="12" y="22"/>
                  </a:cubicBezTo>
                  <a:cubicBezTo>
                    <a:pt x="8" y="21"/>
                    <a:pt x="2" y="23"/>
                    <a:pt x="3" y="24"/>
                  </a:cubicBezTo>
                  <a:cubicBezTo>
                    <a:pt x="4" y="26"/>
                    <a:pt x="15" y="23"/>
                    <a:pt x="15" y="25"/>
                  </a:cubicBezTo>
                  <a:cubicBezTo>
                    <a:pt x="15" y="26"/>
                    <a:pt x="15" y="29"/>
                    <a:pt x="18" y="28"/>
                  </a:cubicBezTo>
                  <a:cubicBezTo>
                    <a:pt x="21" y="26"/>
                    <a:pt x="19" y="30"/>
                    <a:pt x="20" y="30"/>
                  </a:cubicBezTo>
                  <a:cubicBezTo>
                    <a:pt x="22" y="31"/>
                    <a:pt x="21" y="34"/>
                    <a:pt x="17" y="34"/>
                  </a:cubicBezTo>
                  <a:cubicBezTo>
                    <a:pt x="14" y="34"/>
                    <a:pt x="12" y="35"/>
                    <a:pt x="13" y="37"/>
                  </a:cubicBezTo>
                  <a:cubicBezTo>
                    <a:pt x="15" y="39"/>
                    <a:pt x="20" y="37"/>
                    <a:pt x="24" y="36"/>
                  </a:cubicBezTo>
                  <a:cubicBezTo>
                    <a:pt x="28" y="35"/>
                    <a:pt x="33" y="40"/>
                    <a:pt x="38" y="42"/>
                  </a:cubicBezTo>
                  <a:cubicBezTo>
                    <a:pt x="43" y="44"/>
                    <a:pt x="51" y="41"/>
                    <a:pt x="52" y="39"/>
                  </a:cubicBezTo>
                  <a:cubicBezTo>
                    <a:pt x="53" y="36"/>
                    <a:pt x="60" y="37"/>
                    <a:pt x="62" y="35"/>
                  </a:cubicBezTo>
                  <a:cubicBezTo>
                    <a:pt x="65" y="34"/>
                    <a:pt x="68" y="32"/>
                    <a:pt x="73" y="3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0" name="Freeform 317">
              <a:extLst>
                <a:ext uri="{FF2B5EF4-FFF2-40B4-BE49-F238E27FC236}">
                  <a16:creationId xmlns:a16="http://schemas.microsoft.com/office/drawing/2014/main" id="{678FCEEE-D378-DB3C-7907-B3E5F2B099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7910" y="2408750"/>
              <a:ext cx="139682" cy="153968"/>
            </a:xfrm>
            <a:custGeom>
              <a:avLst/>
              <a:gdLst>
                <a:gd name="T0" fmla="*/ 33 w 37"/>
                <a:gd name="T1" fmla="*/ 13 h 41"/>
                <a:gd name="T2" fmla="*/ 30 w 37"/>
                <a:gd name="T3" fmla="*/ 11 h 41"/>
                <a:gd name="T4" fmla="*/ 25 w 37"/>
                <a:gd name="T5" fmla="*/ 12 h 41"/>
                <a:gd name="T6" fmla="*/ 20 w 37"/>
                <a:gd name="T7" fmla="*/ 11 h 41"/>
                <a:gd name="T8" fmla="*/ 22 w 37"/>
                <a:gd name="T9" fmla="*/ 6 h 41"/>
                <a:gd name="T10" fmla="*/ 24 w 37"/>
                <a:gd name="T11" fmla="*/ 2 h 41"/>
                <a:gd name="T12" fmla="*/ 23 w 37"/>
                <a:gd name="T13" fmla="*/ 1 h 41"/>
                <a:gd name="T14" fmla="*/ 15 w 37"/>
                <a:gd name="T15" fmla="*/ 3 h 41"/>
                <a:gd name="T16" fmla="*/ 19 w 37"/>
                <a:gd name="T17" fmla="*/ 7 h 41"/>
                <a:gd name="T18" fmla="*/ 13 w 37"/>
                <a:gd name="T19" fmla="*/ 10 h 41"/>
                <a:gd name="T20" fmla="*/ 4 w 37"/>
                <a:gd name="T21" fmla="*/ 10 h 41"/>
                <a:gd name="T22" fmla="*/ 5 w 37"/>
                <a:gd name="T23" fmla="*/ 16 h 41"/>
                <a:gd name="T24" fmla="*/ 9 w 37"/>
                <a:gd name="T25" fmla="*/ 22 h 41"/>
                <a:gd name="T26" fmla="*/ 7 w 37"/>
                <a:gd name="T27" fmla="*/ 29 h 41"/>
                <a:gd name="T28" fmla="*/ 1 w 37"/>
                <a:gd name="T29" fmla="*/ 34 h 41"/>
                <a:gd name="T30" fmla="*/ 9 w 37"/>
                <a:gd name="T31" fmla="*/ 41 h 41"/>
                <a:gd name="T32" fmla="*/ 23 w 37"/>
                <a:gd name="T33" fmla="*/ 35 h 41"/>
                <a:gd name="T34" fmla="*/ 33 w 37"/>
                <a:gd name="T35" fmla="*/ 33 h 41"/>
                <a:gd name="T36" fmla="*/ 33 w 37"/>
                <a:gd name="T37" fmla="*/ 14 h 41"/>
                <a:gd name="T38" fmla="*/ 33 w 37"/>
                <a:gd name="T39" fmla="*/ 1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41">
                  <a:moveTo>
                    <a:pt x="33" y="13"/>
                  </a:moveTo>
                  <a:cubicBezTo>
                    <a:pt x="32" y="12"/>
                    <a:pt x="31" y="11"/>
                    <a:pt x="30" y="11"/>
                  </a:cubicBezTo>
                  <a:cubicBezTo>
                    <a:pt x="27" y="7"/>
                    <a:pt x="26" y="10"/>
                    <a:pt x="25" y="12"/>
                  </a:cubicBezTo>
                  <a:cubicBezTo>
                    <a:pt x="25" y="14"/>
                    <a:pt x="22" y="11"/>
                    <a:pt x="20" y="11"/>
                  </a:cubicBezTo>
                  <a:cubicBezTo>
                    <a:pt x="19" y="11"/>
                    <a:pt x="21" y="7"/>
                    <a:pt x="22" y="6"/>
                  </a:cubicBezTo>
                  <a:cubicBezTo>
                    <a:pt x="23" y="6"/>
                    <a:pt x="24" y="4"/>
                    <a:pt x="24" y="2"/>
                  </a:cubicBezTo>
                  <a:cubicBezTo>
                    <a:pt x="24" y="2"/>
                    <a:pt x="24" y="2"/>
                    <a:pt x="23" y="1"/>
                  </a:cubicBezTo>
                  <a:cubicBezTo>
                    <a:pt x="20" y="0"/>
                    <a:pt x="15" y="0"/>
                    <a:pt x="15" y="3"/>
                  </a:cubicBezTo>
                  <a:cubicBezTo>
                    <a:pt x="15" y="6"/>
                    <a:pt x="19" y="5"/>
                    <a:pt x="19" y="7"/>
                  </a:cubicBezTo>
                  <a:cubicBezTo>
                    <a:pt x="19" y="9"/>
                    <a:pt x="15" y="8"/>
                    <a:pt x="13" y="10"/>
                  </a:cubicBezTo>
                  <a:cubicBezTo>
                    <a:pt x="10" y="12"/>
                    <a:pt x="7" y="9"/>
                    <a:pt x="4" y="10"/>
                  </a:cubicBezTo>
                  <a:cubicBezTo>
                    <a:pt x="1" y="12"/>
                    <a:pt x="7" y="13"/>
                    <a:pt x="5" y="16"/>
                  </a:cubicBezTo>
                  <a:cubicBezTo>
                    <a:pt x="3" y="19"/>
                    <a:pt x="5" y="19"/>
                    <a:pt x="9" y="22"/>
                  </a:cubicBezTo>
                  <a:cubicBezTo>
                    <a:pt x="12" y="25"/>
                    <a:pt x="7" y="26"/>
                    <a:pt x="7" y="29"/>
                  </a:cubicBezTo>
                  <a:cubicBezTo>
                    <a:pt x="7" y="32"/>
                    <a:pt x="2" y="32"/>
                    <a:pt x="1" y="34"/>
                  </a:cubicBezTo>
                  <a:cubicBezTo>
                    <a:pt x="0" y="36"/>
                    <a:pt x="5" y="41"/>
                    <a:pt x="9" y="41"/>
                  </a:cubicBezTo>
                  <a:cubicBezTo>
                    <a:pt x="12" y="41"/>
                    <a:pt x="19" y="39"/>
                    <a:pt x="23" y="35"/>
                  </a:cubicBezTo>
                  <a:cubicBezTo>
                    <a:pt x="27" y="31"/>
                    <a:pt x="29" y="35"/>
                    <a:pt x="33" y="33"/>
                  </a:cubicBezTo>
                  <a:cubicBezTo>
                    <a:pt x="37" y="31"/>
                    <a:pt x="34" y="17"/>
                    <a:pt x="33" y="14"/>
                  </a:cubicBezTo>
                  <a:cubicBezTo>
                    <a:pt x="33" y="14"/>
                    <a:pt x="33" y="13"/>
                    <a:pt x="33" y="1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1" name="Freeform 319">
              <a:extLst>
                <a:ext uri="{FF2B5EF4-FFF2-40B4-BE49-F238E27FC236}">
                  <a16:creationId xmlns:a16="http://schemas.microsoft.com/office/drawing/2014/main" id="{3968781F-A6C9-BDB5-D1EE-00917EC4D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9339" y="2161133"/>
              <a:ext cx="304760" cy="465078"/>
            </a:xfrm>
            <a:custGeom>
              <a:avLst/>
              <a:gdLst>
                <a:gd name="T0" fmla="*/ 5 w 81"/>
                <a:gd name="T1" fmla="*/ 68 h 124"/>
                <a:gd name="T2" fmla="*/ 1 w 81"/>
                <a:gd name="T3" fmla="*/ 77 h 124"/>
                <a:gd name="T4" fmla="*/ 11 w 81"/>
                <a:gd name="T5" fmla="*/ 77 h 124"/>
                <a:gd name="T6" fmla="*/ 20 w 81"/>
                <a:gd name="T7" fmla="*/ 75 h 124"/>
                <a:gd name="T8" fmla="*/ 81 w 81"/>
                <a:gd name="T9" fmla="*/ 96 h 124"/>
                <a:gd name="T10" fmla="*/ 68 w 81"/>
                <a:gd name="T11" fmla="*/ 91 h 124"/>
                <a:gd name="T12" fmla="*/ 65 w 81"/>
                <a:gd name="T13" fmla="*/ 82 h 124"/>
                <a:gd name="T14" fmla="*/ 54 w 81"/>
                <a:gd name="T15" fmla="*/ 63 h 124"/>
                <a:gd name="T16" fmla="*/ 41 w 81"/>
                <a:gd name="T17" fmla="*/ 57 h 124"/>
                <a:gd name="T18" fmla="*/ 50 w 81"/>
                <a:gd name="T19" fmla="*/ 38 h 124"/>
                <a:gd name="T20" fmla="*/ 33 w 81"/>
                <a:gd name="T21" fmla="*/ 35 h 124"/>
                <a:gd name="T22" fmla="*/ 40 w 81"/>
                <a:gd name="T23" fmla="*/ 23 h 124"/>
                <a:gd name="T24" fmla="*/ 28 w 81"/>
                <a:gd name="T25" fmla="*/ 27 h 124"/>
                <a:gd name="T26" fmla="*/ 19 w 81"/>
                <a:gd name="T27" fmla="*/ 39 h 124"/>
                <a:gd name="T28" fmla="*/ 12 w 81"/>
                <a:gd name="T29" fmla="*/ 39 h 124"/>
                <a:gd name="T30" fmla="*/ 15 w 81"/>
                <a:gd name="T31" fmla="*/ 50 h 124"/>
                <a:gd name="T32" fmla="*/ 13 w 81"/>
                <a:gd name="T33" fmla="*/ 59 h 124"/>
                <a:gd name="T34" fmla="*/ 22 w 81"/>
                <a:gd name="T35" fmla="*/ 62 h 124"/>
                <a:gd name="T36" fmla="*/ 27 w 81"/>
                <a:gd name="T37" fmla="*/ 62 h 124"/>
                <a:gd name="T38" fmla="*/ 36 w 81"/>
                <a:gd name="T39" fmla="*/ 69 h 124"/>
                <a:gd name="T40" fmla="*/ 39 w 81"/>
                <a:gd name="T41" fmla="*/ 76 h 124"/>
                <a:gd name="T42" fmla="*/ 41 w 81"/>
                <a:gd name="T43" fmla="*/ 86 h 124"/>
                <a:gd name="T44" fmla="*/ 30 w 81"/>
                <a:gd name="T45" fmla="*/ 88 h 124"/>
                <a:gd name="T46" fmla="*/ 32 w 81"/>
                <a:gd name="T47" fmla="*/ 96 h 124"/>
                <a:gd name="T48" fmla="*/ 28 w 81"/>
                <a:gd name="T49" fmla="*/ 105 h 124"/>
                <a:gd name="T50" fmla="*/ 41 w 81"/>
                <a:gd name="T51" fmla="*/ 107 h 124"/>
                <a:gd name="T52" fmla="*/ 33 w 81"/>
                <a:gd name="T53" fmla="*/ 110 h 124"/>
                <a:gd name="T54" fmla="*/ 28 w 81"/>
                <a:gd name="T55" fmla="*/ 119 h 124"/>
                <a:gd name="T56" fmla="*/ 38 w 81"/>
                <a:gd name="T57" fmla="*/ 117 h 124"/>
                <a:gd name="T58" fmla="*/ 50 w 81"/>
                <a:gd name="T59" fmla="*/ 114 h 124"/>
                <a:gd name="T60" fmla="*/ 66 w 81"/>
                <a:gd name="T61" fmla="*/ 114 h 124"/>
                <a:gd name="T62" fmla="*/ 73 w 81"/>
                <a:gd name="T63" fmla="*/ 108 h 124"/>
                <a:gd name="T64" fmla="*/ 81 w 81"/>
                <a:gd name="T65" fmla="*/ 96 h 124"/>
                <a:gd name="T66" fmla="*/ 14 w 81"/>
                <a:gd name="T67" fmla="*/ 29 h 124"/>
                <a:gd name="T68" fmla="*/ 55 w 81"/>
                <a:gd name="T69" fmla="*/ 10 h 124"/>
                <a:gd name="T70" fmla="*/ 55 w 81"/>
                <a:gd name="T71" fmla="*/ 1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" h="124">
                  <a:moveTo>
                    <a:pt x="16" y="66"/>
                  </a:moveTo>
                  <a:cubicBezTo>
                    <a:pt x="12" y="63"/>
                    <a:pt x="9" y="68"/>
                    <a:pt x="5" y="68"/>
                  </a:cubicBezTo>
                  <a:cubicBezTo>
                    <a:pt x="5" y="70"/>
                    <a:pt x="4" y="72"/>
                    <a:pt x="3" y="72"/>
                  </a:cubicBezTo>
                  <a:cubicBezTo>
                    <a:pt x="2" y="73"/>
                    <a:pt x="0" y="77"/>
                    <a:pt x="1" y="77"/>
                  </a:cubicBezTo>
                  <a:cubicBezTo>
                    <a:pt x="3" y="77"/>
                    <a:pt x="6" y="80"/>
                    <a:pt x="6" y="78"/>
                  </a:cubicBezTo>
                  <a:cubicBezTo>
                    <a:pt x="7" y="76"/>
                    <a:pt x="8" y="73"/>
                    <a:pt x="11" y="77"/>
                  </a:cubicBezTo>
                  <a:cubicBezTo>
                    <a:pt x="12" y="77"/>
                    <a:pt x="13" y="78"/>
                    <a:pt x="14" y="79"/>
                  </a:cubicBezTo>
                  <a:cubicBezTo>
                    <a:pt x="14" y="77"/>
                    <a:pt x="18" y="77"/>
                    <a:pt x="20" y="75"/>
                  </a:cubicBezTo>
                  <a:cubicBezTo>
                    <a:pt x="22" y="73"/>
                    <a:pt x="19" y="69"/>
                    <a:pt x="16" y="66"/>
                  </a:cubicBezTo>
                  <a:close/>
                  <a:moveTo>
                    <a:pt x="81" y="96"/>
                  </a:moveTo>
                  <a:cubicBezTo>
                    <a:pt x="81" y="92"/>
                    <a:pt x="73" y="89"/>
                    <a:pt x="72" y="91"/>
                  </a:cubicBezTo>
                  <a:cubicBezTo>
                    <a:pt x="71" y="93"/>
                    <a:pt x="69" y="93"/>
                    <a:pt x="68" y="91"/>
                  </a:cubicBezTo>
                  <a:cubicBezTo>
                    <a:pt x="67" y="89"/>
                    <a:pt x="69" y="87"/>
                    <a:pt x="68" y="87"/>
                  </a:cubicBezTo>
                  <a:cubicBezTo>
                    <a:pt x="67" y="86"/>
                    <a:pt x="65" y="83"/>
                    <a:pt x="65" y="82"/>
                  </a:cubicBezTo>
                  <a:cubicBezTo>
                    <a:pt x="66" y="81"/>
                    <a:pt x="63" y="73"/>
                    <a:pt x="59" y="72"/>
                  </a:cubicBezTo>
                  <a:cubicBezTo>
                    <a:pt x="55" y="71"/>
                    <a:pt x="55" y="66"/>
                    <a:pt x="54" y="63"/>
                  </a:cubicBezTo>
                  <a:cubicBezTo>
                    <a:pt x="53" y="60"/>
                    <a:pt x="51" y="61"/>
                    <a:pt x="49" y="59"/>
                  </a:cubicBezTo>
                  <a:cubicBezTo>
                    <a:pt x="47" y="56"/>
                    <a:pt x="43" y="57"/>
                    <a:pt x="41" y="57"/>
                  </a:cubicBezTo>
                  <a:cubicBezTo>
                    <a:pt x="40" y="57"/>
                    <a:pt x="41" y="54"/>
                    <a:pt x="44" y="52"/>
                  </a:cubicBezTo>
                  <a:cubicBezTo>
                    <a:pt x="47" y="50"/>
                    <a:pt x="50" y="40"/>
                    <a:pt x="50" y="38"/>
                  </a:cubicBezTo>
                  <a:cubicBezTo>
                    <a:pt x="50" y="36"/>
                    <a:pt x="38" y="36"/>
                    <a:pt x="36" y="37"/>
                  </a:cubicBezTo>
                  <a:cubicBezTo>
                    <a:pt x="33" y="39"/>
                    <a:pt x="31" y="36"/>
                    <a:pt x="33" y="35"/>
                  </a:cubicBezTo>
                  <a:cubicBezTo>
                    <a:pt x="35" y="34"/>
                    <a:pt x="39" y="30"/>
                    <a:pt x="39" y="28"/>
                  </a:cubicBezTo>
                  <a:cubicBezTo>
                    <a:pt x="39" y="26"/>
                    <a:pt x="42" y="25"/>
                    <a:pt x="40" y="23"/>
                  </a:cubicBezTo>
                  <a:cubicBezTo>
                    <a:pt x="38" y="22"/>
                    <a:pt x="38" y="25"/>
                    <a:pt x="37" y="27"/>
                  </a:cubicBezTo>
                  <a:cubicBezTo>
                    <a:pt x="35" y="28"/>
                    <a:pt x="32" y="27"/>
                    <a:pt x="28" y="27"/>
                  </a:cubicBezTo>
                  <a:cubicBezTo>
                    <a:pt x="24" y="26"/>
                    <a:pt x="23" y="31"/>
                    <a:pt x="23" y="33"/>
                  </a:cubicBezTo>
                  <a:cubicBezTo>
                    <a:pt x="23" y="36"/>
                    <a:pt x="19" y="37"/>
                    <a:pt x="19" y="39"/>
                  </a:cubicBezTo>
                  <a:cubicBezTo>
                    <a:pt x="20" y="41"/>
                    <a:pt x="18" y="42"/>
                    <a:pt x="17" y="41"/>
                  </a:cubicBezTo>
                  <a:cubicBezTo>
                    <a:pt x="16" y="40"/>
                    <a:pt x="15" y="38"/>
                    <a:pt x="12" y="39"/>
                  </a:cubicBezTo>
                  <a:cubicBezTo>
                    <a:pt x="10" y="41"/>
                    <a:pt x="15" y="44"/>
                    <a:pt x="18" y="44"/>
                  </a:cubicBezTo>
                  <a:cubicBezTo>
                    <a:pt x="21" y="45"/>
                    <a:pt x="16" y="47"/>
                    <a:pt x="15" y="50"/>
                  </a:cubicBezTo>
                  <a:cubicBezTo>
                    <a:pt x="15" y="53"/>
                    <a:pt x="19" y="52"/>
                    <a:pt x="20" y="54"/>
                  </a:cubicBezTo>
                  <a:cubicBezTo>
                    <a:pt x="20" y="57"/>
                    <a:pt x="13" y="57"/>
                    <a:pt x="13" y="59"/>
                  </a:cubicBezTo>
                  <a:cubicBezTo>
                    <a:pt x="13" y="62"/>
                    <a:pt x="17" y="58"/>
                    <a:pt x="19" y="57"/>
                  </a:cubicBezTo>
                  <a:cubicBezTo>
                    <a:pt x="20" y="56"/>
                    <a:pt x="18" y="63"/>
                    <a:pt x="22" y="62"/>
                  </a:cubicBezTo>
                  <a:cubicBezTo>
                    <a:pt x="26" y="62"/>
                    <a:pt x="25" y="56"/>
                    <a:pt x="27" y="56"/>
                  </a:cubicBezTo>
                  <a:cubicBezTo>
                    <a:pt x="28" y="56"/>
                    <a:pt x="26" y="59"/>
                    <a:pt x="27" y="62"/>
                  </a:cubicBezTo>
                  <a:cubicBezTo>
                    <a:pt x="28" y="64"/>
                    <a:pt x="24" y="68"/>
                    <a:pt x="24" y="70"/>
                  </a:cubicBezTo>
                  <a:cubicBezTo>
                    <a:pt x="25" y="71"/>
                    <a:pt x="33" y="71"/>
                    <a:pt x="36" y="69"/>
                  </a:cubicBezTo>
                  <a:cubicBezTo>
                    <a:pt x="39" y="66"/>
                    <a:pt x="40" y="69"/>
                    <a:pt x="38" y="71"/>
                  </a:cubicBezTo>
                  <a:cubicBezTo>
                    <a:pt x="36" y="73"/>
                    <a:pt x="37" y="75"/>
                    <a:pt x="39" y="76"/>
                  </a:cubicBezTo>
                  <a:cubicBezTo>
                    <a:pt x="42" y="77"/>
                    <a:pt x="42" y="77"/>
                    <a:pt x="41" y="79"/>
                  </a:cubicBezTo>
                  <a:cubicBezTo>
                    <a:pt x="40" y="81"/>
                    <a:pt x="41" y="84"/>
                    <a:pt x="41" y="86"/>
                  </a:cubicBezTo>
                  <a:cubicBezTo>
                    <a:pt x="40" y="88"/>
                    <a:pt x="33" y="88"/>
                    <a:pt x="33" y="87"/>
                  </a:cubicBezTo>
                  <a:cubicBezTo>
                    <a:pt x="32" y="85"/>
                    <a:pt x="29" y="86"/>
                    <a:pt x="30" y="88"/>
                  </a:cubicBezTo>
                  <a:cubicBezTo>
                    <a:pt x="31" y="89"/>
                    <a:pt x="27" y="91"/>
                    <a:pt x="28" y="93"/>
                  </a:cubicBezTo>
                  <a:cubicBezTo>
                    <a:pt x="28" y="94"/>
                    <a:pt x="32" y="94"/>
                    <a:pt x="32" y="96"/>
                  </a:cubicBezTo>
                  <a:cubicBezTo>
                    <a:pt x="32" y="98"/>
                    <a:pt x="29" y="100"/>
                    <a:pt x="25" y="101"/>
                  </a:cubicBezTo>
                  <a:cubicBezTo>
                    <a:pt x="20" y="103"/>
                    <a:pt x="26" y="106"/>
                    <a:pt x="28" y="105"/>
                  </a:cubicBezTo>
                  <a:cubicBezTo>
                    <a:pt x="30" y="103"/>
                    <a:pt x="29" y="106"/>
                    <a:pt x="33" y="106"/>
                  </a:cubicBezTo>
                  <a:cubicBezTo>
                    <a:pt x="36" y="106"/>
                    <a:pt x="37" y="108"/>
                    <a:pt x="41" y="107"/>
                  </a:cubicBezTo>
                  <a:cubicBezTo>
                    <a:pt x="44" y="106"/>
                    <a:pt x="44" y="107"/>
                    <a:pt x="42" y="109"/>
                  </a:cubicBezTo>
                  <a:cubicBezTo>
                    <a:pt x="39" y="111"/>
                    <a:pt x="35" y="109"/>
                    <a:pt x="33" y="110"/>
                  </a:cubicBezTo>
                  <a:cubicBezTo>
                    <a:pt x="30" y="111"/>
                    <a:pt x="21" y="121"/>
                    <a:pt x="23" y="123"/>
                  </a:cubicBezTo>
                  <a:cubicBezTo>
                    <a:pt x="24" y="124"/>
                    <a:pt x="25" y="121"/>
                    <a:pt x="28" y="119"/>
                  </a:cubicBezTo>
                  <a:cubicBezTo>
                    <a:pt x="32" y="118"/>
                    <a:pt x="32" y="120"/>
                    <a:pt x="34" y="121"/>
                  </a:cubicBezTo>
                  <a:cubicBezTo>
                    <a:pt x="36" y="121"/>
                    <a:pt x="36" y="117"/>
                    <a:pt x="38" y="117"/>
                  </a:cubicBezTo>
                  <a:cubicBezTo>
                    <a:pt x="40" y="117"/>
                    <a:pt x="41" y="116"/>
                    <a:pt x="44" y="116"/>
                  </a:cubicBezTo>
                  <a:cubicBezTo>
                    <a:pt x="47" y="117"/>
                    <a:pt x="49" y="116"/>
                    <a:pt x="50" y="114"/>
                  </a:cubicBezTo>
                  <a:cubicBezTo>
                    <a:pt x="52" y="113"/>
                    <a:pt x="55" y="117"/>
                    <a:pt x="57" y="116"/>
                  </a:cubicBezTo>
                  <a:cubicBezTo>
                    <a:pt x="58" y="115"/>
                    <a:pt x="63" y="114"/>
                    <a:pt x="66" y="114"/>
                  </a:cubicBezTo>
                  <a:cubicBezTo>
                    <a:pt x="68" y="114"/>
                    <a:pt x="75" y="111"/>
                    <a:pt x="77" y="110"/>
                  </a:cubicBezTo>
                  <a:cubicBezTo>
                    <a:pt x="79" y="108"/>
                    <a:pt x="76" y="108"/>
                    <a:pt x="73" y="108"/>
                  </a:cubicBezTo>
                  <a:cubicBezTo>
                    <a:pt x="71" y="108"/>
                    <a:pt x="71" y="106"/>
                    <a:pt x="74" y="103"/>
                  </a:cubicBezTo>
                  <a:cubicBezTo>
                    <a:pt x="76" y="101"/>
                    <a:pt x="80" y="99"/>
                    <a:pt x="81" y="96"/>
                  </a:cubicBezTo>
                  <a:close/>
                  <a:moveTo>
                    <a:pt x="9" y="36"/>
                  </a:moveTo>
                  <a:cubicBezTo>
                    <a:pt x="12" y="36"/>
                    <a:pt x="16" y="30"/>
                    <a:pt x="14" y="29"/>
                  </a:cubicBezTo>
                  <a:cubicBezTo>
                    <a:pt x="13" y="27"/>
                    <a:pt x="7" y="36"/>
                    <a:pt x="9" y="36"/>
                  </a:cubicBezTo>
                  <a:close/>
                  <a:moveTo>
                    <a:pt x="55" y="10"/>
                  </a:moveTo>
                  <a:cubicBezTo>
                    <a:pt x="57" y="8"/>
                    <a:pt x="59" y="0"/>
                    <a:pt x="56" y="1"/>
                  </a:cubicBezTo>
                  <a:cubicBezTo>
                    <a:pt x="53" y="2"/>
                    <a:pt x="54" y="11"/>
                    <a:pt x="55" y="1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2" name="Freeform 320">
              <a:extLst>
                <a:ext uri="{FF2B5EF4-FFF2-40B4-BE49-F238E27FC236}">
                  <a16:creationId xmlns:a16="http://schemas.microsoft.com/office/drawing/2014/main" id="{787F8894-572A-63CA-41F4-D91352C746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8227" y="2296056"/>
              <a:ext cx="146032" cy="138095"/>
            </a:xfrm>
            <a:custGeom>
              <a:avLst/>
              <a:gdLst>
                <a:gd name="T0" fmla="*/ 20 w 39"/>
                <a:gd name="T1" fmla="*/ 14 h 37"/>
                <a:gd name="T2" fmla="*/ 20 w 39"/>
                <a:gd name="T3" fmla="*/ 8 h 37"/>
                <a:gd name="T4" fmla="*/ 21 w 39"/>
                <a:gd name="T5" fmla="*/ 1 h 37"/>
                <a:gd name="T6" fmla="*/ 15 w 39"/>
                <a:gd name="T7" fmla="*/ 4 h 37"/>
                <a:gd name="T8" fmla="*/ 10 w 39"/>
                <a:gd name="T9" fmla="*/ 7 h 37"/>
                <a:gd name="T10" fmla="*/ 10 w 39"/>
                <a:gd name="T11" fmla="*/ 11 h 37"/>
                <a:gd name="T12" fmla="*/ 6 w 39"/>
                <a:gd name="T13" fmla="*/ 8 h 37"/>
                <a:gd name="T14" fmla="*/ 2 w 39"/>
                <a:gd name="T15" fmla="*/ 14 h 37"/>
                <a:gd name="T16" fmla="*/ 2 w 39"/>
                <a:gd name="T17" fmla="*/ 23 h 37"/>
                <a:gd name="T18" fmla="*/ 5 w 39"/>
                <a:gd name="T19" fmla="*/ 30 h 37"/>
                <a:gd name="T20" fmla="*/ 6 w 39"/>
                <a:gd name="T21" fmla="*/ 34 h 37"/>
                <a:gd name="T22" fmla="*/ 13 w 39"/>
                <a:gd name="T23" fmla="*/ 34 h 37"/>
                <a:gd name="T24" fmla="*/ 16 w 39"/>
                <a:gd name="T25" fmla="*/ 34 h 37"/>
                <a:gd name="T26" fmla="*/ 13 w 39"/>
                <a:gd name="T27" fmla="*/ 30 h 37"/>
                <a:gd name="T28" fmla="*/ 17 w 39"/>
                <a:gd name="T29" fmla="*/ 31 h 37"/>
                <a:gd name="T30" fmla="*/ 23 w 39"/>
                <a:gd name="T31" fmla="*/ 31 h 37"/>
                <a:gd name="T32" fmla="*/ 20 w 39"/>
                <a:gd name="T33" fmla="*/ 26 h 37"/>
                <a:gd name="T34" fmla="*/ 17 w 39"/>
                <a:gd name="T35" fmla="*/ 25 h 37"/>
                <a:gd name="T36" fmla="*/ 19 w 39"/>
                <a:gd name="T37" fmla="*/ 20 h 37"/>
                <a:gd name="T38" fmla="*/ 24 w 39"/>
                <a:gd name="T39" fmla="*/ 18 h 37"/>
                <a:gd name="T40" fmla="*/ 20 w 39"/>
                <a:gd name="T41" fmla="*/ 14 h 37"/>
                <a:gd name="T42" fmla="*/ 38 w 39"/>
                <a:gd name="T43" fmla="*/ 21 h 37"/>
                <a:gd name="T44" fmla="*/ 35 w 39"/>
                <a:gd name="T45" fmla="*/ 23 h 37"/>
                <a:gd name="T46" fmla="*/ 33 w 39"/>
                <a:gd name="T47" fmla="*/ 21 h 37"/>
                <a:gd name="T48" fmla="*/ 27 w 39"/>
                <a:gd name="T49" fmla="*/ 23 h 37"/>
                <a:gd name="T50" fmla="*/ 30 w 39"/>
                <a:gd name="T51" fmla="*/ 31 h 37"/>
                <a:gd name="T52" fmla="*/ 28 w 39"/>
                <a:gd name="T53" fmla="*/ 33 h 37"/>
                <a:gd name="T54" fmla="*/ 30 w 39"/>
                <a:gd name="T55" fmla="*/ 36 h 37"/>
                <a:gd name="T56" fmla="*/ 36 w 39"/>
                <a:gd name="T57" fmla="*/ 30 h 37"/>
                <a:gd name="T58" fmla="*/ 38 w 39"/>
                <a:gd name="T59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37">
                  <a:moveTo>
                    <a:pt x="20" y="14"/>
                  </a:moveTo>
                  <a:cubicBezTo>
                    <a:pt x="19" y="13"/>
                    <a:pt x="18" y="9"/>
                    <a:pt x="20" y="8"/>
                  </a:cubicBezTo>
                  <a:cubicBezTo>
                    <a:pt x="21" y="7"/>
                    <a:pt x="22" y="2"/>
                    <a:pt x="21" y="1"/>
                  </a:cubicBezTo>
                  <a:cubicBezTo>
                    <a:pt x="19" y="0"/>
                    <a:pt x="15" y="1"/>
                    <a:pt x="15" y="4"/>
                  </a:cubicBezTo>
                  <a:cubicBezTo>
                    <a:pt x="14" y="8"/>
                    <a:pt x="11" y="6"/>
                    <a:pt x="10" y="7"/>
                  </a:cubicBezTo>
                  <a:cubicBezTo>
                    <a:pt x="9" y="8"/>
                    <a:pt x="12" y="9"/>
                    <a:pt x="10" y="11"/>
                  </a:cubicBezTo>
                  <a:cubicBezTo>
                    <a:pt x="9" y="12"/>
                    <a:pt x="8" y="8"/>
                    <a:pt x="6" y="8"/>
                  </a:cubicBezTo>
                  <a:cubicBezTo>
                    <a:pt x="3" y="8"/>
                    <a:pt x="3" y="12"/>
                    <a:pt x="2" y="14"/>
                  </a:cubicBezTo>
                  <a:cubicBezTo>
                    <a:pt x="0" y="16"/>
                    <a:pt x="1" y="20"/>
                    <a:pt x="2" y="23"/>
                  </a:cubicBezTo>
                  <a:cubicBezTo>
                    <a:pt x="2" y="26"/>
                    <a:pt x="6" y="28"/>
                    <a:pt x="5" y="30"/>
                  </a:cubicBezTo>
                  <a:cubicBezTo>
                    <a:pt x="4" y="31"/>
                    <a:pt x="5" y="33"/>
                    <a:pt x="6" y="34"/>
                  </a:cubicBezTo>
                  <a:cubicBezTo>
                    <a:pt x="9" y="34"/>
                    <a:pt x="12" y="34"/>
                    <a:pt x="13" y="34"/>
                  </a:cubicBezTo>
                  <a:cubicBezTo>
                    <a:pt x="14" y="35"/>
                    <a:pt x="15" y="35"/>
                    <a:pt x="16" y="34"/>
                  </a:cubicBezTo>
                  <a:cubicBezTo>
                    <a:pt x="15" y="33"/>
                    <a:pt x="13" y="31"/>
                    <a:pt x="13" y="30"/>
                  </a:cubicBezTo>
                  <a:cubicBezTo>
                    <a:pt x="13" y="28"/>
                    <a:pt x="16" y="29"/>
                    <a:pt x="17" y="31"/>
                  </a:cubicBezTo>
                  <a:cubicBezTo>
                    <a:pt x="19" y="32"/>
                    <a:pt x="23" y="33"/>
                    <a:pt x="23" y="31"/>
                  </a:cubicBezTo>
                  <a:cubicBezTo>
                    <a:pt x="23" y="30"/>
                    <a:pt x="22" y="25"/>
                    <a:pt x="20" y="26"/>
                  </a:cubicBezTo>
                  <a:cubicBezTo>
                    <a:pt x="18" y="27"/>
                    <a:pt x="17" y="26"/>
                    <a:pt x="17" y="25"/>
                  </a:cubicBezTo>
                  <a:cubicBezTo>
                    <a:pt x="16" y="24"/>
                    <a:pt x="18" y="22"/>
                    <a:pt x="19" y="20"/>
                  </a:cubicBezTo>
                  <a:cubicBezTo>
                    <a:pt x="19" y="18"/>
                    <a:pt x="23" y="19"/>
                    <a:pt x="24" y="18"/>
                  </a:cubicBezTo>
                  <a:cubicBezTo>
                    <a:pt x="24" y="16"/>
                    <a:pt x="21" y="14"/>
                    <a:pt x="20" y="14"/>
                  </a:cubicBezTo>
                  <a:close/>
                  <a:moveTo>
                    <a:pt x="38" y="21"/>
                  </a:moveTo>
                  <a:cubicBezTo>
                    <a:pt x="37" y="20"/>
                    <a:pt x="36" y="23"/>
                    <a:pt x="35" y="23"/>
                  </a:cubicBezTo>
                  <a:cubicBezTo>
                    <a:pt x="34" y="23"/>
                    <a:pt x="33" y="18"/>
                    <a:pt x="33" y="21"/>
                  </a:cubicBezTo>
                  <a:cubicBezTo>
                    <a:pt x="32" y="24"/>
                    <a:pt x="30" y="20"/>
                    <a:pt x="27" y="23"/>
                  </a:cubicBezTo>
                  <a:cubicBezTo>
                    <a:pt x="25" y="27"/>
                    <a:pt x="29" y="30"/>
                    <a:pt x="30" y="31"/>
                  </a:cubicBezTo>
                  <a:cubicBezTo>
                    <a:pt x="32" y="32"/>
                    <a:pt x="30" y="33"/>
                    <a:pt x="28" y="33"/>
                  </a:cubicBezTo>
                  <a:cubicBezTo>
                    <a:pt x="26" y="32"/>
                    <a:pt x="27" y="36"/>
                    <a:pt x="30" y="36"/>
                  </a:cubicBezTo>
                  <a:cubicBezTo>
                    <a:pt x="33" y="37"/>
                    <a:pt x="36" y="31"/>
                    <a:pt x="36" y="30"/>
                  </a:cubicBezTo>
                  <a:cubicBezTo>
                    <a:pt x="36" y="28"/>
                    <a:pt x="39" y="22"/>
                    <a:pt x="38" y="2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3" name="Freeform 321">
              <a:extLst>
                <a:ext uri="{FF2B5EF4-FFF2-40B4-BE49-F238E27FC236}">
                  <a16:creationId xmlns:a16="http://schemas.microsoft.com/office/drawing/2014/main" id="{C7FC21D3-3BBF-83A3-3D8E-9F08DA023E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8227" y="1743672"/>
              <a:ext cx="376190" cy="660314"/>
            </a:xfrm>
            <a:custGeom>
              <a:avLst/>
              <a:gdLst>
                <a:gd name="T0" fmla="*/ 98 w 100"/>
                <a:gd name="T1" fmla="*/ 37 h 176"/>
                <a:gd name="T2" fmla="*/ 96 w 100"/>
                <a:gd name="T3" fmla="*/ 23 h 176"/>
                <a:gd name="T4" fmla="*/ 84 w 100"/>
                <a:gd name="T5" fmla="*/ 9 h 176"/>
                <a:gd name="T6" fmla="*/ 70 w 100"/>
                <a:gd name="T7" fmla="*/ 8 h 176"/>
                <a:gd name="T8" fmla="*/ 56 w 100"/>
                <a:gd name="T9" fmla="*/ 8 h 176"/>
                <a:gd name="T10" fmla="*/ 48 w 100"/>
                <a:gd name="T11" fmla="*/ 16 h 176"/>
                <a:gd name="T12" fmla="*/ 40 w 100"/>
                <a:gd name="T13" fmla="*/ 26 h 176"/>
                <a:gd name="T14" fmla="*/ 34 w 100"/>
                <a:gd name="T15" fmla="*/ 37 h 176"/>
                <a:gd name="T16" fmla="*/ 26 w 100"/>
                <a:gd name="T17" fmla="*/ 43 h 176"/>
                <a:gd name="T18" fmla="*/ 20 w 100"/>
                <a:gd name="T19" fmla="*/ 60 h 176"/>
                <a:gd name="T20" fmla="*/ 22 w 100"/>
                <a:gd name="T21" fmla="*/ 69 h 176"/>
                <a:gd name="T22" fmla="*/ 9 w 100"/>
                <a:gd name="T23" fmla="*/ 75 h 176"/>
                <a:gd name="T24" fmla="*/ 8 w 100"/>
                <a:gd name="T25" fmla="*/ 91 h 176"/>
                <a:gd name="T26" fmla="*/ 13 w 100"/>
                <a:gd name="T27" fmla="*/ 104 h 176"/>
                <a:gd name="T28" fmla="*/ 10 w 100"/>
                <a:gd name="T29" fmla="*/ 112 h 176"/>
                <a:gd name="T30" fmla="*/ 5 w 100"/>
                <a:gd name="T31" fmla="*/ 122 h 176"/>
                <a:gd name="T32" fmla="*/ 2 w 100"/>
                <a:gd name="T33" fmla="*/ 134 h 176"/>
                <a:gd name="T34" fmla="*/ 0 w 100"/>
                <a:gd name="T35" fmla="*/ 134 h 176"/>
                <a:gd name="T36" fmla="*/ 6 w 100"/>
                <a:gd name="T37" fmla="*/ 150 h 176"/>
                <a:gd name="T38" fmla="*/ 12 w 100"/>
                <a:gd name="T39" fmla="*/ 164 h 176"/>
                <a:gd name="T40" fmla="*/ 14 w 100"/>
                <a:gd name="T41" fmla="*/ 174 h 176"/>
                <a:gd name="T42" fmla="*/ 24 w 100"/>
                <a:gd name="T43" fmla="*/ 169 h 176"/>
                <a:gd name="T44" fmla="*/ 33 w 100"/>
                <a:gd name="T45" fmla="*/ 166 h 176"/>
                <a:gd name="T46" fmla="*/ 40 w 100"/>
                <a:gd name="T47" fmla="*/ 164 h 176"/>
                <a:gd name="T48" fmla="*/ 42 w 100"/>
                <a:gd name="T49" fmla="*/ 156 h 176"/>
                <a:gd name="T50" fmla="*/ 43 w 100"/>
                <a:gd name="T51" fmla="*/ 139 h 176"/>
                <a:gd name="T52" fmla="*/ 55 w 100"/>
                <a:gd name="T53" fmla="*/ 128 h 176"/>
                <a:gd name="T54" fmla="*/ 52 w 100"/>
                <a:gd name="T55" fmla="*/ 113 h 176"/>
                <a:gd name="T56" fmla="*/ 45 w 100"/>
                <a:gd name="T57" fmla="*/ 102 h 176"/>
                <a:gd name="T58" fmla="*/ 51 w 100"/>
                <a:gd name="T59" fmla="*/ 88 h 176"/>
                <a:gd name="T60" fmla="*/ 60 w 100"/>
                <a:gd name="T61" fmla="*/ 78 h 176"/>
                <a:gd name="T62" fmla="*/ 80 w 100"/>
                <a:gd name="T63" fmla="*/ 65 h 176"/>
                <a:gd name="T64" fmla="*/ 82 w 100"/>
                <a:gd name="T65" fmla="*/ 50 h 176"/>
                <a:gd name="T66" fmla="*/ 96 w 100"/>
                <a:gd name="T67" fmla="*/ 45 h 176"/>
                <a:gd name="T68" fmla="*/ 99 w 100"/>
                <a:gd name="T69" fmla="*/ 42 h 176"/>
                <a:gd name="T70" fmla="*/ 53 w 100"/>
                <a:gd name="T71" fmla="*/ 157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" h="176">
                  <a:moveTo>
                    <a:pt x="99" y="42"/>
                  </a:moveTo>
                  <a:cubicBezTo>
                    <a:pt x="98" y="40"/>
                    <a:pt x="96" y="37"/>
                    <a:pt x="98" y="37"/>
                  </a:cubicBezTo>
                  <a:cubicBezTo>
                    <a:pt x="99" y="37"/>
                    <a:pt x="100" y="32"/>
                    <a:pt x="98" y="30"/>
                  </a:cubicBezTo>
                  <a:cubicBezTo>
                    <a:pt x="96" y="29"/>
                    <a:pt x="98" y="24"/>
                    <a:pt x="96" y="23"/>
                  </a:cubicBezTo>
                  <a:cubicBezTo>
                    <a:pt x="94" y="22"/>
                    <a:pt x="95" y="18"/>
                    <a:pt x="96" y="16"/>
                  </a:cubicBezTo>
                  <a:cubicBezTo>
                    <a:pt x="96" y="13"/>
                    <a:pt x="88" y="11"/>
                    <a:pt x="84" y="9"/>
                  </a:cubicBezTo>
                  <a:cubicBezTo>
                    <a:pt x="80" y="7"/>
                    <a:pt x="78" y="4"/>
                    <a:pt x="75" y="2"/>
                  </a:cubicBezTo>
                  <a:cubicBezTo>
                    <a:pt x="71" y="0"/>
                    <a:pt x="70" y="5"/>
                    <a:pt x="70" y="8"/>
                  </a:cubicBezTo>
                  <a:cubicBezTo>
                    <a:pt x="70" y="11"/>
                    <a:pt x="67" y="11"/>
                    <a:pt x="65" y="9"/>
                  </a:cubicBezTo>
                  <a:cubicBezTo>
                    <a:pt x="62" y="8"/>
                    <a:pt x="60" y="9"/>
                    <a:pt x="56" y="8"/>
                  </a:cubicBezTo>
                  <a:cubicBezTo>
                    <a:pt x="53" y="6"/>
                    <a:pt x="54" y="11"/>
                    <a:pt x="54" y="14"/>
                  </a:cubicBezTo>
                  <a:cubicBezTo>
                    <a:pt x="54" y="16"/>
                    <a:pt x="51" y="16"/>
                    <a:pt x="48" y="16"/>
                  </a:cubicBezTo>
                  <a:cubicBezTo>
                    <a:pt x="46" y="16"/>
                    <a:pt x="42" y="18"/>
                    <a:pt x="42" y="21"/>
                  </a:cubicBezTo>
                  <a:cubicBezTo>
                    <a:pt x="42" y="23"/>
                    <a:pt x="39" y="25"/>
                    <a:pt x="40" y="26"/>
                  </a:cubicBezTo>
                  <a:cubicBezTo>
                    <a:pt x="41" y="28"/>
                    <a:pt x="39" y="29"/>
                    <a:pt x="38" y="30"/>
                  </a:cubicBezTo>
                  <a:cubicBezTo>
                    <a:pt x="36" y="32"/>
                    <a:pt x="35" y="35"/>
                    <a:pt x="34" y="37"/>
                  </a:cubicBezTo>
                  <a:cubicBezTo>
                    <a:pt x="33" y="38"/>
                    <a:pt x="34" y="40"/>
                    <a:pt x="32" y="41"/>
                  </a:cubicBezTo>
                  <a:cubicBezTo>
                    <a:pt x="30" y="43"/>
                    <a:pt x="27" y="42"/>
                    <a:pt x="26" y="43"/>
                  </a:cubicBezTo>
                  <a:cubicBezTo>
                    <a:pt x="25" y="44"/>
                    <a:pt x="26" y="47"/>
                    <a:pt x="26" y="50"/>
                  </a:cubicBezTo>
                  <a:cubicBezTo>
                    <a:pt x="25" y="53"/>
                    <a:pt x="23" y="57"/>
                    <a:pt x="20" y="60"/>
                  </a:cubicBezTo>
                  <a:cubicBezTo>
                    <a:pt x="18" y="63"/>
                    <a:pt x="21" y="64"/>
                    <a:pt x="22" y="64"/>
                  </a:cubicBezTo>
                  <a:cubicBezTo>
                    <a:pt x="23" y="65"/>
                    <a:pt x="23" y="67"/>
                    <a:pt x="22" y="69"/>
                  </a:cubicBezTo>
                  <a:cubicBezTo>
                    <a:pt x="21" y="71"/>
                    <a:pt x="18" y="70"/>
                    <a:pt x="17" y="69"/>
                  </a:cubicBezTo>
                  <a:cubicBezTo>
                    <a:pt x="15" y="69"/>
                    <a:pt x="11" y="71"/>
                    <a:pt x="9" y="75"/>
                  </a:cubicBezTo>
                  <a:cubicBezTo>
                    <a:pt x="7" y="79"/>
                    <a:pt x="7" y="81"/>
                    <a:pt x="8" y="83"/>
                  </a:cubicBezTo>
                  <a:cubicBezTo>
                    <a:pt x="9" y="85"/>
                    <a:pt x="6" y="87"/>
                    <a:pt x="8" y="91"/>
                  </a:cubicBezTo>
                  <a:cubicBezTo>
                    <a:pt x="10" y="95"/>
                    <a:pt x="7" y="95"/>
                    <a:pt x="8" y="98"/>
                  </a:cubicBezTo>
                  <a:cubicBezTo>
                    <a:pt x="8" y="102"/>
                    <a:pt x="13" y="101"/>
                    <a:pt x="13" y="104"/>
                  </a:cubicBezTo>
                  <a:cubicBezTo>
                    <a:pt x="13" y="107"/>
                    <a:pt x="12" y="108"/>
                    <a:pt x="10" y="108"/>
                  </a:cubicBezTo>
                  <a:cubicBezTo>
                    <a:pt x="8" y="108"/>
                    <a:pt x="9" y="111"/>
                    <a:pt x="10" y="112"/>
                  </a:cubicBezTo>
                  <a:cubicBezTo>
                    <a:pt x="12" y="113"/>
                    <a:pt x="12" y="118"/>
                    <a:pt x="11" y="120"/>
                  </a:cubicBezTo>
                  <a:cubicBezTo>
                    <a:pt x="10" y="121"/>
                    <a:pt x="5" y="120"/>
                    <a:pt x="5" y="122"/>
                  </a:cubicBezTo>
                  <a:cubicBezTo>
                    <a:pt x="6" y="124"/>
                    <a:pt x="4" y="127"/>
                    <a:pt x="4" y="128"/>
                  </a:cubicBezTo>
                  <a:cubicBezTo>
                    <a:pt x="4" y="130"/>
                    <a:pt x="4" y="135"/>
                    <a:pt x="2" y="134"/>
                  </a:cubicBezTo>
                  <a:cubicBezTo>
                    <a:pt x="2" y="133"/>
                    <a:pt x="1" y="133"/>
                    <a:pt x="0" y="133"/>
                  </a:cubicBezTo>
                  <a:cubicBezTo>
                    <a:pt x="0" y="133"/>
                    <a:pt x="0" y="134"/>
                    <a:pt x="0" y="134"/>
                  </a:cubicBezTo>
                  <a:cubicBezTo>
                    <a:pt x="0" y="137"/>
                    <a:pt x="1" y="140"/>
                    <a:pt x="3" y="142"/>
                  </a:cubicBezTo>
                  <a:cubicBezTo>
                    <a:pt x="6" y="144"/>
                    <a:pt x="4" y="147"/>
                    <a:pt x="6" y="150"/>
                  </a:cubicBezTo>
                  <a:cubicBezTo>
                    <a:pt x="9" y="153"/>
                    <a:pt x="8" y="156"/>
                    <a:pt x="10" y="158"/>
                  </a:cubicBezTo>
                  <a:cubicBezTo>
                    <a:pt x="13" y="160"/>
                    <a:pt x="13" y="161"/>
                    <a:pt x="12" y="164"/>
                  </a:cubicBezTo>
                  <a:cubicBezTo>
                    <a:pt x="11" y="166"/>
                    <a:pt x="14" y="166"/>
                    <a:pt x="14" y="167"/>
                  </a:cubicBezTo>
                  <a:cubicBezTo>
                    <a:pt x="14" y="169"/>
                    <a:pt x="14" y="173"/>
                    <a:pt x="14" y="174"/>
                  </a:cubicBezTo>
                  <a:cubicBezTo>
                    <a:pt x="15" y="176"/>
                    <a:pt x="17" y="174"/>
                    <a:pt x="21" y="174"/>
                  </a:cubicBezTo>
                  <a:cubicBezTo>
                    <a:pt x="24" y="174"/>
                    <a:pt x="24" y="172"/>
                    <a:pt x="24" y="169"/>
                  </a:cubicBezTo>
                  <a:cubicBezTo>
                    <a:pt x="24" y="167"/>
                    <a:pt x="26" y="168"/>
                    <a:pt x="26" y="167"/>
                  </a:cubicBezTo>
                  <a:cubicBezTo>
                    <a:pt x="27" y="165"/>
                    <a:pt x="30" y="165"/>
                    <a:pt x="33" y="166"/>
                  </a:cubicBezTo>
                  <a:cubicBezTo>
                    <a:pt x="36" y="167"/>
                    <a:pt x="37" y="165"/>
                    <a:pt x="37" y="162"/>
                  </a:cubicBezTo>
                  <a:cubicBezTo>
                    <a:pt x="38" y="160"/>
                    <a:pt x="39" y="163"/>
                    <a:pt x="40" y="164"/>
                  </a:cubicBezTo>
                  <a:cubicBezTo>
                    <a:pt x="41" y="164"/>
                    <a:pt x="44" y="159"/>
                    <a:pt x="45" y="156"/>
                  </a:cubicBezTo>
                  <a:cubicBezTo>
                    <a:pt x="46" y="153"/>
                    <a:pt x="45" y="153"/>
                    <a:pt x="42" y="156"/>
                  </a:cubicBezTo>
                  <a:cubicBezTo>
                    <a:pt x="39" y="160"/>
                    <a:pt x="41" y="153"/>
                    <a:pt x="42" y="151"/>
                  </a:cubicBezTo>
                  <a:cubicBezTo>
                    <a:pt x="43" y="148"/>
                    <a:pt x="43" y="141"/>
                    <a:pt x="43" y="139"/>
                  </a:cubicBezTo>
                  <a:cubicBezTo>
                    <a:pt x="44" y="138"/>
                    <a:pt x="44" y="135"/>
                    <a:pt x="48" y="135"/>
                  </a:cubicBezTo>
                  <a:cubicBezTo>
                    <a:pt x="51" y="134"/>
                    <a:pt x="56" y="130"/>
                    <a:pt x="55" y="128"/>
                  </a:cubicBezTo>
                  <a:cubicBezTo>
                    <a:pt x="54" y="126"/>
                    <a:pt x="60" y="123"/>
                    <a:pt x="60" y="121"/>
                  </a:cubicBezTo>
                  <a:cubicBezTo>
                    <a:pt x="60" y="120"/>
                    <a:pt x="54" y="114"/>
                    <a:pt x="52" y="113"/>
                  </a:cubicBezTo>
                  <a:cubicBezTo>
                    <a:pt x="50" y="112"/>
                    <a:pt x="46" y="113"/>
                    <a:pt x="46" y="111"/>
                  </a:cubicBezTo>
                  <a:cubicBezTo>
                    <a:pt x="47" y="110"/>
                    <a:pt x="46" y="105"/>
                    <a:pt x="45" y="102"/>
                  </a:cubicBezTo>
                  <a:cubicBezTo>
                    <a:pt x="45" y="100"/>
                    <a:pt x="48" y="97"/>
                    <a:pt x="48" y="94"/>
                  </a:cubicBezTo>
                  <a:cubicBezTo>
                    <a:pt x="48" y="92"/>
                    <a:pt x="48" y="89"/>
                    <a:pt x="51" y="88"/>
                  </a:cubicBezTo>
                  <a:cubicBezTo>
                    <a:pt x="53" y="87"/>
                    <a:pt x="51" y="85"/>
                    <a:pt x="54" y="85"/>
                  </a:cubicBezTo>
                  <a:cubicBezTo>
                    <a:pt x="57" y="84"/>
                    <a:pt x="57" y="80"/>
                    <a:pt x="60" y="78"/>
                  </a:cubicBezTo>
                  <a:cubicBezTo>
                    <a:pt x="63" y="77"/>
                    <a:pt x="63" y="76"/>
                    <a:pt x="68" y="74"/>
                  </a:cubicBezTo>
                  <a:cubicBezTo>
                    <a:pt x="72" y="72"/>
                    <a:pt x="79" y="67"/>
                    <a:pt x="80" y="65"/>
                  </a:cubicBezTo>
                  <a:cubicBezTo>
                    <a:pt x="81" y="62"/>
                    <a:pt x="76" y="59"/>
                    <a:pt x="79" y="57"/>
                  </a:cubicBezTo>
                  <a:cubicBezTo>
                    <a:pt x="83" y="54"/>
                    <a:pt x="80" y="51"/>
                    <a:pt x="82" y="50"/>
                  </a:cubicBezTo>
                  <a:cubicBezTo>
                    <a:pt x="85" y="49"/>
                    <a:pt x="86" y="48"/>
                    <a:pt x="87" y="46"/>
                  </a:cubicBezTo>
                  <a:cubicBezTo>
                    <a:pt x="89" y="44"/>
                    <a:pt x="92" y="46"/>
                    <a:pt x="96" y="45"/>
                  </a:cubicBezTo>
                  <a:cubicBezTo>
                    <a:pt x="97" y="45"/>
                    <a:pt x="99" y="45"/>
                    <a:pt x="100" y="46"/>
                  </a:cubicBezTo>
                  <a:cubicBezTo>
                    <a:pt x="100" y="44"/>
                    <a:pt x="100" y="42"/>
                    <a:pt x="99" y="42"/>
                  </a:cubicBezTo>
                  <a:close/>
                  <a:moveTo>
                    <a:pt x="59" y="146"/>
                  </a:moveTo>
                  <a:cubicBezTo>
                    <a:pt x="54" y="146"/>
                    <a:pt x="52" y="155"/>
                    <a:pt x="53" y="157"/>
                  </a:cubicBezTo>
                  <a:cubicBezTo>
                    <a:pt x="54" y="158"/>
                    <a:pt x="63" y="146"/>
                    <a:pt x="59" y="14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4" name="Freeform 322">
              <a:extLst>
                <a:ext uri="{FF2B5EF4-FFF2-40B4-BE49-F238E27FC236}">
                  <a16:creationId xmlns:a16="http://schemas.microsoft.com/office/drawing/2014/main" id="{5E61E86A-A0E8-F327-A39F-CA0741BC94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6158" y="2208755"/>
              <a:ext cx="192063" cy="93651"/>
            </a:xfrm>
            <a:custGeom>
              <a:avLst/>
              <a:gdLst>
                <a:gd name="T0" fmla="*/ 47 w 51"/>
                <a:gd name="T1" fmla="*/ 7 h 25"/>
                <a:gd name="T2" fmla="*/ 49 w 51"/>
                <a:gd name="T3" fmla="*/ 2 h 25"/>
                <a:gd name="T4" fmla="*/ 47 w 51"/>
                <a:gd name="T5" fmla="*/ 3 h 25"/>
                <a:gd name="T6" fmla="*/ 32 w 51"/>
                <a:gd name="T7" fmla="*/ 1 h 25"/>
                <a:gd name="T8" fmla="*/ 17 w 51"/>
                <a:gd name="T9" fmla="*/ 4 h 25"/>
                <a:gd name="T10" fmla="*/ 12 w 51"/>
                <a:gd name="T11" fmla="*/ 9 h 25"/>
                <a:gd name="T12" fmla="*/ 14 w 51"/>
                <a:gd name="T13" fmla="*/ 14 h 25"/>
                <a:gd name="T14" fmla="*/ 19 w 51"/>
                <a:gd name="T15" fmla="*/ 16 h 25"/>
                <a:gd name="T16" fmla="*/ 20 w 51"/>
                <a:gd name="T17" fmla="*/ 20 h 25"/>
                <a:gd name="T18" fmla="*/ 20 w 51"/>
                <a:gd name="T19" fmla="*/ 20 h 25"/>
                <a:gd name="T20" fmla="*/ 29 w 51"/>
                <a:gd name="T21" fmla="*/ 20 h 25"/>
                <a:gd name="T22" fmla="*/ 37 w 51"/>
                <a:gd name="T23" fmla="*/ 24 h 25"/>
                <a:gd name="T24" fmla="*/ 45 w 51"/>
                <a:gd name="T25" fmla="*/ 25 h 25"/>
                <a:gd name="T26" fmla="*/ 45 w 51"/>
                <a:gd name="T27" fmla="*/ 23 h 25"/>
                <a:gd name="T28" fmla="*/ 47 w 51"/>
                <a:gd name="T29" fmla="*/ 20 h 25"/>
                <a:gd name="T30" fmla="*/ 45 w 51"/>
                <a:gd name="T31" fmla="*/ 16 h 25"/>
                <a:gd name="T32" fmla="*/ 45 w 51"/>
                <a:gd name="T33" fmla="*/ 11 h 25"/>
                <a:gd name="T34" fmla="*/ 47 w 51"/>
                <a:gd name="T35" fmla="*/ 7 h 25"/>
                <a:gd name="T36" fmla="*/ 5 w 51"/>
                <a:gd name="T37" fmla="*/ 13 h 25"/>
                <a:gd name="T38" fmla="*/ 2 w 51"/>
                <a:gd name="T39" fmla="*/ 20 h 25"/>
                <a:gd name="T40" fmla="*/ 10 w 51"/>
                <a:gd name="T41" fmla="*/ 14 h 25"/>
                <a:gd name="T42" fmla="*/ 5 w 51"/>
                <a:gd name="T43" fmla="*/ 13 h 25"/>
                <a:gd name="T44" fmla="*/ 9 w 51"/>
                <a:gd name="T45" fmla="*/ 9 h 25"/>
                <a:gd name="T46" fmla="*/ 4 w 51"/>
                <a:gd name="T47" fmla="*/ 10 h 25"/>
                <a:gd name="T48" fmla="*/ 9 w 51"/>
                <a:gd name="T49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" h="25">
                  <a:moveTo>
                    <a:pt x="47" y="7"/>
                  </a:moveTo>
                  <a:cubicBezTo>
                    <a:pt x="48" y="5"/>
                    <a:pt x="51" y="4"/>
                    <a:pt x="49" y="2"/>
                  </a:cubicBezTo>
                  <a:cubicBezTo>
                    <a:pt x="49" y="2"/>
                    <a:pt x="48" y="2"/>
                    <a:pt x="47" y="3"/>
                  </a:cubicBezTo>
                  <a:cubicBezTo>
                    <a:pt x="44" y="3"/>
                    <a:pt x="36" y="0"/>
                    <a:pt x="32" y="1"/>
                  </a:cubicBezTo>
                  <a:cubicBezTo>
                    <a:pt x="28" y="2"/>
                    <a:pt x="19" y="2"/>
                    <a:pt x="17" y="4"/>
                  </a:cubicBezTo>
                  <a:cubicBezTo>
                    <a:pt x="15" y="6"/>
                    <a:pt x="10" y="7"/>
                    <a:pt x="12" y="9"/>
                  </a:cubicBezTo>
                  <a:cubicBezTo>
                    <a:pt x="14" y="10"/>
                    <a:pt x="12" y="11"/>
                    <a:pt x="14" y="14"/>
                  </a:cubicBezTo>
                  <a:cubicBezTo>
                    <a:pt x="15" y="16"/>
                    <a:pt x="16" y="17"/>
                    <a:pt x="19" y="16"/>
                  </a:cubicBezTo>
                  <a:cubicBezTo>
                    <a:pt x="21" y="16"/>
                    <a:pt x="23" y="17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4" y="19"/>
                    <a:pt x="28" y="19"/>
                    <a:pt x="29" y="20"/>
                  </a:cubicBezTo>
                  <a:cubicBezTo>
                    <a:pt x="30" y="20"/>
                    <a:pt x="35" y="25"/>
                    <a:pt x="37" y="24"/>
                  </a:cubicBezTo>
                  <a:cubicBezTo>
                    <a:pt x="38" y="24"/>
                    <a:pt x="42" y="25"/>
                    <a:pt x="45" y="25"/>
                  </a:cubicBezTo>
                  <a:cubicBezTo>
                    <a:pt x="44" y="24"/>
                    <a:pt x="44" y="23"/>
                    <a:pt x="45" y="23"/>
                  </a:cubicBezTo>
                  <a:cubicBezTo>
                    <a:pt x="46" y="22"/>
                    <a:pt x="48" y="22"/>
                    <a:pt x="47" y="20"/>
                  </a:cubicBezTo>
                  <a:cubicBezTo>
                    <a:pt x="46" y="18"/>
                    <a:pt x="45" y="18"/>
                    <a:pt x="45" y="16"/>
                  </a:cubicBezTo>
                  <a:cubicBezTo>
                    <a:pt x="45" y="14"/>
                    <a:pt x="44" y="13"/>
                    <a:pt x="45" y="11"/>
                  </a:cubicBezTo>
                  <a:cubicBezTo>
                    <a:pt x="45" y="10"/>
                    <a:pt x="46" y="9"/>
                    <a:pt x="47" y="7"/>
                  </a:cubicBezTo>
                  <a:close/>
                  <a:moveTo>
                    <a:pt x="5" y="13"/>
                  </a:moveTo>
                  <a:cubicBezTo>
                    <a:pt x="1" y="14"/>
                    <a:pt x="0" y="20"/>
                    <a:pt x="2" y="20"/>
                  </a:cubicBezTo>
                  <a:cubicBezTo>
                    <a:pt x="4" y="20"/>
                    <a:pt x="9" y="16"/>
                    <a:pt x="10" y="14"/>
                  </a:cubicBezTo>
                  <a:cubicBezTo>
                    <a:pt x="12" y="13"/>
                    <a:pt x="10" y="12"/>
                    <a:pt x="5" y="13"/>
                  </a:cubicBezTo>
                  <a:close/>
                  <a:moveTo>
                    <a:pt x="9" y="9"/>
                  </a:moveTo>
                  <a:cubicBezTo>
                    <a:pt x="10" y="8"/>
                    <a:pt x="2" y="8"/>
                    <a:pt x="4" y="10"/>
                  </a:cubicBezTo>
                  <a:cubicBezTo>
                    <a:pt x="5" y="11"/>
                    <a:pt x="8" y="11"/>
                    <a:pt x="9" y="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5" name="Freeform 323">
              <a:extLst>
                <a:ext uri="{FF2B5EF4-FFF2-40B4-BE49-F238E27FC236}">
                  <a16:creationId xmlns:a16="http://schemas.microsoft.com/office/drawing/2014/main" id="{623C9D10-3261-070C-EC2B-1C11A40E0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368" y="4135724"/>
              <a:ext cx="244443" cy="293650"/>
            </a:xfrm>
            <a:custGeom>
              <a:avLst/>
              <a:gdLst>
                <a:gd name="T0" fmla="*/ 58 w 65"/>
                <a:gd name="T1" fmla="*/ 18 h 78"/>
                <a:gd name="T2" fmla="*/ 61 w 65"/>
                <a:gd name="T3" fmla="*/ 12 h 78"/>
                <a:gd name="T4" fmla="*/ 65 w 65"/>
                <a:gd name="T5" fmla="*/ 6 h 78"/>
                <a:gd name="T6" fmla="*/ 61 w 65"/>
                <a:gd name="T7" fmla="*/ 7 h 78"/>
                <a:gd name="T8" fmla="*/ 57 w 65"/>
                <a:gd name="T9" fmla="*/ 6 h 78"/>
                <a:gd name="T10" fmla="*/ 50 w 65"/>
                <a:gd name="T11" fmla="*/ 7 h 78"/>
                <a:gd name="T12" fmla="*/ 45 w 65"/>
                <a:gd name="T13" fmla="*/ 12 h 78"/>
                <a:gd name="T14" fmla="*/ 36 w 65"/>
                <a:gd name="T15" fmla="*/ 10 h 78"/>
                <a:gd name="T16" fmla="*/ 26 w 65"/>
                <a:gd name="T17" fmla="*/ 5 h 78"/>
                <a:gd name="T18" fmla="*/ 18 w 65"/>
                <a:gd name="T19" fmla="*/ 3 h 78"/>
                <a:gd name="T20" fmla="*/ 14 w 65"/>
                <a:gd name="T21" fmla="*/ 1 h 78"/>
                <a:gd name="T22" fmla="*/ 9 w 65"/>
                <a:gd name="T23" fmla="*/ 0 h 78"/>
                <a:gd name="T24" fmla="*/ 2 w 65"/>
                <a:gd name="T25" fmla="*/ 4 h 78"/>
                <a:gd name="T26" fmla="*/ 1 w 65"/>
                <a:gd name="T27" fmla="*/ 6 h 78"/>
                <a:gd name="T28" fmla="*/ 5 w 65"/>
                <a:gd name="T29" fmla="*/ 9 h 78"/>
                <a:gd name="T30" fmla="*/ 6 w 65"/>
                <a:gd name="T31" fmla="*/ 15 h 78"/>
                <a:gd name="T32" fmla="*/ 9 w 65"/>
                <a:gd name="T33" fmla="*/ 18 h 78"/>
                <a:gd name="T34" fmla="*/ 9 w 65"/>
                <a:gd name="T35" fmla="*/ 24 h 78"/>
                <a:gd name="T36" fmla="*/ 3 w 65"/>
                <a:gd name="T37" fmla="*/ 34 h 78"/>
                <a:gd name="T38" fmla="*/ 1 w 65"/>
                <a:gd name="T39" fmla="*/ 39 h 78"/>
                <a:gd name="T40" fmla="*/ 6 w 65"/>
                <a:gd name="T41" fmla="*/ 42 h 78"/>
                <a:gd name="T42" fmla="*/ 1 w 65"/>
                <a:gd name="T43" fmla="*/ 47 h 78"/>
                <a:gd name="T44" fmla="*/ 0 w 65"/>
                <a:gd name="T45" fmla="*/ 48 h 78"/>
                <a:gd name="T46" fmla="*/ 31 w 65"/>
                <a:gd name="T47" fmla="*/ 64 h 78"/>
                <a:gd name="T48" fmla="*/ 30 w 65"/>
                <a:gd name="T49" fmla="*/ 69 h 78"/>
                <a:gd name="T50" fmla="*/ 44 w 65"/>
                <a:gd name="T51" fmla="*/ 78 h 78"/>
                <a:gd name="T52" fmla="*/ 52 w 65"/>
                <a:gd name="T53" fmla="*/ 61 h 78"/>
                <a:gd name="T54" fmla="*/ 57 w 65"/>
                <a:gd name="T55" fmla="*/ 57 h 78"/>
                <a:gd name="T56" fmla="*/ 61 w 65"/>
                <a:gd name="T57" fmla="*/ 54 h 78"/>
                <a:gd name="T58" fmla="*/ 62 w 65"/>
                <a:gd name="T59" fmla="*/ 53 h 78"/>
                <a:gd name="T60" fmla="*/ 58 w 65"/>
                <a:gd name="T61" fmla="*/ 47 h 78"/>
                <a:gd name="T62" fmla="*/ 58 w 65"/>
                <a:gd name="T63" fmla="*/ 1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5" h="78">
                  <a:moveTo>
                    <a:pt x="58" y="18"/>
                  </a:moveTo>
                  <a:cubicBezTo>
                    <a:pt x="61" y="12"/>
                    <a:pt x="61" y="12"/>
                    <a:pt x="61" y="12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3" y="7"/>
                    <a:pt x="62" y="7"/>
                    <a:pt x="61" y="7"/>
                  </a:cubicBezTo>
                  <a:cubicBezTo>
                    <a:pt x="60" y="8"/>
                    <a:pt x="58" y="7"/>
                    <a:pt x="57" y="6"/>
                  </a:cubicBezTo>
                  <a:cubicBezTo>
                    <a:pt x="57" y="5"/>
                    <a:pt x="53" y="6"/>
                    <a:pt x="50" y="7"/>
                  </a:cubicBezTo>
                  <a:cubicBezTo>
                    <a:pt x="47" y="9"/>
                    <a:pt x="46" y="12"/>
                    <a:pt x="45" y="12"/>
                  </a:cubicBezTo>
                  <a:cubicBezTo>
                    <a:pt x="44" y="11"/>
                    <a:pt x="37" y="10"/>
                    <a:pt x="36" y="10"/>
                  </a:cubicBezTo>
                  <a:cubicBezTo>
                    <a:pt x="34" y="10"/>
                    <a:pt x="28" y="6"/>
                    <a:pt x="26" y="5"/>
                  </a:cubicBezTo>
                  <a:cubicBezTo>
                    <a:pt x="25" y="3"/>
                    <a:pt x="19" y="4"/>
                    <a:pt x="18" y="3"/>
                  </a:cubicBezTo>
                  <a:cubicBezTo>
                    <a:pt x="17" y="2"/>
                    <a:pt x="14" y="2"/>
                    <a:pt x="14" y="1"/>
                  </a:cubicBezTo>
                  <a:cubicBezTo>
                    <a:pt x="13" y="0"/>
                    <a:pt x="11" y="0"/>
                    <a:pt x="9" y="0"/>
                  </a:cubicBezTo>
                  <a:cubicBezTo>
                    <a:pt x="7" y="0"/>
                    <a:pt x="3" y="3"/>
                    <a:pt x="2" y="4"/>
                  </a:cubicBezTo>
                  <a:cubicBezTo>
                    <a:pt x="2" y="5"/>
                    <a:pt x="2" y="5"/>
                    <a:pt x="1" y="6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21"/>
                    <a:pt x="9" y="24"/>
                  </a:cubicBezTo>
                  <a:cubicBezTo>
                    <a:pt x="8" y="28"/>
                    <a:pt x="5" y="32"/>
                    <a:pt x="3" y="34"/>
                  </a:cubicBezTo>
                  <a:cubicBezTo>
                    <a:pt x="3" y="34"/>
                    <a:pt x="2" y="36"/>
                    <a:pt x="1" y="39"/>
                  </a:cubicBezTo>
                  <a:cubicBezTo>
                    <a:pt x="4" y="40"/>
                    <a:pt x="6" y="41"/>
                    <a:pt x="6" y="42"/>
                  </a:cubicBezTo>
                  <a:cubicBezTo>
                    <a:pt x="6" y="44"/>
                    <a:pt x="1" y="43"/>
                    <a:pt x="1" y="47"/>
                  </a:cubicBezTo>
                  <a:cubicBezTo>
                    <a:pt x="1" y="47"/>
                    <a:pt x="1" y="47"/>
                    <a:pt x="0" y="48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7" y="74"/>
                    <a:pt x="44" y="78"/>
                  </a:cubicBezTo>
                  <a:cubicBezTo>
                    <a:pt x="47" y="71"/>
                    <a:pt x="51" y="62"/>
                    <a:pt x="52" y="61"/>
                  </a:cubicBezTo>
                  <a:cubicBezTo>
                    <a:pt x="54" y="58"/>
                    <a:pt x="55" y="59"/>
                    <a:pt x="57" y="57"/>
                  </a:cubicBezTo>
                  <a:cubicBezTo>
                    <a:pt x="58" y="55"/>
                    <a:pt x="59" y="58"/>
                    <a:pt x="61" y="54"/>
                  </a:cubicBezTo>
                  <a:cubicBezTo>
                    <a:pt x="62" y="54"/>
                    <a:pt x="62" y="53"/>
                    <a:pt x="62" y="53"/>
                  </a:cubicBezTo>
                  <a:cubicBezTo>
                    <a:pt x="58" y="47"/>
                    <a:pt x="58" y="47"/>
                    <a:pt x="58" y="47"/>
                  </a:cubicBezTo>
                  <a:lnTo>
                    <a:pt x="58" y="18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6" name="Freeform 324">
              <a:extLst>
                <a:ext uri="{FF2B5EF4-FFF2-40B4-BE49-F238E27FC236}">
                  <a16:creationId xmlns:a16="http://schemas.microsoft.com/office/drawing/2014/main" id="{D95DF651-C4E4-9EF8-EDA4-C822D304D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3618" y="4159538"/>
              <a:ext cx="166666" cy="168253"/>
            </a:xfrm>
            <a:custGeom>
              <a:avLst/>
              <a:gdLst>
                <a:gd name="T0" fmla="*/ 41 w 44"/>
                <a:gd name="T1" fmla="*/ 9 h 45"/>
                <a:gd name="T2" fmla="*/ 40 w 44"/>
                <a:gd name="T3" fmla="*/ 3 h 45"/>
                <a:gd name="T4" fmla="*/ 36 w 44"/>
                <a:gd name="T5" fmla="*/ 0 h 45"/>
                <a:gd name="T6" fmla="*/ 34 w 44"/>
                <a:gd name="T7" fmla="*/ 2 h 45"/>
                <a:gd name="T8" fmla="*/ 29 w 44"/>
                <a:gd name="T9" fmla="*/ 3 h 45"/>
                <a:gd name="T10" fmla="*/ 23 w 44"/>
                <a:gd name="T11" fmla="*/ 5 h 45"/>
                <a:gd name="T12" fmla="*/ 18 w 44"/>
                <a:gd name="T13" fmla="*/ 3 h 45"/>
                <a:gd name="T14" fmla="*/ 12 w 44"/>
                <a:gd name="T15" fmla="*/ 5 h 45"/>
                <a:gd name="T16" fmla="*/ 11 w 44"/>
                <a:gd name="T17" fmla="*/ 12 h 45"/>
                <a:gd name="T18" fmla="*/ 14 w 44"/>
                <a:gd name="T19" fmla="*/ 16 h 45"/>
                <a:gd name="T20" fmla="*/ 11 w 44"/>
                <a:gd name="T21" fmla="*/ 20 h 45"/>
                <a:gd name="T22" fmla="*/ 8 w 44"/>
                <a:gd name="T23" fmla="*/ 22 h 45"/>
                <a:gd name="T24" fmla="*/ 5 w 44"/>
                <a:gd name="T25" fmla="*/ 26 h 45"/>
                <a:gd name="T26" fmla="*/ 3 w 44"/>
                <a:gd name="T27" fmla="*/ 32 h 45"/>
                <a:gd name="T28" fmla="*/ 1 w 44"/>
                <a:gd name="T29" fmla="*/ 39 h 45"/>
                <a:gd name="T30" fmla="*/ 0 w 44"/>
                <a:gd name="T31" fmla="*/ 45 h 45"/>
                <a:gd name="T32" fmla="*/ 4 w 44"/>
                <a:gd name="T33" fmla="*/ 44 h 45"/>
                <a:gd name="T34" fmla="*/ 12 w 44"/>
                <a:gd name="T35" fmla="*/ 42 h 45"/>
                <a:gd name="T36" fmla="*/ 19 w 44"/>
                <a:gd name="T37" fmla="*/ 41 h 45"/>
                <a:gd name="T38" fmla="*/ 25 w 44"/>
                <a:gd name="T39" fmla="*/ 32 h 45"/>
                <a:gd name="T40" fmla="*/ 36 w 44"/>
                <a:gd name="T41" fmla="*/ 33 h 45"/>
                <a:gd name="T42" fmla="*/ 38 w 44"/>
                <a:gd name="T43" fmla="*/ 28 h 45"/>
                <a:gd name="T44" fmla="*/ 44 w 44"/>
                <a:gd name="T45" fmla="*/ 18 h 45"/>
                <a:gd name="T46" fmla="*/ 44 w 44"/>
                <a:gd name="T47" fmla="*/ 12 h 45"/>
                <a:gd name="T48" fmla="*/ 41 w 44"/>
                <a:gd name="T49" fmla="*/ 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4" h="45">
                  <a:moveTo>
                    <a:pt x="41" y="9"/>
                  </a:moveTo>
                  <a:cubicBezTo>
                    <a:pt x="40" y="3"/>
                    <a:pt x="40" y="3"/>
                    <a:pt x="40" y="3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5" y="1"/>
                    <a:pt x="34" y="1"/>
                    <a:pt x="34" y="2"/>
                  </a:cubicBezTo>
                  <a:cubicBezTo>
                    <a:pt x="33" y="4"/>
                    <a:pt x="30" y="3"/>
                    <a:pt x="29" y="3"/>
                  </a:cubicBezTo>
                  <a:cubicBezTo>
                    <a:pt x="27" y="2"/>
                    <a:pt x="23" y="4"/>
                    <a:pt x="23" y="5"/>
                  </a:cubicBezTo>
                  <a:cubicBezTo>
                    <a:pt x="22" y="6"/>
                    <a:pt x="19" y="3"/>
                    <a:pt x="18" y="3"/>
                  </a:cubicBezTo>
                  <a:cubicBezTo>
                    <a:pt x="16" y="3"/>
                    <a:pt x="12" y="5"/>
                    <a:pt x="12" y="5"/>
                  </a:cubicBezTo>
                  <a:cubicBezTo>
                    <a:pt x="12" y="5"/>
                    <a:pt x="11" y="10"/>
                    <a:pt x="11" y="12"/>
                  </a:cubicBezTo>
                  <a:cubicBezTo>
                    <a:pt x="11" y="14"/>
                    <a:pt x="14" y="14"/>
                    <a:pt x="14" y="16"/>
                  </a:cubicBezTo>
                  <a:cubicBezTo>
                    <a:pt x="14" y="17"/>
                    <a:pt x="11" y="19"/>
                    <a:pt x="11" y="20"/>
                  </a:cubicBezTo>
                  <a:cubicBezTo>
                    <a:pt x="11" y="21"/>
                    <a:pt x="10" y="21"/>
                    <a:pt x="8" y="22"/>
                  </a:cubicBezTo>
                  <a:cubicBezTo>
                    <a:pt x="6" y="22"/>
                    <a:pt x="6" y="25"/>
                    <a:pt x="5" y="26"/>
                  </a:cubicBezTo>
                  <a:cubicBezTo>
                    <a:pt x="3" y="27"/>
                    <a:pt x="4" y="30"/>
                    <a:pt x="3" y="32"/>
                  </a:cubicBezTo>
                  <a:cubicBezTo>
                    <a:pt x="2" y="34"/>
                    <a:pt x="1" y="37"/>
                    <a:pt x="1" y="39"/>
                  </a:cubicBezTo>
                  <a:cubicBezTo>
                    <a:pt x="1" y="41"/>
                    <a:pt x="1" y="44"/>
                    <a:pt x="0" y="45"/>
                  </a:cubicBezTo>
                  <a:cubicBezTo>
                    <a:pt x="2" y="45"/>
                    <a:pt x="3" y="45"/>
                    <a:pt x="4" y="44"/>
                  </a:cubicBezTo>
                  <a:cubicBezTo>
                    <a:pt x="6" y="43"/>
                    <a:pt x="12" y="42"/>
                    <a:pt x="12" y="42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1" y="37"/>
                    <a:pt x="23" y="33"/>
                    <a:pt x="25" y="32"/>
                  </a:cubicBezTo>
                  <a:cubicBezTo>
                    <a:pt x="28" y="32"/>
                    <a:pt x="33" y="32"/>
                    <a:pt x="36" y="33"/>
                  </a:cubicBezTo>
                  <a:cubicBezTo>
                    <a:pt x="37" y="30"/>
                    <a:pt x="38" y="28"/>
                    <a:pt x="38" y="28"/>
                  </a:cubicBezTo>
                  <a:cubicBezTo>
                    <a:pt x="40" y="26"/>
                    <a:pt x="43" y="22"/>
                    <a:pt x="44" y="18"/>
                  </a:cubicBezTo>
                  <a:cubicBezTo>
                    <a:pt x="44" y="15"/>
                    <a:pt x="44" y="12"/>
                    <a:pt x="44" y="12"/>
                  </a:cubicBezTo>
                  <a:lnTo>
                    <a:pt x="41" y="9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7" name="Freeform 325">
              <a:extLst>
                <a:ext uri="{FF2B5EF4-FFF2-40B4-BE49-F238E27FC236}">
                  <a16:creationId xmlns:a16="http://schemas.microsoft.com/office/drawing/2014/main" id="{181B6BC6-4E2F-A211-C272-00469B680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491" y="2794462"/>
              <a:ext cx="531744" cy="312698"/>
            </a:xfrm>
            <a:custGeom>
              <a:avLst/>
              <a:gdLst>
                <a:gd name="T0" fmla="*/ 138 w 142"/>
                <a:gd name="T1" fmla="*/ 47 h 83"/>
                <a:gd name="T2" fmla="*/ 127 w 142"/>
                <a:gd name="T3" fmla="*/ 42 h 83"/>
                <a:gd name="T4" fmla="*/ 121 w 142"/>
                <a:gd name="T5" fmla="*/ 42 h 83"/>
                <a:gd name="T6" fmla="*/ 113 w 142"/>
                <a:gd name="T7" fmla="*/ 40 h 83"/>
                <a:gd name="T8" fmla="*/ 105 w 142"/>
                <a:gd name="T9" fmla="*/ 46 h 83"/>
                <a:gd name="T10" fmla="*/ 101 w 142"/>
                <a:gd name="T11" fmla="*/ 47 h 83"/>
                <a:gd name="T12" fmla="*/ 94 w 142"/>
                <a:gd name="T13" fmla="*/ 43 h 83"/>
                <a:gd name="T14" fmla="*/ 87 w 142"/>
                <a:gd name="T15" fmla="*/ 41 h 83"/>
                <a:gd name="T16" fmla="*/ 83 w 142"/>
                <a:gd name="T17" fmla="*/ 33 h 83"/>
                <a:gd name="T18" fmla="*/ 81 w 142"/>
                <a:gd name="T19" fmla="*/ 25 h 83"/>
                <a:gd name="T20" fmla="*/ 75 w 142"/>
                <a:gd name="T21" fmla="*/ 21 h 83"/>
                <a:gd name="T22" fmla="*/ 59 w 142"/>
                <a:gd name="T23" fmla="*/ 20 h 83"/>
                <a:gd name="T24" fmla="*/ 48 w 142"/>
                <a:gd name="T25" fmla="*/ 21 h 83"/>
                <a:gd name="T26" fmla="*/ 39 w 142"/>
                <a:gd name="T27" fmla="*/ 10 h 83"/>
                <a:gd name="T28" fmla="*/ 36 w 142"/>
                <a:gd name="T29" fmla="*/ 14 h 83"/>
                <a:gd name="T30" fmla="*/ 27 w 142"/>
                <a:gd name="T31" fmla="*/ 12 h 83"/>
                <a:gd name="T32" fmla="*/ 26 w 142"/>
                <a:gd name="T33" fmla="*/ 1 h 83"/>
                <a:gd name="T34" fmla="*/ 22 w 142"/>
                <a:gd name="T35" fmla="*/ 13 h 83"/>
                <a:gd name="T36" fmla="*/ 21 w 142"/>
                <a:gd name="T37" fmla="*/ 0 h 83"/>
                <a:gd name="T38" fmla="*/ 1 w 142"/>
                <a:gd name="T39" fmla="*/ 5 h 83"/>
                <a:gd name="T40" fmla="*/ 0 w 142"/>
                <a:gd name="T41" fmla="*/ 41 h 83"/>
                <a:gd name="T42" fmla="*/ 0 w 142"/>
                <a:gd name="T43" fmla="*/ 41 h 83"/>
                <a:gd name="T44" fmla="*/ 5 w 142"/>
                <a:gd name="T45" fmla="*/ 42 h 83"/>
                <a:gd name="T46" fmla="*/ 8 w 142"/>
                <a:gd name="T47" fmla="*/ 39 h 83"/>
                <a:gd name="T48" fmla="*/ 14 w 142"/>
                <a:gd name="T49" fmla="*/ 34 h 83"/>
                <a:gd name="T50" fmla="*/ 17 w 142"/>
                <a:gd name="T51" fmla="*/ 31 h 83"/>
                <a:gd name="T52" fmla="*/ 20 w 142"/>
                <a:gd name="T53" fmla="*/ 30 h 83"/>
                <a:gd name="T54" fmla="*/ 26 w 142"/>
                <a:gd name="T55" fmla="*/ 31 h 83"/>
                <a:gd name="T56" fmla="*/ 32 w 142"/>
                <a:gd name="T57" fmla="*/ 33 h 83"/>
                <a:gd name="T58" fmla="*/ 35 w 142"/>
                <a:gd name="T59" fmla="*/ 42 h 83"/>
                <a:gd name="T60" fmla="*/ 47 w 142"/>
                <a:gd name="T61" fmla="*/ 43 h 83"/>
                <a:gd name="T62" fmla="*/ 50 w 142"/>
                <a:gd name="T63" fmla="*/ 48 h 83"/>
                <a:gd name="T64" fmla="*/ 54 w 142"/>
                <a:gd name="T65" fmla="*/ 55 h 83"/>
                <a:gd name="T66" fmla="*/ 62 w 142"/>
                <a:gd name="T67" fmla="*/ 61 h 83"/>
                <a:gd name="T68" fmla="*/ 71 w 142"/>
                <a:gd name="T69" fmla="*/ 66 h 83"/>
                <a:gd name="T70" fmla="*/ 79 w 142"/>
                <a:gd name="T71" fmla="*/ 72 h 83"/>
                <a:gd name="T72" fmla="*/ 86 w 142"/>
                <a:gd name="T73" fmla="*/ 74 h 83"/>
                <a:gd name="T74" fmla="*/ 87 w 142"/>
                <a:gd name="T75" fmla="*/ 80 h 83"/>
                <a:gd name="T76" fmla="*/ 88 w 142"/>
                <a:gd name="T77" fmla="*/ 79 h 83"/>
                <a:gd name="T78" fmla="*/ 94 w 142"/>
                <a:gd name="T79" fmla="*/ 82 h 83"/>
                <a:gd name="T80" fmla="*/ 98 w 142"/>
                <a:gd name="T81" fmla="*/ 83 h 83"/>
                <a:gd name="T82" fmla="*/ 101 w 142"/>
                <a:gd name="T83" fmla="*/ 75 h 83"/>
                <a:gd name="T84" fmla="*/ 100 w 142"/>
                <a:gd name="T85" fmla="*/ 68 h 83"/>
                <a:gd name="T86" fmla="*/ 95 w 142"/>
                <a:gd name="T87" fmla="*/ 61 h 83"/>
                <a:gd name="T88" fmla="*/ 103 w 142"/>
                <a:gd name="T89" fmla="*/ 59 h 83"/>
                <a:gd name="T90" fmla="*/ 105 w 142"/>
                <a:gd name="T91" fmla="*/ 54 h 83"/>
                <a:gd name="T92" fmla="*/ 109 w 142"/>
                <a:gd name="T93" fmla="*/ 50 h 83"/>
                <a:gd name="T94" fmla="*/ 115 w 142"/>
                <a:gd name="T95" fmla="*/ 48 h 83"/>
                <a:gd name="T96" fmla="*/ 121 w 142"/>
                <a:gd name="T97" fmla="*/ 47 h 83"/>
                <a:gd name="T98" fmla="*/ 118 w 142"/>
                <a:gd name="T99" fmla="*/ 54 h 83"/>
                <a:gd name="T100" fmla="*/ 127 w 142"/>
                <a:gd name="T101" fmla="*/ 52 h 83"/>
                <a:gd name="T102" fmla="*/ 135 w 142"/>
                <a:gd name="T103" fmla="*/ 51 h 83"/>
                <a:gd name="T104" fmla="*/ 138 w 142"/>
                <a:gd name="T105" fmla="*/ 4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2" h="83">
                  <a:moveTo>
                    <a:pt x="138" y="47"/>
                  </a:moveTo>
                  <a:cubicBezTo>
                    <a:pt x="134" y="44"/>
                    <a:pt x="128" y="40"/>
                    <a:pt x="127" y="42"/>
                  </a:cubicBezTo>
                  <a:cubicBezTo>
                    <a:pt x="127" y="44"/>
                    <a:pt x="122" y="44"/>
                    <a:pt x="121" y="42"/>
                  </a:cubicBezTo>
                  <a:cubicBezTo>
                    <a:pt x="119" y="40"/>
                    <a:pt x="118" y="38"/>
                    <a:pt x="113" y="40"/>
                  </a:cubicBezTo>
                  <a:cubicBezTo>
                    <a:pt x="108" y="42"/>
                    <a:pt x="105" y="44"/>
                    <a:pt x="105" y="46"/>
                  </a:cubicBezTo>
                  <a:cubicBezTo>
                    <a:pt x="105" y="48"/>
                    <a:pt x="101" y="50"/>
                    <a:pt x="101" y="47"/>
                  </a:cubicBezTo>
                  <a:cubicBezTo>
                    <a:pt x="101" y="45"/>
                    <a:pt x="97" y="44"/>
                    <a:pt x="94" y="43"/>
                  </a:cubicBezTo>
                  <a:cubicBezTo>
                    <a:pt x="92" y="43"/>
                    <a:pt x="88" y="44"/>
                    <a:pt x="87" y="41"/>
                  </a:cubicBezTo>
                  <a:cubicBezTo>
                    <a:pt x="87" y="39"/>
                    <a:pt x="83" y="36"/>
                    <a:pt x="83" y="33"/>
                  </a:cubicBezTo>
                  <a:cubicBezTo>
                    <a:pt x="83" y="30"/>
                    <a:pt x="84" y="26"/>
                    <a:pt x="81" y="25"/>
                  </a:cubicBezTo>
                  <a:cubicBezTo>
                    <a:pt x="79" y="25"/>
                    <a:pt x="77" y="21"/>
                    <a:pt x="75" y="21"/>
                  </a:cubicBezTo>
                  <a:cubicBezTo>
                    <a:pt x="73" y="21"/>
                    <a:pt x="60" y="21"/>
                    <a:pt x="59" y="20"/>
                  </a:cubicBezTo>
                  <a:cubicBezTo>
                    <a:pt x="57" y="19"/>
                    <a:pt x="49" y="23"/>
                    <a:pt x="48" y="21"/>
                  </a:cubicBezTo>
                  <a:cubicBezTo>
                    <a:pt x="48" y="19"/>
                    <a:pt x="42" y="13"/>
                    <a:pt x="39" y="10"/>
                  </a:cubicBezTo>
                  <a:cubicBezTo>
                    <a:pt x="38" y="12"/>
                    <a:pt x="38" y="13"/>
                    <a:pt x="36" y="14"/>
                  </a:cubicBezTo>
                  <a:cubicBezTo>
                    <a:pt x="30" y="18"/>
                    <a:pt x="25" y="17"/>
                    <a:pt x="27" y="12"/>
                  </a:cubicBezTo>
                  <a:cubicBezTo>
                    <a:pt x="28" y="7"/>
                    <a:pt x="29" y="1"/>
                    <a:pt x="26" y="1"/>
                  </a:cubicBezTo>
                  <a:cubicBezTo>
                    <a:pt x="23" y="1"/>
                    <a:pt x="25" y="12"/>
                    <a:pt x="22" y="13"/>
                  </a:cubicBezTo>
                  <a:cubicBezTo>
                    <a:pt x="20" y="13"/>
                    <a:pt x="19" y="5"/>
                    <a:pt x="2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2" y="42"/>
                    <a:pt x="4" y="42"/>
                    <a:pt x="5" y="42"/>
                  </a:cubicBezTo>
                  <a:cubicBezTo>
                    <a:pt x="8" y="43"/>
                    <a:pt x="8" y="40"/>
                    <a:pt x="8" y="39"/>
                  </a:cubicBezTo>
                  <a:cubicBezTo>
                    <a:pt x="8" y="37"/>
                    <a:pt x="12" y="34"/>
                    <a:pt x="14" y="34"/>
                  </a:cubicBezTo>
                  <a:cubicBezTo>
                    <a:pt x="16" y="35"/>
                    <a:pt x="16" y="31"/>
                    <a:pt x="17" y="31"/>
                  </a:cubicBezTo>
                  <a:cubicBezTo>
                    <a:pt x="18" y="31"/>
                    <a:pt x="19" y="31"/>
                    <a:pt x="20" y="30"/>
                  </a:cubicBezTo>
                  <a:cubicBezTo>
                    <a:pt x="21" y="28"/>
                    <a:pt x="25" y="30"/>
                    <a:pt x="26" y="31"/>
                  </a:cubicBezTo>
                  <a:cubicBezTo>
                    <a:pt x="27" y="32"/>
                    <a:pt x="30" y="33"/>
                    <a:pt x="32" y="33"/>
                  </a:cubicBezTo>
                  <a:cubicBezTo>
                    <a:pt x="34" y="34"/>
                    <a:pt x="35" y="40"/>
                    <a:pt x="35" y="42"/>
                  </a:cubicBezTo>
                  <a:cubicBezTo>
                    <a:pt x="35" y="43"/>
                    <a:pt x="45" y="43"/>
                    <a:pt x="47" y="43"/>
                  </a:cubicBezTo>
                  <a:cubicBezTo>
                    <a:pt x="48" y="43"/>
                    <a:pt x="48" y="46"/>
                    <a:pt x="50" y="48"/>
                  </a:cubicBezTo>
                  <a:cubicBezTo>
                    <a:pt x="52" y="51"/>
                    <a:pt x="53" y="53"/>
                    <a:pt x="54" y="55"/>
                  </a:cubicBezTo>
                  <a:cubicBezTo>
                    <a:pt x="54" y="57"/>
                    <a:pt x="60" y="59"/>
                    <a:pt x="62" y="61"/>
                  </a:cubicBezTo>
                  <a:cubicBezTo>
                    <a:pt x="63" y="63"/>
                    <a:pt x="68" y="65"/>
                    <a:pt x="71" y="66"/>
                  </a:cubicBezTo>
                  <a:cubicBezTo>
                    <a:pt x="74" y="68"/>
                    <a:pt x="77" y="72"/>
                    <a:pt x="79" y="72"/>
                  </a:cubicBezTo>
                  <a:cubicBezTo>
                    <a:pt x="81" y="72"/>
                    <a:pt x="86" y="74"/>
                    <a:pt x="86" y="74"/>
                  </a:cubicBezTo>
                  <a:cubicBezTo>
                    <a:pt x="87" y="80"/>
                    <a:pt x="87" y="80"/>
                    <a:pt x="87" y="80"/>
                  </a:cubicBezTo>
                  <a:cubicBezTo>
                    <a:pt x="87" y="80"/>
                    <a:pt x="88" y="80"/>
                    <a:pt x="88" y="79"/>
                  </a:cubicBezTo>
                  <a:cubicBezTo>
                    <a:pt x="91" y="79"/>
                    <a:pt x="92" y="82"/>
                    <a:pt x="94" y="82"/>
                  </a:cubicBezTo>
                  <a:cubicBezTo>
                    <a:pt x="95" y="82"/>
                    <a:pt x="97" y="82"/>
                    <a:pt x="98" y="83"/>
                  </a:cubicBezTo>
                  <a:cubicBezTo>
                    <a:pt x="98" y="79"/>
                    <a:pt x="99" y="76"/>
                    <a:pt x="101" y="75"/>
                  </a:cubicBezTo>
                  <a:cubicBezTo>
                    <a:pt x="103" y="73"/>
                    <a:pt x="100" y="70"/>
                    <a:pt x="100" y="68"/>
                  </a:cubicBezTo>
                  <a:cubicBezTo>
                    <a:pt x="100" y="65"/>
                    <a:pt x="95" y="64"/>
                    <a:pt x="95" y="61"/>
                  </a:cubicBezTo>
                  <a:cubicBezTo>
                    <a:pt x="96" y="59"/>
                    <a:pt x="100" y="60"/>
                    <a:pt x="103" y="59"/>
                  </a:cubicBezTo>
                  <a:cubicBezTo>
                    <a:pt x="105" y="58"/>
                    <a:pt x="103" y="54"/>
                    <a:pt x="105" y="54"/>
                  </a:cubicBezTo>
                  <a:cubicBezTo>
                    <a:pt x="107" y="54"/>
                    <a:pt x="108" y="52"/>
                    <a:pt x="109" y="50"/>
                  </a:cubicBezTo>
                  <a:cubicBezTo>
                    <a:pt x="110" y="48"/>
                    <a:pt x="113" y="50"/>
                    <a:pt x="115" y="48"/>
                  </a:cubicBezTo>
                  <a:cubicBezTo>
                    <a:pt x="117" y="47"/>
                    <a:pt x="120" y="46"/>
                    <a:pt x="121" y="47"/>
                  </a:cubicBezTo>
                  <a:cubicBezTo>
                    <a:pt x="121" y="48"/>
                    <a:pt x="119" y="52"/>
                    <a:pt x="118" y="54"/>
                  </a:cubicBezTo>
                  <a:cubicBezTo>
                    <a:pt x="121" y="54"/>
                    <a:pt x="126" y="53"/>
                    <a:pt x="127" y="52"/>
                  </a:cubicBezTo>
                  <a:cubicBezTo>
                    <a:pt x="128" y="51"/>
                    <a:pt x="133" y="54"/>
                    <a:pt x="135" y="51"/>
                  </a:cubicBezTo>
                  <a:cubicBezTo>
                    <a:pt x="136" y="48"/>
                    <a:pt x="142" y="50"/>
                    <a:pt x="138" y="4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8" name="Freeform 326">
              <a:extLst>
                <a:ext uri="{FF2B5EF4-FFF2-40B4-BE49-F238E27FC236}">
                  <a16:creationId xmlns:a16="http://schemas.microsoft.com/office/drawing/2014/main" id="{122655F4-7087-CA4B-DB57-DB6905E7EE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24580" y="1048443"/>
              <a:ext cx="784123" cy="1236502"/>
            </a:xfrm>
            <a:custGeom>
              <a:avLst/>
              <a:gdLst>
                <a:gd name="T0" fmla="*/ 198 w 209"/>
                <a:gd name="T1" fmla="*/ 172 h 329"/>
                <a:gd name="T2" fmla="*/ 198 w 209"/>
                <a:gd name="T3" fmla="*/ 162 h 329"/>
                <a:gd name="T4" fmla="*/ 187 w 209"/>
                <a:gd name="T5" fmla="*/ 160 h 329"/>
                <a:gd name="T6" fmla="*/ 174 w 209"/>
                <a:gd name="T7" fmla="*/ 160 h 329"/>
                <a:gd name="T8" fmla="*/ 167 w 209"/>
                <a:gd name="T9" fmla="*/ 159 h 329"/>
                <a:gd name="T10" fmla="*/ 155 w 209"/>
                <a:gd name="T11" fmla="*/ 162 h 329"/>
                <a:gd name="T12" fmla="*/ 145 w 209"/>
                <a:gd name="T13" fmla="*/ 173 h 329"/>
                <a:gd name="T14" fmla="*/ 145 w 209"/>
                <a:gd name="T15" fmla="*/ 161 h 329"/>
                <a:gd name="T16" fmla="*/ 131 w 209"/>
                <a:gd name="T17" fmla="*/ 169 h 329"/>
                <a:gd name="T18" fmla="*/ 124 w 209"/>
                <a:gd name="T19" fmla="*/ 172 h 329"/>
                <a:gd name="T20" fmla="*/ 118 w 209"/>
                <a:gd name="T21" fmla="*/ 170 h 329"/>
                <a:gd name="T22" fmla="*/ 107 w 209"/>
                <a:gd name="T23" fmla="*/ 179 h 329"/>
                <a:gd name="T24" fmla="*/ 100 w 209"/>
                <a:gd name="T25" fmla="*/ 185 h 329"/>
                <a:gd name="T26" fmla="*/ 93 w 209"/>
                <a:gd name="T27" fmla="*/ 188 h 329"/>
                <a:gd name="T28" fmla="*/ 80 w 209"/>
                <a:gd name="T29" fmla="*/ 191 h 329"/>
                <a:gd name="T30" fmla="*/ 76 w 209"/>
                <a:gd name="T31" fmla="*/ 198 h 329"/>
                <a:gd name="T32" fmla="*/ 92 w 209"/>
                <a:gd name="T33" fmla="*/ 199 h 329"/>
                <a:gd name="T34" fmla="*/ 80 w 209"/>
                <a:gd name="T35" fmla="*/ 208 h 329"/>
                <a:gd name="T36" fmla="*/ 62 w 209"/>
                <a:gd name="T37" fmla="*/ 227 h 329"/>
                <a:gd name="T38" fmla="*/ 50 w 209"/>
                <a:gd name="T39" fmla="*/ 243 h 329"/>
                <a:gd name="T40" fmla="*/ 40 w 209"/>
                <a:gd name="T41" fmla="*/ 257 h 329"/>
                <a:gd name="T42" fmla="*/ 27 w 209"/>
                <a:gd name="T43" fmla="*/ 266 h 329"/>
                <a:gd name="T44" fmla="*/ 12 w 209"/>
                <a:gd name="T45" fmla="*/ 275 h 329"/>
                <a:gd name="T46" fmla="*/ 5 w 209"/>
                <a:gd name="T47" fmla="*/ 288 h 329"/>
                <a:gd name="T48" fmla="*/ 2 w 209"/>
                <a:gd name="T49" fmla="*/ 302 h 329"/>
                <a:gd name="T50" fmla="*/ 9 w 209"/>
                <a:gd name="T51" fmla="*/ 307 h 329"/>
                <a:gd name="T52" fmla="*/ 7 w 209"/>
                <a:gd name="T53" fmla="*/ 313 h 329"/>
                <a:gd name="T54" fmla="*/ 15 w 209"/>
                <a:gd name="T55" fmla="*/ 326 h 329"/>
                <a:gd name="T56" fmla="*/ 47 w 209"/>
                <a:gd name="T57" fmla="*/ 310 h 329"/>
                <a:gd name="T58" fmla="*/ 56 w 209"/>
                <a:gd name="T59" fmla="*/ 313 h 329"/>
                <a:gd name="T60" fmla="*/ 62 w 209"/>
                <a:gd name="T61" fmla="*/ 293 h 329"/>
                <a:gd name="T62" fmla="*/ 60 w 209"/>
                <a:gd name="T63" fmla="*/ 268 h 329"/>
                <a:gd name="T64" fmla="*/ 74 w 209"/>
                <a:gd name="T65" fmla="*/ 249 h 329"/>
                <a:gd name="T66" fmla="*/ 84 w 209"/>
                <a:gd name="T67" fmla="*/ 226 h 329"/>
                <a:gd name="T68" fmla="*/ 94 w 209"/>
                <a:gd name="T69" fmla="*/ 206 h 329"/>
                <a:gd name="T70" fmla="*/ 117 w 209"/>
                <a:gd name="T71" fmla="*/ 194 h 329"/>
                <a:gd name="T72" fmla="*/ 133 w 209"/>
                <a:gd name="T73" fmla="*/ 183 h 329"/>
                <a:gd name="T74" fmla="*/ 161 w 209"/>
                <a:gd name="T75" fmla="*/ 192 h 329"/>
                <a:gd name="T76" fmla="*/ 179 w 209"/>
                <a:gd name="T77" fmla="*/ 173 h 329"/>
                <a:gd name="T78" fmla="*/ 198 w 209"/>
                <a:gd name="T79" fmla="*/ 181 h 329"/>
                <a:gd name="T80" fmla="*/ 58 w 209"/>
                <a:gd name="T81" fmla="*/ 23 h 329"/>
                <a:gd name="T82" fmla="*/ 78 w 209"/>
                <a:gd name="T83" fmla="*/ 35 h 329"/>
                <a:gd name="T84" fmla="*/ 93 w 209"/>
                <a:gd name="T85" fmla="*/ 38 h 329"/>
                <a:gd name="T86" fmla="*/ 94 w 209"/>
                <a:gd name="T87" fmla="*/ 49 h 329"/>
                <a:gd name="T88" fmla="*/ 80 w 209"/>
                <a:gd name="T89" fmla="*/ 61 h 329"/>
                <a:gd name="T90" fmla="*/ 96 w 209"/>
                <a:gd name="T91" fmla="*/ 68 h 329"/>
                <a:gd name="T92" fmla="*/ 114 w 209"/>
                <a:gd name="T93" fmla="*/ 37 h 329"/>
                <a:gd name="T94" fmla="*/ 130 w 209"/>
                <a:gd name="T95" fmla="*/ 45 h 329"/>
                <a:gd name="T96" fmla="*/ 151 w 209"/>
                <a:gd name="T97" fmla="*/ 53 h 329"/>
                <a:gd name="T98" fmla="*/ 144 w 209"/>
                <a:gd name="T99" fmla="*/ 42 h 329"/>
                <a:gd name="T100" fmla="*/ 126 w 209"/>
                <a:gd name="T101" fmla="*/ 27 h 329"/>
                <a:gd name="T102" fmla="*/ 108 w 209"/>
                <a:gd name="T103" fmla="*/ 18 h 329"/>
                <a:gd name="T104" fmla="*/ 91 w 209"/>
                <a:gd name="T105" fmla="*/ 8 h 329"/>
                <a:gd name="T106" fmla="*/ 84 w 209"/>
                <a:gd name="T107" fmla="*/ 18 h 329"/>
                <a:gd name="T108" fmla="*/ 67 w 209"/>
                <a:gd name="T109" fmla="*/ 17 h 329"/>
                <a:gd name="T110" fmla="*/ 57 w 209"/>
                <a:gd name="T111" fmla="*/ 13 h 329"/>
                <a:gd name="T112" fmla="*/ 51 w 209"/>
                <a:gd name="T113" fmla="*/ 38 h 329"/>
                <a:gd name="T114" fmla="*/ 51 w 209"/>
                <a:gd name="T115" fmla="*/ 38 h 329"/>
                <a:gd name="T116" fmla="*/ 119 w 209"/>
                <a:gd name="T117" fmla="*/ 18 h 329"/>
                <a:gd name="T118" fmla="*/ 167 w 209"/>
                <a:gd name="T119" fmla="*/ 17 h 329"/>
                <a:gd name="T120" fmla="*/ 146 w 209"/>
                <a:gd name="T121" fmla="*/ 6 h 329"/>
                <a:gd name="T122" fmla="*/ 127 w 209"/>
                <a:gd name="T123" fmla="*/ 5 h 329"/>
                <a:gd name="T124" fmla="*/ 113 w 209"/>
                <a:gd name="T125" fmla="*/ 7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9" h="329">
                  <a:moveTo>
                    <a:pt x="202" y="176"/>
                  </a:moveTo>
                  <a:cubicBezTo>
                    <a:pt x="202" y="178"/>
                    <a:pt x="199" y="177"/>
                    <a:pt x="199" y="175"/>
                  </a:cubicBezTo>
                  <a:cubicBezTo>
                    <a:pt x="199" y="174"/>
                    <a:pt x="194" y="172"/>
                    <a:pt x="193" y="171"/>
                  </a:cubicBezTo>
                  <a:cubicBezTo>
                    <a:pt x="193" y="171"/>
                    <a:pt x="196" y="171"/>
                    <a:pt x="198" y="172"/>
                  </a:cubicBezTo>
                  <a:cubicBezTo>
                    <a:pt x="199" y="173"/>
                    <a:pt x="201" y="172"/>
                    <a:pt x="203" y="170"/>
                  </a:cubicBezTo>
                  <a:cubicBezTo>
                    <a:pt x="205" y="168"/>
                    <a:pt x="208" y="170"/>
                    <a:pt x="208" y="168"/>
                  </a:cubicBezTo>
                  <a:cubicBezTo>
                    <a:pt x="209" y="166"/>
                    <a:pt x="205" y="165"/>
                    <a:pt x="204" y="164"/>
                  </a:cubicBezTo>
                  <a:cubicBezTo>
                    <a:pt x="203" y="163"/>
                    <a:pt x="201" y="161"/>
                    <a:pt x="198" y="162"/>
                  </a:cubicBezTo>
                  <a:cubicBezTo>
                    <a:pt x="195" y="162"/>
                    <a:pt x="195" y="161"/>
                    <a:pt x="194" y="160"/>
                  </a:cubicBezTo>
                  <a:cubicBezTo>
                    <a:pt x="192" y="158"/>
                    <a:pt x="188" y="161"/>
                    <a:pt x="188" y="164"/>
                  </a:cubicBezTo>
                  <a:cubicBezTo>
                    <a:pt x="188" y="167"/>
                    <a:pt x="185" y="167"/>
                    <a:pt x="186" y="165"/>
                  </a:cubicBezTo>
                  <a:cubicBezTo>
                    <a:pt x="187" y="163"/>
                    <a:pt x="184" y="161"/>
                    <a:pt x="187" y="160"/>
                  </a:cubicBezTo>
                  <a:cubicBezTo>
                    <a:pt x="189" y="160"/>
                    <a:pt x="188" y="156"/>
                    <a:pt x="183" y="156"/>
                  </a:cubicBezTo>
                  <a:cubicBezTo>
                    <a:pt x="179" y="155"/>
                    <a:pt x="177" y="159"/>
                    <a:pt x="178" y="160"/>
                  </a:cubicBezTo>
                  <a:cubicBezTo>
                    <a:pt x="179" y="161"/>
                    <a:pt x="175" y="167"/>
                    <a:pt x="173" y="167"/>
                  </a:cubicBezTo>
                  <a:cubicBezTo>
                    <a:pt x="172" y="167"/>
                    <a:pt x="174" y="162"/>
                    <a:pt x="174" y="160"/>
                  </a:cubicBezTo>
                  <a:cubicBezTo>
                    <a:pt x="173" y="157"/>
                    <a:pt x="172" y="159"/>
                    <a:pt x="169" y="163"/>
                  </a:cubicBezTo>
                  <a:cubicBezTo>
                    <a:pt x="165" y="166"/>
                    <a:pt x="163" y="170"/>
                    <a:pt x="161" y="170"/>
                  </a:cubicBezTo>
                  <a:cubicBezTo>
                    <a:pt x="159" y="171"/>
                    <a:pt x="159" y="167"/>
                    <a:pt x="162" y="165"/>
                  </a:cubicBezTo>
                  <a:cubicBezTo>
                    <a:pt x="165" y="163"/>
                    <a:pt x="165" y="159"/>
                    <a:pt x="167" y="159"/>
                  </a:cubicBezTo>
                  <a:cubicBezTo>
                    <a:pt x="169" y="159"/>
                    <a:pt x="169" y="156"/>
                    <a:pt x="166" y="156"/>
                  </a:cubicBezTo>
                  <a:cubicBezTo>
                    <a:pt x="164" y="155"/>
                    <a:pt x="163" y="158"/>
                    <a:pt x="162" y="159"/>
                  </a:cubicBezTo>
                  <a:cubicBezTo>
                    <a:pt x="161" y="160"/>
                    <a:pt x="156" y="158"/>
                    <a:pt x="156" y="159"/>
                  </a:cubicBezTo>
                  <a:cubicBezTo>
                    <a:pt x="156" y="160"/>
                    <a:pt x="154" y="160"/>
                    <a:pt x="155" y="162"/>
                  </a:cubicBezTo>
                  <a:cubicBezTo>
                    <a:pt x="156" y="163"/>
                    <a:pt x="154" y="165"/>
                    <a:pt x="153" y="163"/>
                  </a:cubicBezTo>
                  <a:cubicBezTo>
                    <a:pt x="152" y="161"/>
                    <a:pt x="149" y="162"/>
                    <a:pt x="148" y="165"/>
                  </a:cubicBezTo>
                  <a:cubicBezTo>
                    <a:pt x="146" y="167"/>
                    <a:pt x="144" y="167"/>
                    <a:pt x="146" y="168"/>
                  </a:cubicBezTo>
                  <a:cubicBezTo>
                    <a:pt x="147" y="169"/>
                    <a:pt x="147" y="172"/>
                    <a:pt x="145" y="173"/>
                  </a:cubicBezTo>
                  <a:cubicBezTo>
                    <a:pt x="143" y="173"/>
                    <a:pt x="144" y="167"/>
                    <a:pt x="142" y="167"/>
                  </a:cubicBezTo>
                  <a:cubicBezTo>
                    <a:pt x="140" y="168"/>
                    <a:pt x="141" y="164"/>
                    <a:pt x="144" y="164"/>
                  </a:cubicBezTo>
                  <a:cubicBezTo>
                    <a:pt x="146" y="164"/>
                    <a:pt x="148" y="161"/>
                    <a:pt x="148" y="160"/>
                  </a:cubicBezTo>
                  <a:cubicBezTo>
                    <a:pt x="147" y="159"/>
                    <a:pt x="145" y="159"/>
                    <a:pt x="145" y="161"/>
                  </a:cubicBezTo>
                  <a:cubicBezTo>
                    <a:pt x="145" y="163"/>
                    <a:pt x="141" y="162"/>
                    <a:pt x="138" y="162"/>
                  </a:cubicBezTo>
                  <a:cubicBezTo>
                    <a:pt x="135" y="162"/>
                    <a:pt x="136" y="166"/>
                    <a:pt x="139" y="167"/>
                  </a:cubicBezTo>
                  <a:cubicBezTo>
                    <a:pt x="142" y="169"/>
                    <a:pt x="138" y="171"/>
                    <a:pt x="137" y="169"/>
                  </a:cubicBezTo>
                  <a:cubicBezTo>
                    <a:pt x="135" y="168"/>
                    <a:pt x="132" y="168"/>
                    <a:pt x="131" y="169"/>
                  </a:cubicBezTo>
                  <a:cubicBezTo>
                    <a:pt x="129" y="170"/>
                    <a:pt x="135" y="172"/>
                    <a:pt x="135" y="173"/>
                  </a:cubicBezTo>
                  <a:cubicBezTo>
                    <a:pt x="135" y="174"/>
                    <a:pt x="132" y="172"/>
                    <a:pt x="131" y="173"/>
                  </a:cubicBezTo>
                  <a:cubicBezTo>
                    <a:pt x="131" y="174"/>
                    <a:pt x="127" y="172"/>
                    <a:pt x="127" y="170"/>
                  </a:cubicBezTo>
                  <a:cubicBezTo>
                    <a:pt x="127" y="168"/>
                    <a:pt x="121" y="171"/>
                    <a:pt x="124" y="172"/>
                  </a:cubicBezTo>
                  <a:cubicBezTo>
                    <a:pt x="127" y="172"/>
                    <a:pt x="126" y="174"/>
                    <a:pt x="126" y="177"/>
                  </a:cubicBezTo>
                  <a:cubicBezTo>
                    <a:pt x="126" y="180"/>
                    <a:pt x="123" y="178"/>
                    <a:pt x="124" y="175"/>
                  </a:cubicBezTo>
                  <a:cubicBezTo>
                    <a:pt x="124" y="173"/>
                    <a:pt x="121" y="173"/>
                    <a:pt x="119" y="175"/>
                  </a:cubicBezTo>
                  <a:cubicBezTo>
                    <a:pt x="117" y="176"/>
                    <a:pt x="119" y="172"/>
                    <a:pt x="118" y="170"/>
                  </a:cubicBezTo>
                  <a:cubicBezTo>
                    <a:pt x="117" y="168"/>
                    <a:pt x="115" y="170"/>
                    <a:pt x="113" y="171"/>
                  </a:cubicBezTo>
                  <a:cubicBezTo>
                    <a:pt x="110" y="171"/>
                    <a:pt x="109" y="171"/>
                    <a:pt x="111" y="173"/>
                  </a:cubicBezTo>
                  <a:cubicBezTo>
                    <a:pt x="112" y="175"/>
                    <a:pt x="112" y="177"/>
                    <a:pt x="110" y="177"/>
                  </a:cubicBezTo>
                  <a:cubicBezTo>
                    <a:pt x="108" y="176"/>
                    <a:pt x="107" y="177"/>
                    <a:pt x="107" y="179"/>
                  </a:cubicBezTo>
                  <a:cubicBezTo>
                    <a:pt x="108" y="180"/>
                    <a:pt x="105" y="181"/>
                    <a:pt x="104" y="179"/>
                  </a:cubicBezTo>
                  <a:cubicBezTo>
                    <a:pt x="104" y="177"/>
                    <a:pt x="100" y="178"/>
                    <a:pt x="99" y="180"/>
                  </a:cubicBezTo>
                  <a:cubicBezTo>
                    <a:pt x="98" y="182"/>
                    <a:pt x="94" y="183"/>
                    <a:pt x="95" y="185"/>
                  </a:cubicBezTo>
                  <a:cubicBezTo>
                    <a:pt x="95" y="187"/>
                    <a:pt x="98" y="184"/>
                    <a:pt x="100" y="185"/>
                  </a:cubicBezTo>
                  <a:cubicBezTo>
                    <a:pt x="102" y="185"/>
                    <a:pt x="100" y="187"/>
                    <a:pt x="101" y="188"/>
                  </a:cubicBezTo>
                  <a:cubicBezTo>
                    <a:pt x="102" y="189"/>
                    <a:pt x="102" y="191"/>
                    <a:pt x="100" y="190"/>
                  </a:cubicBezTo>
                  <a:cubicBezTo>
                    <a:pt x="99" y="188"/>
                    <a:pt x="96" y="188"/>
                    <a:pt x="96" y="190"/>
                  </a:cubicBezTo>
                  <a:cubicBezTo>
                    <a:pt x="96" y="193"/>
                    <a:pt x="94" y="190"/>
                    <a:pt x="93" y="188"/>
                  </a:cubicBezTo>
                  <a:cubicBezTo>
                    <a:pt x="91" y="186"/>
                    <a:pt x="90" y="191"/>
                    <a:pt x="88" y="190"/>
                  </a:cubicBezTo>
                  <a:cubicBezTo>
                    <a:pt x="87" y="189"/>
                    <a:pt x="91" y="185"/>
                    <a:pt x="90" y="184"/>
                  </a:cubicBezTo>
                  <a:cubicBezTo>
                    <a:pt x="89" y="182"/>
                    <a:pt x="88" y="185"/>
                    <a:pt x="85" y="187"/>
                  </a:cubicBezTo>
                  <a:cubicBezTo>
                    <a:pt x="83" y="190"/>
                    <a:pt x="79" y="190"/>
                    <a:pt x="80" y="191"/>
                  </a:cubicBezTo>
                  <a:cubicBezTo>
                    <a:pt x="81" y="193"/>
                    <a:pt x="77" y="193"/>
                    <a:pt x="77" y="196"/>
                  </a:cubicBezTo>
                  <a:cubicBezTo>
                    <a:pt x="76" y="198"/>
                    <a:pt x="70" y="199"/>
                    <a:pt x="67" y="201"/>
                  </a:cubicBezTo>
                  <a:cubicBezTo>
                    <a:pt x="63" y="203"/>
                    <a:pt x="68" y="204"/>
                    <a:pt x="70" y="201"/>
                  </a:cubicBezTo>
                  <a:cubicBezTo>
                    <a:pt x="72" y="199"/>
                    <a:pt x="72" y="200"/>
                    <a:pt x="76" y="198"/>
                  </a:cubicBezTo>
                  <a:cubicBezTo>
                    <a:pt x="79" y="196"/>
                    <a:pt x="82" y="195"/>
                    <a:pt x="83" y="195"/>
                  </a:cubicBezTo>
                  <a:cubicBezTo>
                    <a:pt x="85" y="196"/>
                    <a:pt x="87" y="197"/>
                    <a:pt x="88" y="195"/>
                  </a:cubicBezTo>
                  <a:cubicBezTo>
                    <a:pt x="90" y="193"/>
                    <a:pt x="92" y="193"/>
                    <a:pt x="93" y="194"/>
                  </a:cubicBezTo>
                  <a:cubicBezTo>
                    <a:pt x="95" y="196"/>
                    <a:pt x="91" y="197"/>
                    <a:pt x="92" y="199"/>
                  </a:cubicBezTo>
                  <a:cubicBezTo>
                    <a:pt x="94" y="201"/>
                    <a:pt x="90" y="202"/>
                    <a:pt x="90" y="200"/>
                  </a:cubicBezTo>
                  <a:cubicBezTo>
                    <a:pt x="90" y="198"/>
                    <a:pt x="88" y="197"/>
                    <a:pt x="87" y="198"/>
                  </a:cubicBezTo>
                  <a:cubicBezTo>
                    <a:pt x="86" y="200"/>
                    <a:pt x="85" y="202"/>
                    <a:pt x="83" y="202"/>
                  </a:cubicBezTo>
                  <a:cubicBezTo>
                    <a:pt x="82" y="202"/>
                    <a:pt x="80" y="205"/>
                    <a:pt x="80" y="208"/>
                  </a:cubicBezTo>
                  <a:cubicBezTo>
                    <a:pt x="80" y="210"/>
                    <a:pt x="77" y="208"/>
                    <a:pt x="77" y="210"/>
                  </a:cubicBezTo>
                  <a:cubicBezTo>
                    <a:pt x="77" y="213"/>
                    <a:pt x="73" y="217"/>
                    <a:pt x="70" y="220"/>
                  </a:cubicBezTo>
                  <a:cubicBezTo>
                    <a:pt x="66" y="223"/>
                    <a:pt x="69" y="224"/>
                    <a:pt x="68" y="226"/>
                  </a:cubicBezTo>
                  <a:cubicBezTo>
                    <a:pt x="67" y="228"/>
                    <a:pt x="63" y="226"/>
                    <a:pt x="62" y="227"/>
                  </a:cubicBezTo>
                  <a:cubicBezTo>
                    <a:pt x="61" y="228"/>
                    <a:pt x="63" y="233"/>
                    <a:pt x="61" y="235"/>
                  </a:cubicBezTo>
                  <a:cubicBezTo>
                    <a:pt x="59" y="236"/>
                    <a:pt x="61" y="238"/>
                    <a:pt x="61" y="240"/>
                  </a:cubicBezTo>
                  <a:cubicBezTo>
                    <a:pt x="61" y="242"/>
                    <a:pt x="56" y="239"/>
                    <a:pt x="56" y="241"/>
                  </a:cubicBezTo>
                  <a:cubicBezTo>
                    <a:pt x="56" y="243"/>
                    <a:pt x="52" y="242"/>
                    <a:pt x="50" y="243"/>
                  </a:cubicBezTo>
                  <a:cubicBezTo>
                    <a:pt x="49" y="243"/>
                    <a:pt x="53" y="246"/>
                    <a:pt x="55" y="248"/>
                  </a:cubicBezTo>
                  <a:cubicBezTo>
                    <a:pt x="57" y="249"/>
                    <a:pt x="53" y="251"/>
                    <a:pt x="52" y="249"/>
                  </a:cubicBezTo>
                  <a:cubicBezTo>
                    <a:pt x="52" y="247"/>
                    <a:pt x="49" y="250"/>
                    <a:pt x="45" y="251"/>
                  </a:cubicBezTo>
                  <a:cubicBezTo>
                    <a:pt x="42" y="253"/>
                    <a:pt x="43" y="256"/>
                    <a:pt x="40" y="257"/>
                  </a:cubicBezTo>
                  <a:cubicBezTo>
                    <a:pt x="37" y="257"/>
                    <a:pt x="38" y="261"/>
                    <a:pt x="36" y="263"/>
                  </a:cubicBezTo>
                  <a:cubicBezTo>
                    <a:pt x="34" y="264"/>
                    <a:pt x="35" y="259"/>
                    <a:pt x="32" y="259"/>
                  </a:cubicBezTo>
                  <a:cubicBezTo>
                    <a:pt x="29" y="259"/>
                    <a:pt x="29" y="261"/>
                    <a:pt x="31" y="264"/>
                  </a:cubicBezTo>
                  <a:cubicBezTo>
                    <a:pt x="33" y="266"/>
                    <a:pt x="28" y="264"/>
                    <a:pt x="27" y="266"/>
                  </a:cubicBezTo>
                  <a:cubicBezTo>
                    <a:pt x="25" y="269"/>
                    <a:pt x="20" y="268"/>
                    <a:pt x="19" y="269"/>
                  </a:cubicBezTo>
                  <a:cubicBezTo>
                    <a:pt x="18" y="271"/>
                    <a:pt x="22" y="271"/>
                    <a:pt x="23" y="273"/>
                  </a:cubicBezTo>
                  <a:cubicBezTo>
                    <a:pt x="24" y="274"/>
                    <a:pt x="19" y="273"/>
                    <a:pt x="16" y="273"/>
                  </a:cubicBezTo>
                  <a:cubicBezTo>
                    <a:pt x="14" y="272"/>
                    <a:pt x="14" y="276"/>
                    <a:pt x="12" y="275"/>
                  </a:cubicBezTo>
                  <a:cubicBezTo>
                    <a:pt x="10" y="275"/>
                    <a:pt x="7" y="278"/>
                    <a:pt x="8" y="279"/>
                  </a:cubicBezTo>
                  <a:cubicBezTo>
                    <a:pt x="10" y="281"/>
                    <a:pt x="7" y="281"/>
                    <a:pt x="5" y="280"/>
                  </a:cubicBezTo>
                  <a:cubicBezTo>
                    <a:pt x="4" y="279"/>
                    <a:pt x="2" y="282"/>
                    <a:pt x="2" y="284"/>
                  </a:cubicBezTo>
                  <a:cubicBezTo>
                    <a:pt x="1" y="286"/>
                    <a:pt x="5" y="287"/>
                    <a:pt x="5" y="288"/>
                  </a:cubicBezTo>
                  <a:cubicBezTo>
                    <a:pt x="5" y="289"/>
                    <a:pt x="2" y="290"/>
                    <a:pt x="4" y="291"/>
                  </a:cubicBezTo>
                  <a:cubicBezTo>
                    <a:pt x="6" y="291"/>
                    <a:pt x="4" y="293"/>
                    <a:pt x="3" y="294"/>
                  </a:cubicBezTo>
                  <a:cubicBezTo>
                    <a:pt x="1" y="294"/>
                    <a:pt x="1" y="296"/>
                    <a:pt x="3" y="297"/>
                  </a:cubicBezTo>
                  <a:cubicBezTo>
                    <a:pt x="4" y="299"/>
                    <a:pt x="0" y="300"/>
                    <a:pt x="2" y="302"/>
                  </a:cubicBezTo>
                  <a:cubicBezTo>
                    <a:pt x="4" y="305"/>
                    <a:pt x="6" y="302"/>
                    <a:pt x="6" y="304"/>
                  </a:cubicBezTo>
                  <a:cubicBezTo>
                    <a:pt x="7" y="306"/>
                    <a:pt x="10" y="304"/>
                    <a:pt x="12" y="301"/>
                  </a:cubicBezTo>
                  <a:cubicBezTo>
                    <a:pt x="15" y="299"/>
                    <a:pt x="16" y="304"/>
                    <a:pt x="14" y="304"/>
                  </a:cubicBezTo>
                  <a:cubicBezTo>
                    <a:pt x="11" y="304"/>
                    <a:pt x="9" y="305"/>
                    <a:pt x="9" y="307"/>
                  </a:cubicBezTo>
                  <a:cubicBezTo>
                    <a:pt x="10" y="309"/>
                    <a:pt x="6" y="309"/>
                    <a:pt x="6" y="306"/>
                  </a:cubicBezTo>
                  <a:cubicBezTo>
                    <a:pt x="6" y="304"/>
                    <a:pt x="2" y="307"/>
                    <a:pt x="3" y="309"/>
                  </a:cubicBezTo>
                  <a:cubicBezTo>
                    <a:pt x="5" y="311"/>
                    <a:pt x="3" y="312"/>
                    <a:pt x="3" y="314"/>
                  </a:cubicBezTo>
                  <a:cubicBezTo>
                    <a:pt x="3" y="315"/>
                    <a:pt x="6" y="315"/>
                    <a:pt x="7" y="313"/>
                  </a:cubicBezTo>
                  <a:cubicBezTo>
                    <a:pt x="9" y="311"/>
                    <a:pt x="11" y="311"/>
                    <a:pt x="12" y="313"/>
                  </a:cubicBezTo>
                  <a:cubicBezTo>
                    <a:pt x="13" y="315"/>
                    <a:pt x="10" y="314"/>
                    <a:pt x="10" y="317"/>
                  </a:cubicBezTo>
                  <a:cubicBezTo>
                    <a:pt x="10" y="319"/>
                    <a:pt x="8" y="317"/>
                    <a:pt x="6" y="319"/>
                  </a:cubicBezTo>
                  <a:cubicBezTo>
                    <a:pt x="5" y="321"/>
                    <a:pt x="12" y="325"/>
                    <a:pt x="15" y="326"/>
                  </a:cubicBezTo>
                  <a:cubicBezTo>
                    <a:pt x="17" y="326"/>
                    <a:pt x="19" y="329"/>
                    <a:pt x="24" y="328"/>
                  </a:cubicBezTo>
                  <a:cubicBezTo>
                    <a:pt x="29" y="328"/>
                    <a:pt x="38" y="319"/>
                    <a:pt x="39" y="317"/>
                  </a:cubicBezTo>
                  <a:cubicBezTo>
                    <a:pt x="40" y="316"/>
                    <a:pt x="43" y="317"/>
                    <a:pt x="45" y="316"/>
                  </a:cubicBezTo>
                  <a:cubicBezTo>
                    <a:pt x="47" y="315"/>
                    <a:pt x="45" y="311"/>
                    <a:pt x="47" y="310"/>
                  </a:cubicBezTo>
                  <a:cubicBezTo>
                    <a:pt x="48" y="310"/>
                    <a:pt x="49" y="314"/>
                    <a:pt x="50" y="315"/>
                  </a:cubicBezTo>
                  <a:cubicBezTo>
                    <a:pt x="51" y="315"/>
                    <a:pt x="52" y="316"/>
                    <a:pt x="52" y="318"/>
                  </a:cubicBezTo>
                  <a:cubicBezTo>
                    <a:pt x="53" y="318"/>
                    <a:pt x="54" y="318"/>
                    <a:pt x="54" y="319"/>
                  </a:cubicBezTo>
                  <a:cubicBezTo>
                    <a:pt x="56" y="320"/>
                    <a:pt x="56" y="315"/>
                    <a:pt x="56" y="313"/>
                  </a:cubicBezTo>
                  <a:cubicBezTo>
                    <a:pt x="56" y="312"/>
                    <a:pt x="58" y="309"/>
                    <a:pt x="57" y="307"/>
                  </a:cubicBezTo>
                  <a:cubicBezTo>
                    <a:pt x="57" y="305"/>
                    <a:pt x="62" y="306"/>
                    <a:pt x="63" y="305"/>
                  </a:cubicBezTo>
                  <a:cubicBezTo>
                    <a:pt x="64" y="303"/>
                    <a:pt x="64" y="298"/>
                    <a:pt x="62" y="297"/>
                  </a:cubicBezTo>
                  <a:cubicBezTo>
                    <a:pt x="61" y="296"/>
                    <a:pt x="60" y="293"/>
                    <a:pt x="62" y="293"/>
                  </a:cubicBezTo>
                  <a:cubicBezTo>
                    <a:pt x="64" y="293"/>
                    <a:pt x="65" y="292"/>
                    <a:pt x="65" y="289"/>
                  </a:cubicBezTo>
                  <a:cubicBezTo>
                    <a:pt x="65" y="286"/>
                    <a:pt x="60" y="287"/>
                    <a:pt x="60" y="283"/>
                  </a:cubicBezTo>
                  <a:cubicBezTo>
                    <a:pt x="59" y="280"/>
                    <a:pt x="62" y="280"/>
                    <a:pt x="60" y="276"/>
                  </a:cubicBezTo>
                  <a:cubicBezTo>
                    <a:pt x="58" y="272"/>
                    <a:pt x="61" y="270"/>
                    <a:pt x="60" y="268"/>
                  </a:cubicBezTo>
                  <a:cubicBezTo>
                    <a:pt x="59" y="266"/>
                    <a:pt x="59" y="264"/>
                    <a:pt x="61" y="260"/>
                  </a:cubicBezTo>
                  <a:cubicBezTo>
                    <a:pt x="63" y="256"/>
                    <a:pt x="67" y="254"/>
                    <a:pt x="69" y="254"/>
                  </a:cubicBezTo>
                  <a:cubicBezTo>
                    <a:pt x="70" y="255"/>
                    <a:pt x="73" y="256"/>
                    <a:pt x="74" y="254"/>
                  </a:cubicBezTo>
                  <a:cubicBezTo>
                    <a:pt x="75" y="252"/>
                    <a:pt x="75" y="250"/>
                    <a:pt x="74" y="249"/>
                  </a:cubicBezTo>
                  <a:cubicBezTo>
                    <a:pt x="73" y="249"/>
                    <a:pt x="70" y="248"/>
                    <a:pt x="72" y="245"/>
                  </a:cubicBezTo>
                  <a:cubicBezTo>
                    <a:pt x="75" y="242"/>
                    <a:pt x="77" y="238"/>
                    <a:pt x="78" y="235"/>
                  </a:cubicBezTo>
                  <a:cubicBezTo>
                    <a:pt x="78" y="232"/>
                    <a:pt x="77" y="229"/>
                    <a:pt x="78" y="228"/>
                  </a:cubicBezTo>
                  <a:cubicBezTo>
                    <a:pt x="79" y="227"/>
                    <a:pt x="82" y="228"/>
                    <a:pt x="84" y="226"/>
                  </a:cubicBezTo>
                  <a:cubicBezTo>
                    <a:pt x="86" y="225"/>
                    <a:pt x="85" y="223"/>
                    <a:pt x="86" y="222"/>
                  </a:cubicBezTo>
                  <a:cubicBezTo>
                    <a:pt x="87" y="220"/>
                    <a:pt x="88" y="217"/>
                    <a:pt x="90" y="215"/>
                  </a:cubicBezTo>
                  <a:cubicBezTo>
                    <a:pt x="91" y="214"/>
                    <a:pt x="93" y="213"/>
                    <a:pt x="92" y="211"/>
                  </a:cubicBezTo>
                  <a:cubicBezTo>
                    <a:pt x="91" y="210"/>
                    <a:pt x="94" y="208"/>
                    <a:pt x="94" y="206"/>
                  </a:cubicBezTo>
                  <a:cubicBezTo>
                    <a:pt x="94" y="203"/>
                    <a:pt x="98" y="201"/>
                    <a:pt x="100" y="201"/>
                  </a:cubicBezTo>
                  <a:cubicBezTo>
                    <a:pt x="103" y="201"/>
                    <a:pt x="106" y="201"/>
                    <a:pt x="106" y="199"/>
                  </a:cubicBezTo>
                  <a:cubicBezTo>
                    <a:pt x="106" y="196"/>
                    <a:pt x="105" y="191"/>
                    <a:pt x="108" y="193"/>
                  </a:cubicBezTo>
                  <a:cubicBezTo>
                    <a:pt x="112" y="194"/>
                    <a:pt x="114" y="193"/>
                    <a:pt x="117" y="194"/>
                  </a:cubicBezTo>
                  <a:cubicBezTo>
                    <a:pt x="119" y="196"/>
                    <a:pt x="122" y="196"/>
                    <a:pt x="122" y="193"/>
                  </a:cubicBezTo>
                  <a:cubicBezTo>
                    <a:pt x="122" y="190"/>
                    <a:pt x="123" y="185"/>
                    <a:pt x="127" y="187"/>
                  </a:cubicBezTo>
                  <a:cubicBezTo>
                    <a:pt x="127" y="187"/>
                    <a:pt x="127" y="187"/>
                    <a:pt x="127" y="187"/>
                  </a:cubicBezTo>
                  <a:cubicBezTo>
                    <a:pt x="128" y="185"/>
                    <a:pt x="131" y="183"/>
                    <a:pt x="133" y="183"/>
                  </a:cubicBezTo>
                  <a:cubicBezTo>
                    <a:pt x="136" y="184"/>
                    <a:pt x="138" y="189"/>
                    <a:pt x="141" y="190"/>
                  </a:cubicBezTo>
                  <a:cubicBezTo>
                    <a:pt x="145" y="191"/>
                    <a:pt x="149" y="192"/>
                    <a:pt x="150" y="190"/>
                  </a:cubicBezTo>
                  <a:cubicBezTo>
                    <a:pt x="151" y="188"/>
                    <a:pt x="154" y="191"/>
                    <a:pt x="156" y="191"/>
                  </a:cubicBezTo>
                  <a:cubicBezTo>
                    <a:pt x="159" y="190"/>
                    <a:pt x="159" y="195"/>
                    <a:pt x="161" y="192"/>
                  </a:cubicBezTo>
                  <a:cubicBezTo>
                    <a:pt x="163" y="189"/>
                    <a:pt x="161" y="187"/>
                    <a:pt x="164" y="187"/>
                  </a:cubicBezTo>
                  <a:cubicBezTo>
                    <a:pt x="168" y="188"/>
                    <a:pt x="166" y="183"/>
                    <a:pt x="166" y="180"/>
                  </a:cubicBezTo>
                  <a:cubicBezTo>
                    <a:pt x="166" y="178"/>
                    <a:pt x="171" y="177"/>
                    <a:pt x="171" y="175"/>
                  </a:cubicBezTo>
                  <a:cubicBezTo>
                    <a:pt x="171" y="173"/>
                    <a:pt x="178" y="175"/>
                    <a:pt x="179" y="173"/>
                  </a:cubicBezTo>
                  <a:cubicBezTo>
                    <a:pt x="180" y="172"/>
                    <a:pt x="184" y="170"/>
                    <a:pt x="185" y="173"/>
                  </a:cubicBezTo>
                  <a:cubicBezTo>
                    <a:pt x="187" y="176"/>
                    <a:pt x="193" y="177"/>
                    <a:pt x="194" y="179"/>
                  </a:cubicBezTo>
                  <a:cubicBezTo>
                    <a:pt x="194" y="180"/>
                    <a:pt x="194" y="182"/>
                    <a:pt x="194" y="183"/>
                  </a:cubicBezTo>
                  <a:cubicBezTo>
                    <a:pt x="195" y="182"/>
                    <a:pt x="196" y="181"/>
                    <a:pt x="198" y="181"/>
                  </a:cubicBezTo>
                  <a:cubicBezTo>
                    <a:pt x="200" y="181"/>
                    <a:pt x="202" y="178"/>
                    <a:pt x="204" y="178"/>
                  </a:cubicBezTo>
                  <a:cubicBezTo>
                    <a:pt x="206" y="179"/>
                    <a:pt x="208" y="178"/>
                    <a:pt x="208" y="175"/>
                  </a:cubicBezTo>
                  <a:cubicBezTo>
                    <a:pt x="206" y="174"/>
                    <a:pt x="203" y="174"/>
                    <a:pt x="202" y="176"/>
                  </a:cubicBezTo>
                  <a:close/>
                  <a:moveTo>
                    <a:pt x="58" y="23"/>
                  </a:moveTo>
                  <a:cubicBezTo>
                    <a:pt x="62" y="24"/>
                    <a:pt x="55" y="28"/>
                    <a:pt x="54" y="31"/>
                  </a:cubicBezTo>
                  <a:cubicBezTo>
                    <a:pt x="53" y="35"/>
                    <a:pt x="59" y="38"/>
                    <a:pt x="62" y="40"/>
                  </a:cubicBezTo>
                  <a:cubicBezTo>
                    <a:pt x="65" y="43"/>
                    <a:pt x="71" y="42"/>
                    <a:pt x="73" y="41"/>
                  </a:cubicBezTo>
                  <a:cubicBezTo>
                    <a:pt x="76" y="39"/>
                    <a:pt x="75" y="34"/>
                    <a:pt x="78" y="35"/>
                  </a:cubicBezTo>
                  <a:cubicBezTo>
                    <a:pt x="81" y="35"/>
                    <a:pt x="79" y="32"/>
                    <a:pt x="82" y="31"/>
                  </a:cubicBezTo>
                  <a:cubicBezTo>
                    <a:pt x="84" y="30"/>
                    <a:pt x="85" y="33"/>
                    <a:pt x="83" y="36"/>
                  </a:cubicBezTo>
                  <a:cubicBezTo>
                    <a:pt x="80" y="38"/>
                    <a:pt x="86" y="38"/>
                    <a:pt x="89" y="35"/>
                  </a:cubicBezTo>
                  <a:cubicBezTo>
                    <a:pt x="93" y="32"/>
                    <a:pt x="93" y="35"/>
                    <a:pt x="93" y="38"/>
                  </a:cubicBezTo>
                  <a:cubicBezTo>
                    <a:pt x="92" y="41"/>
                    <a:pt x="85" y="39"/>
                    <a:pt x="83" y="42"/>
                  </a:cubicBezTo>
                  <a:cubicBezTo>
                    <a:pt x="81" y="45"/>
                    <a:pt x="74" y="43"/>
                    <a:pt x="70" y="46"/>
                  </a:cubicBezTo>
                  <a:cubicBezTo>
                    <a:pt x="67" y="50"/>
                    <a:pt x="73" y="50"/>
                    <a:pt x="78" y="49"/>
                  </a:cubicBezTo>
                  <a:cubicBezTo>
                    <a:pt x="82" y="48"/>
                    <a:pt x="91" y="48"/>
                    <a:pt x="94" y="49"/>
                  </a:cubicBezTo>
                  <a:cubicBezTo>
                    <a:pt x="97" y="49"/>
                    <a:pt x="92" y="50"/>
                    <a:pt x="86" y="50"/>
                  </a:cubicBezTo>
                  <a:cubicBezTo>
                    <a:pt x="81" y="50"/>
                    <a:pt x="79" y="52"/>
                    <a:pt x="80" y="53"/>
                  </a:cubicBezTo>
                  <a:cubicBezTo>
                    <a:pt x="80" y="55"/>
                    <a:pt x="72" y="52"/>
                    <a:pt x="72" y="55"/>
                  </a:cubicBezTo>
                  <a:cubicBezTo>
                    <a:pt x="71" y="58"/>
                    <a:pt x="79" y="60"/>
                    <a:pt x="80" y="61"/>
                  </a:cubicBezTo>
                  <a:cubicBezTo>
                    <a:pt x="81" y="63"/>
                    <a:pt x="86" y="62"/>
                    <a:pt x="88" y="62"/>
                  </a:cubicBezTo>
                  <a:cubicBezTo>
                    <a:pt x="89" y="63"/>
                    <a:pt x="84" y="65"/>
                    <a:pt x="84" y="65"/>
                  </a:cubicBezTo>
                  <a:cubicBezTo>
                    <a:pt x="83" y="66"/>
                    <a:pt x="89" y="68"/>
                    <a:pt x="90" y="69"/>
                  </a:cubicBezTo>
                  <a:cubicBezTo>
                    <a:pt x="91" y="71"/>
                    <a:pt x="96" y="70"/>
                    <a:pt x="96" y="68"/>
                  </a:cubicBezTo>
                  <a:cubicBezTo>
                    <a:pt x="95" y="65"/>
                    <a:pt x="99" y="55"/>
                    <a:pt x="105" y="53"/>
                  </a:cubicBezTo>
                  <a:cubicBezTo>
                    <a:pt x="110" y="51"/>
                    <a:pt x="107" y="50"/>
                    <a:pt x="108" y="46"/>
                  </a:cubicBezTo>
                  <a:cubicBezTo>
                    <a:pt x="109" y="43"/>
                    <a:pt x="113" y="46"/>
                    <a:pt x="112" y="43"/>
                  </a:cubicBezTo>
                  <a:cubicBezTo>
                    <a:pt x="110" y="41"/>
                    <a:pt x="111" y="40"/>
                    <a:pt x="114" y="37"/>
                  </a:cubicBezTo>
                  <a:cubicBezTo>
                    <a:pt x="118" y="33"/>
                    <a:pt x="120" y="36"/>
                    <a:pt x="124" y="34"/>
                  </a:cubicBezTo>
                  <a:cubicBezTo>
                    <a:pt x="128" y="32"/>
                    <a:pt x="130" y="35"/>
                    <a:pt x="126" y="36"/>
                  </a:cubicBezTo>
                  <a:cubicBezTo>
                    <a:pt x="122" y="36"/>
                    <a:pt x="124" y="40"/>
                    <a:pt x="127" y="42"/>
                  </a:cubicBezTo>
                  <a:cubicBezTo>
                    <a:pt x="130" y="43"/>
                    <a:pt x="127" y="44"/>
                    <a:pt x="130" y="45"/>
                  </a:cubicBezTo>
                  <a:cubicBezTo>
                    <a:pt x="132" y="45"/>
                    <a:pt x="132" y="49"/>
                    <a:pt x="128" y="52"/>
                  </a:cubicBezTo>
                  <a:cubicBezTo>
                    <a:pt x="125" y="56"/>
                    <a:pt x="129" y="56"/>
                    <a:pt x="136" y="54"/>
                  </a:cubicBezTo>
                  <a:cubicBezTo>
                    <a:pt x="143" y="51"/>
                    <a:pt x="139" y="56"/>
                    <a:pt x="141" y="58"/>
                  </a:cubicBezTo>
                  <a:cubicBezTo>
                    <a:pt x="142" y="60"/>
                    <a:pt x="148" y="56"/>
                    <a:pt x="151" y="53"/>
                  </a:cubicBezTo>
                  <a:cubicBezTo>
                    <a:pt x="154" y="50"/>
                    <a:pt x="158" y="50"/>
                    <a:pt x="158" y="48"/>
                  </a:cubicBezTo>
                  <a:cubicBezTo>
                    <a:pt x="157" y="46"/>
                    <a:pt x="154" y="46"/>
                    <a:pt x="152" y="47"/>
                  </a:cubicBezTo>
                  <a:cubicBezTo>
                    <a:pt x="149" y="48"/>
                    <a:pt x="143" y="47"/>
                    <a:pt x="145" y="45"/>
                  </a:cubicBezTo>
                  <a:cubicBezTo>
                    <a:pt x="147" y="43"/>
                    <a:pt x="147" y="42"/>
                    <a:pt x="144" y="42"/>
                  </a:cubicBezTo>
                  <a:cubicBezTo>
                    <a:pt x="141" y="43"/>
                    <a:pt x="135" y="41"/>
                    <a:pt x="138" y="40"/>
                  </a:cubicBezTo>
                  <a:cubicBezTo>
                    <a:pt x="140" y="39"/>
                    <a:pt x="136" y="35"/>
                    <a:pt x="133" y="35"/>
                  </a:cubicBezTo>
                  <a:cubicBezTo>
                    <a:pt x="131" y="36"/>
                    <a:pt x="131" y="33"/>
                    <a:pt x="132" y="31"/>
                  </a:cubicBezTo>
                  <a:cubicBezTo>
                    <a:pt x="132" y="29"/>
                    <a:pt x="124" y="28"/>
                    <a:pt x="126" y="27"/>
                  </a:cubicBezTo>
                  <a:cubicBezTo>
                    <a:pt x="127" y="27"/>
                    <a:pt x="123" y="25"/>
                    <a:pt x="122" y="26"/>
                  </a:cubicBezTo>
                  <a:cubicBezTo>
                    <a:pt x="121" y="28"/>
                    <a:pt x="119" y="27"/>
                    <a:pt x="119" y="25"/>
                  </a:cubicBezTo>
                  <a:cubicBezTo>
                    <a:pt x="119" y="23"/>
                    <a:pt x="113" y="24"/>
                    <a:pt x="111" y="24"/>
                  </a:cubicBezTo>
                  <a:cubicBezTo>
                    <a:pt x="109" y="24"/>
                    <a:pt x="110" y="19"/>
                    <a:pt x="108" y="18"/>
                  </a:cubicBezTo>
                  <a:cubicBezTo>
                    <a:pt x="106" y="16"/>
                    <a:pt x="103" y="21"/>
                    <a:pt x="101" y="20"/>
                  </a:cubicBezTo>
                  <a:cubicBezTo>
                    <a:pt x="100" y="20"/>
                    <a:pt x="103" y="17"/>
                    <a:pt x="103" y="15"/>
                  </a:cubicBezTo>
                  <a:cubicBezTo>
                    <a:pt x="104" y="13"/>
                    <a:pt x="96" y="10"/>
                    <a:pt x="95" y="12"/>
                  </a:cubicBezTo>
                  <a:cubicBezTo>
                    <a:pt x="94" y="14"/>
                    <a:pt x="93" y="9"/>
                    <a:pt x="91" y="8"/>
                  </a:cubicBezTo>
                  <a:cubicBezTo>
                    <a:pt x="89" y="8"/>
                    <a:pt x="90" y="12"/>
                    <a:pt x="89" y="12"/>
                  </a:cubicBezTo>
                  <a:cubicBezTo>
                    <a:pt x="87" y="12"/>
                    <a:pt x="85" y="14"/>
                    <a:pt x="88" y="16"/>
                  </a:cubicBezTo>
                  <a:cubicBezTo>
                    <a:pt x="90" y="18"/>
                    <a:pt x="93" y="27"/>
                    <a:pt x="93" y="28"/>
                  </a:cubicBezTo>
                  <a:cubicBezTo>
                    <a:pt x="92" y="29"/>
                    <a:pt x="84" y="22"/>
                    <a:pt x="84" y="18"/>
                  </a:cubicBezTo>
                  <a:cubicBezTo>
                    <a:pt x="83" y="14"/>
                    <a:pt x="79" y="11"/>
                    <a:pt x="78" y="14"/>
                  </a:cubicBezTo>
                  <a:cubicBezTo>
                    <a:pt x="77" y="16"/>
                    <a:pt x="74" y="17"/>
                    <a:pt x="75" y="20"/>
                  </a:cubicBezTo>
                  <a:cubicBezTo>
                    <a:pt x="76" y="23"/>
                    <a:pt x="73" y="24"/>
                    <a:pt x="73" y="22"/>
                  </a:cubicBezTo>
                  <a:cubicBezTo>
                    <a:pt x="73" y="19"/>
                    <a:pt x="68" y="17"/>
                    <a:pt x="67" y="17"/>
                  </a:cubicBezTo>
                  <a:cubicBezTo>
                    <a:pt x="65" y="17"/>
                    <a:pt x="71" y="15"/>
                    <a:pt x="74" y="14"/>
                  </a:cubicBezTo>
                  <a:cubicBezTo>
                    <a:pt x="76" y="13"/>
                    <a:pt x="71" y="11"/>
                    <a:pt x="69" y="13"/>
                  </a:cubicBezTo>
                  <a:cubicBezTo>
                    <a:pt x="67" y="14"/>
                    <a:pt x="64" y="12"/>
                    <a:pt x="62" y="14"/>
                  </a:cubicBezTo>
                  <a:cubicBezTo>
                    <a:pt x="61" y="16"/>
                    <a:pt x="59" y="14"/>
                    <a:pt x="57" y="13"/>
                  </a:cubicBezTo>
                  <a:cubicBezTo>
                    <a:pt x="54" y="13"/>
                    <a:pt x="52" y="17"/>
                    <a:pt x="50" y="16"/>
                  </a:cubicBezTo>
                  <a:cubicBezTo>
                    <a:pt x="48" y="15"/>
                    <a:pt x="47" y="20"/>
                    <a:pt x="50" y="24"/>
                  </a:cubicBezTo>
                  <a:cubicBezTo>
                    <a:pt x="53" y="28"/>
                    <a:pt x="55" y="23"/>
                    <a:pt x="58" y="23"/>
                  </a:cubicBezTo>
                  <a:close/>
                  <a:moveTo>
                    <a:pt x="51" y="38"/>
                  </a:moveTo>
                  <a:cubicBezTo>
                    <a:pt x="53" y="38"/>
                    <a:pt x="55" y="42"/>
                    <a:pt x="57" y="42"/>
                  </a:cubicBezTo>
                  <a:cubicBezTo>
                    <a:pt x="58" y="42"/>
                    <a:pt x="54" y="37"/>
                    <a:pt x="52" y="35"/>
                  </a:cubicBezTo>
                  <a:cubicBezTo>
                    <a:pt x="49" y="32"/>
                    <a:pt x="49" y="30"/>
                    <a:pt x="46" y="31"/>
                  </a:cubicBezTo>
                  <a:cubicBezTo>
                    <a:pt x="43" y="32"/>
                    <a:pt x="49" y="37"/>
                    <a:pt x="51" y="38"/>
                  </a:cubicBezTo>
                  <a:close/>
                  <a:moveTo>
                    <a:pt x="108" y="9"/>
                  </a:moveTo>
                  <a:cubicBezTo>
                    <a:pt x="109" y="10"/>
                    <a:pt x="105" y="10"/>
                    <a:pt x="107" y="12"/>
                  </a:cubicBezTo>
                  <a:cubicBezTo>
                    <a:pt x="112" y="17"/>
                    <a:pt x="133" y="11"/>
                    <a:pt x="136" y="13"/>
                  </a:cubicBezTo>
                  <a:cubicBezTo>
                    <a:pt x="139" y="14"/>
                    <a:pt x="119" y="16"/>
                    <a:pt x="119" y="18"/>
                  </a:cubicBezTo>
                  <a:cubicBezTo>
                    <a:pt x="120" y="21"/>
                    <a:pt x="137" y="22"/>
                    <a:pt x="138" y="21"/>
                  </a:cubicBezTo>
                  <a:cubicBezTo>
                    <a:pt x="140" y="20"/>
                    <a:pt x="142" y="24"/>
                    <a:pt x="148" y="24"/>
                  </a:cubicBezTo>
                  <a:cubicBezTo>
                    <a:pt x="154" y="25"/>
                    <a:pt x="153" y="22"/>
                    <a:pt x="157" y="22"/>
                  </a:cubicBezTo>
                  <a:cubicBezTo>
                    <a:pt x="161" y="22"/>
                    <a:pt x="167" y="20"/>
                    <a:pt x="167" y="17"/>
                  </a:cubicBezTo>
                  <a:cubicBezTo>
                    <a:pt x="168" y="15"/>
                    <a:pt x="180" y="12"/>
                    <a:pt x="178" y="8"/>
                  </a:cubicBezTo>
                  <a:cubicBezTo>
                    <a:pt x="177" y="4"/>
                    <a:pt x="166" y="7"/>
                    <a:pt x="163" y="5"/>
                  </a:cubicBezTo>
                  <a:cubicBezTo>
                    <a:pt x="159" y="4"/>
                    <a:pt x="152" y="2"/>
                    <a:pt x="151" y="4"/>
                  </a:cubicBezTo>
                  <a:cubicBezTo>
                    <a:pt x="149" y="7"/>
                    <a:pt x="147" y="7"/>
                    <a:pt x="146" y="6"/>
                  </a:cubicBezTo>
                  <a:cubicBezTo>
                    <a:pt x="145" y="5"/>
                    <a:pt x="147" y="0"/>
                    <a:pt x="142" y="1"/>
                  </a:cubicBezTo>
                  <a:cubicBezTo>
                    <a:pt x="136" y="3"/>
                    <a:pt x="141" y="8"/>
                    <a:pt x="140" y="9"/>
                  </a:cubicBezTo>
                  <a:cubicBezTo>
                    <a:pt x="139" y="10"/>
                    <a:pt x="134" y="8"/>
                    <a:pt x="134" y="5"/>
                  </a:cubicBezTo>
                  <a:cubicBezTo>
                    <a:pt x="133" y="3"/>
                    <a:pt x="128" y="8"/>
                    <a:pt x="127" y="5"/>
                  </a:cubicBezTo>
                  <a:cubicBezTo>
                    <a:pt x="126" y="2"/>
                    <a:pt x="120" y="0"/>
                    <a:pt x="118" y="0"/>
                  </a:cubicBezTo>
                  <a:cubicBezTo>
                    <a:pt x="117" y="0"/>
                    <a:pt x="120" y="2"/>
                    <a:pt x="119" y="4"/>
                  </a:cubicBezTo>
                  <a:cubicBezTo>
                    <a:pt x="118" y="5"/>
                    <a:pt x="114" y="2"/>
                    <a:pt x="113" y="2"/>
                  </a:cubicBezTo>
                  <a:cubicBezTo>
                    <a:pt x="112" y="2"/>
                    <a:pt x="114" y="5"/>
                    <a:pt x="113" y="7"/>
                  </a:cubicBezTo>
                  <a:cubicBezTo>
                    <a:pt x="113" y="8"/>
                    <a:pt x="110" y="2"/>
                    <a:pt x="107" y="2"/>
                  </a:cubicBezTo>
                  <a:cubicBezTo>
                    <a:pt x="105" y="2"/>
                    <a:pt x="106" y="5"/>
                    <a:pt x="104" y="5"/>
                  </a:cubicBezTo>
                  <a:cubicBezTo>
                    <a:pt x="102" y="5"/>
                    <a:pt x="106" y="8"/>
                    <a:pt x="108" y="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89" name="Freeform 327">
              <a:extLst>
                <a:ext uri="{FF2B5EF4-FFF2-40B4-BE49-F238E27FC236}">
                  <a16:creationId xmlns:a16="http://schemas.microsoft.com/office/drawing/2014/main" id="{EB83FA01-C4A9-4DF6-0711-61878F35D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5181" y="2027797"/>
              <a:ext cx="100000" cy="38095"/>
            </a:xfrm>
            <a:custGeom>
              <a:avLst/>
              <a:gdLst>
                <a:gd name="T0" fmla="*/ 12 w 27"/>
                <a:gd name="T1" fmla="*/ 1 h 10"/>
                <a:gd name="T2" fmla="*/ 2 w 27"/>
                <a:gd name="T3" fmla="*/ 4 h 10"/>
                <a:gd name="T4" fmla="*/ 17 w 27"/>
                <a:gd name="T5" fmla="*/ 7 h 10"/>
                <a:gd name="T6" fmla="*/ 27 w 27"/>
                <a:gd name="T7" fmla="*/ 6 h 10"/>
                <a:gd name="T8" fmla="*/ 12 w 27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0">
                  <a:moveTo>
                    <a:pt x="12" y="1"/>
                  </a:moveTo>
                  <a:cubicBezTo>
                    <a:pt x="10" y="2"/>
                    <a:pt x="0" y="1"/>
                    <a:pt x="2" y="4"/>
                  </a:cubicBezTo>
                  <a:cubicBezTo>
                    <a:pt x="4" y="6"/>
                    <a:pt x="13" y="5"/>
                    <a:pt x="17" y="7"/>
                  </a:cubicBezTo>
                  <a:cubicBezTo>
                    <a:pt x="21" y="10"/>
                    <a:pt x="27" y="8"/>
                    <a:pt x="27" y="6"/>
                  </a:cubicBezTo>
                  <a:cubicBezTo>
                    <a:pt x="27" y="4"/>
                    <a:pt x="14" y="0"/>
                    <a:pt x="12" y="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0" name="Freeform 328">
              <a:extLst>
                <a:ext uri="{FF2B5EF4-FFF2-40B4-BE49-F238E27FC236}">
                  <a16:creationId xmlns:a16="http://schemas.microsoft.com/office/drawing/2014/main" id="{20FADD17-4742-373A-9E8E-AE71695954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54717" y="2799228"/>
              <a:ext cx="517458" cy="517458"/>
            </a:xfrm>
            <a:custGeom>
              <a:avLst/>
              <a:gdLst>
                <a:gd name="T0" fmla="*/ 122 w 138"/>
                <a:gd name="T1" fmla="*/ 17 h 138"/>
                <a:gd name="T2" fmla="*/ 100 w 138"/>
                <a:gd name="T3" fmla="*/ 6 h 138"/>
                <a:gd name="T4" fmla="*/ 97 w 138"/>
                <a:gd name="T5" fmla="*/ 22 h 138"/>
                <a:gd name="T6" fmla="*/ 87 w 138"/>
                <a:gd name="T7" fmla="*/ 29 h 138"/>
                <a:gd name="T8" fmla="*/ 85 w 138"/>
                <a:gd name="T9" fmla="*/ 40 h 138"/>
                <a:gd name="T10" fmla="*/ 94 w 138"/>
                <a:gd name="T11" fmla="*/ 38 h 138"/>
                <a:gd name="T12" fmla="*/ 96 w 138"/>
                <a:gd name="T13" fmla="*/ 31 h 138"/>
                <a:gd name="T14" fmla="*/ 113 w 138"/>
                <a:gd name="T15" fmla="*/ 32 h 138"/>
                <a:gd name="T16" fmla="*/ 129 w 138"/>
                <a:gd name="T17" fmla="*/ 23 h 138"/>
                <a:gd name="T18" fmla="*/ 130 w 138"/>
                <a:gd name="T19" fmla="*/ 15 h 138"/>
                <a:gd name="T20" fmla="*/ 85 w 138"/>
                <a:gd name="T21" fmla="*/ 58 h 138"/>
                <a:gd name="T22" fmla="*/ 76 w 138"/>
                <a:gd name="T23" fmla="*/ 77 h 138"/>
                <a:gd name="T24" fmla="*/ 64 w 138"/>
                <a:gd name="T25" fmla="*/ 80 h 138"/>
                <a:gd name="T26" fmla="*/ 53 w 138"/>
                <a:gd name="T27" fmla="*/ 94 h 138"/>
                <a:gd name="T28" fmla="*/ 38 w 138"/>
                <a:gd name="T29" fmla="*/ 97 h 138"/>
                <a:gd name="T30" fmla="*/ 14 w 138"/>
                <a:gd name="T31" fmla="*/ 107 h 138"/>
                <a:gd name="T32" fmla="*/ 22 w 138"/>
                <a:gd name="T33" fmla="*/ 110 h 138"/>
                <a:gd name="T34" fmla="*/ 46 w 138"/>
                <a:gd name="T35" fmla="*/ 112 h 138"/>
                <a:gd name="T36" fmla="*/ 58 w 138"/>
                <a:gd name="T37" fmla="*/ 106 h 138"/>
                <a:gd name="T38" fmla="*/ 71 w 138"/>
                <a:gd name="T39" fmla="*/ 104 h 138"/>
                <a:gd name="T40" fmla="*/ 82 w 138"/>
                <a:gd name="T41" fmla="*/ 100 h 138"/>
                <a:gd name="T42" fmla="*/ 91 w 138"/>
                <a:gd name="T43" fmla="*/ 87 h 138"/>
                <a:gd name="T44" fmla="*/ 101 w 138"/>
                <a:gd name="T45" fmla="*/ 66 h 138"/>
                <a:gd name="T46" fmla="*/ 87 w 138"/>
                <a:gd name="T47" fmla="*/ 47 h 138"/>
                <a:gd name="T48" fmla="*/ 27 w 138"/>
                <a:gd name="T49" fmla="*/ 111 h 138"/>
                <a:gd name="T50" fmla="*/ 30 w 138"/>
                <a:gd name="T51" fmla="*/ 120 h 138"/>
                <a:gd name="T52" fmla="*/ 42 w 138"/>
                <a:gd name="T53" fmla="*/ 110 h 138"/>
                <a:gd name="T54" fmla="*/ 18 w 138"/>
                <a:gd name="T55" fmla="*/ 119 h 138"/>
                <a:gd name="T56" fmla="*/ 5 w 138"/>
                <a:gd name="T57" fmla="*/ 116 h 138"/>
                <a:gd name="T58" fmla="*/ 6 w 138"/>
                <a:gd name="T59" fmla="*/ 119 h 138"/>
                <a:gd name="T60" fmla="*/ 11 w 138"/>
                <a:gd name="T61" fmla="*/ 137 h 138"/>
                <a:gd name="T62" fmla="*/ 18 w 138"/>
                <a:gd name="T63" fmla="*/ 119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8" h="138">
                  <a:moveTo>
                    <a:pt x="130" y="15"/>
                  </a:moveTo>
                  <a:cubicBezTo>
                    <a:pt x="129" y="13"/>
                    <a:pt x="126" y="16"/>
                    <a:pt x="122" y="17"/>
                  </a:cubicBezTo>
                  <a:cubicBezTo>
                    <a:pt x="119" y="17"/>
                    <a:pt x="108" y="8"/>
                    <a:pt x="105" y="4"/>
                  </a:cubicBezTo>
                  <a:cubicBezTo>
                    <a:pt x="102" y="0"/>
                    <a:pt x="97" y="3"/>
                    <a:pt x="100" y="6"/>
                  </a:cubicBezTo>
                  <a:cubicBezTo>
                    <a:pt x="102" y="9"/>
                    <a:pt x="99" y="10"/>
                    <a:pt x="99" y="15"/>
                  </a:cubicBezTo>
                  <a:cubicBezTo>
                    <a:pt x="99" y="19"/>
                    <a:pt x="96" y="19"/>
                    <a:pt x="97" y="22"/>
                  </a:cubicBezTo>
                  <a:cubicBezTo>
                    <a:pt x="97" y="25"/>
                    <a:pt x="93" y="24"/>
                    <a:pt x="90" y="25"/>
                  </a:cubicBezTo>
                  <a:cubicBezTo>
                    <a:pt x="87" y="25"/>
                    <a:pt x="90" y="28"/>
                    <a:pt x="87" y="29"/>
                  </a:cubicBezTo>
                  <a:cubicBezTo>
                    <a:pt x="84" y="31"/>
                    <a:pt x="84" y="33"/>
                    <a:pt x="85" y="34"/>
                  </a:cubicBezTo>
                  <a:cubicBezTo>
                    <a:pt x="87" y="35"/>
                    <a:pt x="86" y="38"/>
                    <a:pt x="85" y="40"/>
                  </a:cubicBezTo>
                  <a:cubicBezTo>
                    <a:pt x="85" y="42"/>
                    <a:pt x="88" y="41"/>
                    <a:pt x="90" y="39"/>
                  </a:cubicBezTo>
                  <a:cubicBezTo>
                    <a:pt x="91" y="36"/>
                    <a:pt x="93" y="40"/>
                    <a:pt x="94" y="38"/>
                  </a:cubicBezTo>
                  <a:cubicBezTo>
                    <a:pt x="94" y="35"/>
                    <a:pt x="89" y="34"/>
                    <a:pt x="89" y="32"/>
                  </a:cubicBezTo>
                  <a:cubicBezTo>
                    <a:pt x="89" y="29"/>
                    <a:pt x="93" y="32"/>
                    <a:pt x="96" y="31"/>
                  </a:cubicBezTo>
                  <a:cubicBezTo>
                    <a:pt x="99" y="30"/>
                    <a:pt x="104" y="31"/>
                    <a:pt x="108" y="34"/>
                  </a:cubicBezTo>
                  <a:cubicBezTo>
                    <a:pt x="111" y="37"/>
                    <a:pt x="112" y="36"/>
                    <a:pt x="113" y="32"/>
                  </a:cubicBezTo>
                  <a:cubicBezTo>
                    <a:pt x="114" y="28"/>
                    <a:pt x="119" y="26"/>
                    <a:pt x="125" y="26"/>
                  </a:cubicBezTo>
                  <a:cubicBezTo>
                    <a:pt x="130" y="26"/>
                    <a:pt x="131" y="24"/>
                    <a:pt x="129" y="23"/>
                  </a:cubicBezTo>
                  <a:cubicBezTo>
                    <a:pt x="127" y="21"/>
                    <a:pt x="138" y="15"/>
                    <a:pt x="138" y="13"/>
                  </a:cubicBezTo>
                  <a:cubicBezTo>
                    <a:pt x="138" y="11"/>
                    <a:pt x="132" y="17"/>
                    <a:pt x="130" y="15"/>
                  </a:cubicBezTo>
                  <a:close/>
                  <a:moveTo>
                    <a:pt x="87" y="47"/>
                  </a:moveTo>
                  <a:cubicBezTo>
                    <a:pt x="84" y="49"/>
                    <a:pt x="83" y="56"/>
                    <a:pt x="85" y="58"/>
                  </a:cubicBezTo>
                  <a:cubicBezTo>
                    <a:pt x="88" y="60"/>
                    <a:pt x="81" y="64"/>
                    <a:pt x="81" y="69"/>
                  </a:cubicBezTo>
                  <a:cubicBezTo>
                    <a:pt x="81" y="73"/>
                    <a:pt x="77" y="73"/>
                    <a:pt x="76" y="77"/>
                  </a:cubicBezTo>
                  <a:cubicBezTo>
                    <a:pt x="76" y="80"/>
                    <a:pt x="73" y="79"/>
                    <a:pt x="69" y="82"/>
                  </a:cubicBezTo>
                  <a:cubicBezTo>
                    <a:pt x="65" y="85"/>
                    <a:pt x="63" y="82"/>
                    <a:pt x="64" y="80"/>
                  </a:cubicBezTo>
                  <a:cubicBezTo>
                    <a:pt x="65" y="78"/>
                    <a:pt x="57" y="81"/>
                    <a:pt x="58" y="86"/>
                  </a:cubicBezTo>
                  <a:cubicBezTo>
                    <a:pt x="58" y="91"/>
                    <a:pt x="51" y="92"/>
                    <a:pt x="53" y="94"/>
                  </a:cubicBezTo>
                  <a:cubicBezTo>
                    <a:pt x="54" y="97"/>
                    <a:pt x="47" y="98"/>
                    <a:pt x="48" y="96"/>
                  </a:cubicBezTo>
                  <a:cubicBezTo>
                    <a:pt x="48" y="94"/>
                    <a:pt x="43" y="95"/>
                    <a:pt x="38" y="97"/>
                  </a:cubicBezTo>
                  <a:cubicBezTo>
                    <a:pt x="32" y="99"/>
                    <a:pt x="29" y="95"/>
                    <a:pt x="26" y="98"/>
                  </a:cubicBezTo>
                  <a:cubicBezTo>
                    <a:pt x="23" y="101"/>
                    <a:pt x="18" y="106"/>
                    <a:pt x="14" y="107"/>
                  </a:cubicBezTo>
                  <a:cubicBezTo>
                    <a:pt x="10" y="108"/>
                    <a:pt x="12" y="113"/>
                    <a:pt x="14" y="112"/>
                  </a:cubicBezTo>
                  <a:cubicBezTo>
                    <a:pt x="17" y="110"/>
                    <a:pt x="21" y="112"/>
                    <a:pt x="22" y="110"/>
                  </a:cubicBezTo>
                  <a:cubicBezTo>
                    <a:pt x="24" y="108"/>
                    <a:pt x="36" y="105"/>
                    <a:pt x="43" y="105"/>
                  </a:cubicBezTo>
                  <a:cubicBezTo>
                    <a:pt x="50" y="104"/>
                    <a:pt x="46" y="108"/>
                    <a:pt x="46" y="112"/>
                  </a:cubicBezTo>
                  <a:cubicBezTo>
                    <a:pt x="46" y="116"/>
                    <a:pt x="52" y="115"/>
                    <a:pt x="56" y="111"/>
                  </a:cubicBezTo>
                  <a:cubicBezTo>
                    <a:pt x="59" y="108"/>
                    <a:pt x="61" y="108"/>
                    <a:pt x="58" y="106"/>
                  </a:cubicBezTo>
                  <a:cubicBezTo>
                    <a:pt x="56" y="104"/>
                    <a:pt x="59" y="102"/>
                    <a:pt x="61" y="105"/>
                  </a:cubicBezTo>
                  <a:cubicBezTo>
                    <a:pt x="63" y="108"/>
                    <a:pt x="69" y="108"/>
                    <a:pt x="71" y="104"/>
                  </a:cubicBezTo>
                  <a:cubicBezTo>
                    <a:pt x="73" y="100"/>
                    <a:pt x="74" y="105"/>
                    <a:pt x="77" y="104"/>
                  </a:cubicBezTo>
                  <a:cubicBezTo>
                    <a:pt x="80" y="104"/>
                    <a:pt x="81" y="97"/>
                    <a:pt x="82" y="100"/>
                  </a:cubicBezTo>
                  <a:cubicBezTo>
                    <a:pt x="82" y="102"/>
                    <a:pt x="86" y="102"/>
                    <a:pt x="89" y="99"/>
                  </a:cubicBezTo>
                  <a:cubicBezTo>
                    <a:pt x="92" y="95"/>
                    <a:pt x="90" y="90"/>
                    <a:pt x="91" y="87"/>
                  </a:cubicBezTo>
                  <a:cubicBezTo>
                    <a:pt x="93" y="84"/>
                    <a:pt x="95" y="78"/>
                    <a:pt x="93" y="75"/>
                  </a:cubicBezTo>
                  <a:cubicBezTo>
                    <a:pt x="91" y="71"/>
                    <a:pt x="98" y="69"/>
                    <a:pt x="101" y="66"/>
                  </a:cubicBezTo>
                  <a:cubicBezTo>
                    <a:pt x="104" y="63"/>
                    <a:pt x="97" y="49"/>
                    <a:pt x="97" y="45"/>
                  </a:cubicBezTo>
                  <a:cubicBezTo>
                    <a:pt x="97" y="40"/>
                    <a:pt x="89" y="46"/>
                    <a:pt x="87" y="47"/>
                  </a:cubicBezTo>
                  <a:close/>
                  <a:moveTo>
                    <a:pt x="34" y="109"/>
                  </a:moveTo>
                  <a:cubicBezTo>
                    <a:pt x="33" y="112"/>
                    <a:pt x="31" y="111"/>
                    <a:pt x="27" y="111"/>
                  </a:cubicBezTo>
                  <a:cubicBezTo>
                    <a:pt x="23" y="112"/>
                    <a:pt x="23" y="121"/>
                    <a:pt x="26" y="122"/>
                  </a:cubicBezTo>
                  <a:cubicBezTo>
                    <a:pt x="28" y="123"/>
                    <a:pt x="29" y="123"/>
                    <a:pt x="30" y="120"/>
                  </a:cubicBezTo>
                  <a:cubicBezTo>
                    <a:pt x="31" y="117"/>
                    <a:pt x="35" y="116"/>
                    <a:pt x="37" y="117"/>
                  </a:cubicBezTo>
                  <a:cubicBezTo>
                    <a:pt x="39" y="119"/>
                    <a:pt x="42" y="114"/>
                    <a:pt x="42" y="110"/>
                  </a:cubicBezTo>
                  <a:cubicBezTo>
                    <a:pt x="42" y="107"/>
                    <a:pt x="35" y="107"/>
                    <a:pt x="34" y="109"/>
                  </a:cubicBezTo>
                  <a:close/>
                  <a:moveTo>
                    <a:pt x="18" y="119"/>
                  </a:moveTo>
                  <a:cubicBezTo>
                    <a:pt x="18" y="116"/>
                    <a:pt x="13" y="117"/>
                    <a:pt x="12" y="114"/>
                  </a:cubicBezTo>
                  <a:cubicBezTo>
                    <a:pt x="12" y="112"/>
                    <a:pt x="9" y="114"/>
                    <a:pt x="5" y="116"/>
                  </a:cubicBezTo>
                  <a:cubicBezTo>
                    <a:pt x="2" y="119"/>
                    <a:pt x="0" y="119"/>
                    <a:pt x="2" y="122"/>
                  </a:cubicBezTo>
                  <a:cubicBezTo>
                    <a:pt x="3" y="124"/>
                    <a:pt x="5" y="122"/>
                    <a:pt x="6" y="119"/>
                  </a:cubicBezTo>
                  <a:cubicBezTo>
                    <a:pt x="7" y="117"/>
                    <a:pt x="10" y="123"/>
                    <a:pt x="8" y="128"/>
                  </a:cubicBezTo>
                  <a:cubicBezTo>
                    <a:pt x="5" y="132"/>
                    <a:pt x="8" y="138"/>
                    <a:pt x="11" y="137"/>
                  </a:cubicBezTo>
                  <a:cubicBezTo>
                    <a:pt x="13" y="137"/>
                    <a:pt x="16" y="128"/>
                    <a:pt x="20" y="124"/>
                  </a:cubicBezTo>
                  <a:cubicBezTo>
                    <a:pt x="23" y="119"/>
                    <a:pt x="18" y="121"/>
                    <a:pt x="18" y="11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1" name="Freeform 329">
              <a:extLst>
                <a:ext uri="{FF2B5EF4-FFF2-40B4-BE49-F238E27FC236}">
                  <a16:creationId xmlns:a16="http://schemas.microsoft.com/office/drawing/2014/main" id="{FB3D8864-5346-F4CC-C517-2F24B57763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7108" y="2483351"/>
              <a:ext cx="1812689" cy="1258724"/>
            </a:xfrm>
            <a:custGeom>
              <a:avLst/>
              <a:gdLst>
                <a:gd name="T0" fmla="*/ 459 w 483"/>
                <a:gd name="T1" fmla="*/ 63 h 335"/>
                <a:gd name="T2" fmla="*/ 435 w 483"/>
                <a:gd name="T3" fmla="*/ 45 h 335"/>
                <a:gd name="T4" fmla="*/ 416 w 483"/>
                <a:gd name="T5" fmla="*/ 19 h 335"/>
                <a:gd name="T6" fmla="*/ 388 w 483"/>
                <a:gd name="T7" fmla="*/ 1 h 335"/>
                <a:gd name="T8" fmla="*/ 369 w 483"/>
                <a:gd name="T9" fmla="*/ 15 h 335"/>
                <a:gd name="T10" fmla="*/ 353 w 483"/>
                <a:gd name="T11" fmla="*/ 39 h 335"/>
                <a:gd name="T12" fmla="*/ 329 w 483"/>
                <a:gd name="T13" fmla="*/ 52 h 335"/>
                <a:gd name="T14" fmla="*/ 344 w 483"/>
                <a:gd name="T15" fmla="*/ 62 h 335"/>
                <a:gd name="T16" fmla="*/ 343 w 483"/>
                <a:gd name="T17" fmla="*/ 75 h 335"/>
                <a:gd name="T18" fmla="*/ 301 w 483"/>
                <a:gd name="T19" fmla="*/ 91 h 335"/>
                <a:gd name="T20" fmla="*/ 271 w 483"/>
                <a:gd name="T21" fmla="*/ 116 h 335"/>
                <a:gd name="T22" fmla="*/ 224 w 483"/>
                <a:gd name="T23" fmla="*/ 119 h 335"/>
                <a:gd name="T24" fmla="*/ 172 w 483"/>
                <a:gd name="T25" fmla="*/ 112 h 335"/>
                <a:gd name="T26" fmla="*/ 150 w 483"/>
                <a:gd name="T27" fmla="*/ 90 h 335"/>
                <a:gd name="T28" fmla="*/ 129 w 483"/>
                <a:gd name="T29" fmla="*/ 64 h 335"/>
                <a:gd name="T30" fmla="*/ 109 w 483"/>
                <a:gd name="T31" fmla="*/ 47 h 335"/>
                <a:gd name="T32" fmla="*/ 98 w 483"/>
                <a:gd name="T33" fmla="*/ 54 h 335"/>
                <a:gd name="T34" fmla="*/ 79 w 483"/>
                <a:gd name="T35" fmla="*/ 69 h 335"/>
                <a:gd name="T36" fmla="*/ 63 w 483"/>
                <a:gd name="T37" fmla="*/ 87 h 335"/>
                <a:gd name="T38" fmla="*/ 55 w 483"/>
                <a:gd name="T39" fmla="*/ 107 h 335"/>
                <a:gd name="T40" fmla="*/ 37 w 483"/>
                <a:gd name="T41" fmla="*/ 126 h 335"/>
                <a:gd name="T42" fmla="*/ 14 w 483"/>
                <a:gd name="T43" fmla="*/ 133 h 335"/>
                <a:gd name="T44" fmla="*/ 0 w 483"/>
                <a:gd name="T45" fmla="*/ 143 h 335"/>
                <a:gd name="T46" fmla="*/ 10 w 483"/>
                <a:gd name="T47" fmla="*/ 166 h 335"/>
                <a:gd name="T48" fmla="*/ 28 w 483"/>
                <a:gd name="T49" fmla="*/ 182 h 335"/>
                <a:gd name="T50" fmla="*/ 42 w 483"/>
                <a:gd name="T51" fmla="*/ 177 h 335"/>
                <a:gd name="T52" fmla="*/ 40 w 483"/>
                <a:gd name="T53" fmla="*/ 197 h 335"/>
                <a:gd name="T54" fmla="*/ 40 w 483"/>
                <a:gd name="T55" fmla="*/ 217 h 335"/>
                <a:gd name="T56" fmla="*/ 55 w 483"/>
                <a:gd name="T57" fmla="*/ 230 h 335"/>
                <a:gd name="T58" fmla="*/ 98 w 483"/>
                <a:gd name="T59" fmla="*/ 248 h 335"/>
                <a:gd name="T60" fmla="*/ 116 w 483"/>
                <a:gd name="T61" fmla="*/ 252 h 335"/>
                <a:gd name="T62" fmla="*/ 130 w 483"/>
                <a:gd name="T63" fmla="*/ 248 h 335"/>
                <a:gd name="T64" fmla="*/ 149 w 483"/>
                <a:gd name="T65" fmla="*/ 243 h 335"/>
                <a:gd name="T66" fmla="*/ 173 w 483"/>
                <a:gd name="T67" fmla="*/ 243 h 335"/>
                <a:gd name="T68" fmla="*/ 186 w 483"/>
                <a:gd name="T69" fmla="*/ 252 h 335"/>
                <a:gd name="T70" fmla="*/ 182 w 483"/>
                <a:gd name="T71" fmla="*/ 282 h 335"/>
                <a:gd name="T72" fmla="*/ 195 w 483"/>
                <a:gd name="T73" fmla="*/ 299 h 335"/>
                <a:gd name="T74" fmla="*/ 212 w 483"/>
                <a:gd name="T75" fmla="*/ 307 h 335"/>
                <a:gd name="T76" fmla="*/ 225 w 483"/>
                <a:gd name="T77" fmla="*/ 294 h 335"/>
                <a:gd name="T78" fmla="*/ 251 w 483"/>
                <a:gd name="T79" fmla="*/ 293 h 335"/>
                <a:gd name="T80" fmla="*/ 267 w 483"/>
                <a:gd name="T81" fmla="*/ 303 h 335"/>
                <a:gd name="T82" fmla="*/ 280 w 483"/>
                <a:gd name="T83" fmla="*/ 314 h 335"/>
                <a:gd name="T84" fmla="*/ 317 w 483"/>
                <a:gd name="T85" fmla="*/ 295 h 335"/>
                <a:gd name="T86" fmla="*/ 345 w 483"/>
                <a:gd name="T87" fmla="*/ 280 h 335"/>
                <a:gd name="T88" fmla="*/ 359 w 483"/>
                <a:gd name="T89" fmla="*/ 263 h 335"/>
                <a:gd name="T90" fmla="*/ 373 w 483"/>
                <a:gd name="T91" fmla="*/ 246 h 335"/>
                <a:gd name="T92" fmla="*/ 376 w 483"/>
                <a:gd name="T93" fmla="*/ 231 h 335"/>
                <a:gd name="T94" fmla="*/ 372 w 483"/>
                <a:gd name="T95" fmla="*/ 219 h 335"/>
                <a:gd name="T96" fmla="*/ 370 w 483"/>
                <a:gd name="T97" fmla="*/ 207 h 335"/>
                <a:gd name="T98" fmla="*/ 360 w 483"/>
                <a:gd name="T99" fmla="*/ 180 h 335"/>
                <a:gd name="T100" fmla="*/ 382 w 483"/>
                <a:gd name="T101" fmla="*/ 168 h 335"/>
                <a:gd name="T102" fmla="*/ 354 w 483"/>
                <a:gd name="T103" fmla="*/ 160 h 335"/>
                <a:gd name="T104" fmla="*/ 365 w 483"/>
                <a:gd name="T105" fmla="*/ 137 h 335"/>
                <a:gd name="T106" fmla="*/ 378 w 483"/>
                <a:gd name="T107" fmla="*/ 149 h 335"/>
                <a:gd name="T108" fmla="*/ 414 w 483"/>
                <a:gd name="T109" fmla="*/ 128 h 335"/>
                <a:gd name="T110" fmla="*/ 432 w 483"/>
                <a:gd name="T111" fmla="*/ 120 h 335"/>
                <a:gd name="T112" fmla="*/ 452 w 483"/>
                <a:gd name="T113" fmla="*/ 113 h 335"/>
                <a:gd name="T114" fmla="*/ 454 w 483"/>
                <a:gd name="T115" fmla="*/ 91 h 335"/>
                <a:gd name="T116" fmla="*/ 476 w 483"/>
                <a:gd name="T117" fmla="*/ 77 h 335"/>
                <a:gd name="T118" fmla="*/ 368 w 483"/>
                <a:gd name="T119" fmla="*/ 299 h 335"/>
                <a:gd name="T120" fmla="*/ 271 w 483"/>
                <a:gd name="T121" fmla="*/ 328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83" h="335">
                  <a:moveTo>
                    <a:pt x="480" y="60"/>
                  </a:moveTo>
                  <a:cubicBezTo>
                    <a:pt x="480" y="56"/>
                    <a:pt x="475" y="57"/>
                    <a:pt x="474" y="58"/>
                  </a:cubicBezTo>
                  <a:cubicBezTo>
                    <a:pt x="472" y="59"/>
                    <a:pt x="467" y="58"/>
                    <a:pt x="466" y="61"/>
                  </a:cubicBezTo>
                  <a:cubicBezTo>
                    <a:pt x="464" y="64"/>
                    <a:pt x="462" y="62"/>
                    <a:pt x="459" y="63"/>
                  </a:cubicBezTo>
                  <a:cubicBezTo>
                    <a:pt x="455" y="63"/>
                    <a:pt x="451" y="62"/>
                    <a:pt x="451" y="60"/>
                  </a:cubicBezTo>
                  <a:cubicBezTo>
                    <a:pt x="451" y="57"/>
                    <a:pt x="449" y="55"/>
                    <a:pt x="449" y="53"/>
                  </a:cubicBezTo>
                  <a:cubicBezTo>
                    <a:pt x="449" y="50"/>
                    <a:pt x="446" y="51"/>
                    <a:pt x="443" y="49"/>
                  </a:cubicBezTo>
                  <a:cubicBezTo>
                    <a:pt x="441" y="47"/>
                    <a:pt x="436" y="45"/>
                    <a:pt x="435" y="45"/>
                  </a:cubicBezTo>
                  <a:cubicBezTo>
                    <a:pt x="434" y="46"/>
                    <a:pt x="432" y="43"/>
                    <a:pt x="427" y="42"/>
                  </a:cubicBezTo>
                  <a:cubicBezTo>
                    <a:pt x="423" y="42"/>
                    <a:pt x="424" y="40"/>
                    <a:pt x="424" y="38"/>
                  </a:cubicBezTo>
                  <a:cubicBezTo>
                    <a:pt x="425" y="36"/>
                    <a:pt x="421" y="31"/>
                    <a:pt x="420" y="28"/>
                  </a:cubicBezTo>
                  <a:cubicBezTo>
                    <a:pt x="420" y="25"/>
                    <a:pt x="417" y="25"/>
                    <a:pt x="416" y="19"/>
                  </a:cubicBezTo>
                  <a:cubicBezTo>
                    <a:pt x="414" y="13"/>
                    <a:pt x="411" y="14"/>
                    <a:pt x="412" y="11"/>
                  </a:cubicBezTo>
                  <a:cubicBezTo>
                    <a:pt x="412" y="8"/>
                    <a:pt x="408" y="7"/>
                    <a:pt x="407" y="5"/>
                  </a:cubicBezTo>
                  <a:cubicBezTo>
                    <a:pt x="405" y="4"/>
                    <a:pt x="400" y="4"/>
                    <a:pt x="397" y="3"/>
                  </a:cubicBezTo>
                  <a:cubicBezTo>
                    <a:pt x="393" y="1"/>
                    <a:pt x="391" y="2"/>
                    <a:pt x="388" y="1"/>
                  </a:cubicBezTo>
                  <a:cubicBezTo>
                    <a:pt x="384" y="0"/>
                    <a:pt x="377" y="2"/>
                    <a:pt x="376" y="2"/>
                  </a:cubicBezTo>
                  <a:cubicBezTo>
                    <a:pt x="375" y="2"/>
                    <a:pt x="369" y="1"/>
                    <a:pt x="366" y="5"/>
                  </a:cubicBezTo>
                  <a:cubicBezTo>
                    <a:pt x="362" y="10"/>
                    <a:pt x="365" y="10"/>
                    <a:pt x="366" y="10"/>
                  </a:cubicBezTo>
                  <a:cubicBezTo>
                    <a:pt x="368" y="10"/>
                    <a:pt x="369" y="14"/>
                    <a:pt x="369" y="15"/>
                  </a:cubicBezTo>
                  <a:cubicBezTo>
                    <a:pt x="369" y="17"/>
                    <a:pt x="366" y="19"/>
                    <a:pt x="365" y="19"/>
                  </a:cubicBezTo>
                  <a:cubicBezTo>
                    <a:pt x="364" y="20"/>
                    <a:pt x="361" y="25"/>
                    <a:pt x="360" y="27"/>
                  </a:cubicBezTo>
                  <a:cubicBezTo>
                    <a:pt x="360" y="29"/>
                    <a:pt x="356" y="34"/>
                    <a:pt x="356" y="35"/>
                  </a:cubicBezTo>
                  <a:cubicBezTo>
                    <a:pt x="357" y="37"/>
                    <a:pt x="354" y="39"/>
                    <a:pt x="353" y="39"/>
                  </a:cubicBezTo>
                  <a:cubicBezTo>
                    <a:pt x="351" y="39"/>
                    <a:pt x="347" y="42"/>
                    <a:pt x="345" y="43"/>
                  </a:cubicBezTo>
                  <a:cubicBezTo>
                    <a:pt x="344" y="43"/>
                    <a:pt x="338" y="42"/>
                    <a:pt x="337" y="41"/>
                  </a:cubicBezTo>
                  <a:cubicBezTo>
                    <a:pt x="337" y="40"/>
                    <a:pt x="336" y="40"/>
                    <a:pt x="336" y="39"/>
                  </a:cubicBezTo>
                  <a:cubicBezTo>
                    <a:pt x="329" y="52"/>
                    <a:pt x="329" y="52"/>
                    <a:pt x="329" y="52"/>
                  </a:cubicBezTo>
                  <a:cubicBezTo>
                    <a:pt x="329" y="56"/>
                    <a:pt x="329" y="56"/>
                    <a:pt x="329" y="56"/>
                  </a:cubicBezTo>
                  <a:cubicBezTo>
                    <a:pt x="329" y="56"/>
                    <a:pt x="324" y="58"/>
                    <a:pt x="328" y="61"/>
                  </a:cubicBezTo>
                  <a:cubicBezTo>
                    <a:pt x="331" y="64"/>
                    <a:pt x="331" y="61"/>
                    <a:pt x="336" y="61"/>
                  </a:cubicBezTo>
                  <a:cubicBezTo>
                    <a:pt x="341" y="61"/>
                    <a:pt x="343" y="65"/>
                    <a:pt x="344" y="62"/>
                  </a:cubicBezTo>
                  <a:cubicBezTo>
                    <a:pt x="345" y="60"/>
                    <a:pt x="349" y="58"/>
                    <a:pt x="351" y="61"/>
                  </a:cubicBezTo>
                  <a:cubicBezTo>
                    <a:pt x="354" y="64"/>
                    <a:pt x="362" y="69"/>
                    <a:pt x="362" y="72"/>
                  </a:cubicBezTo>
                  <a:cubicBezTo>
                    <a:pt x="361" y="75"/>
                    <a:pt x="357" y="74"/>
                    <a:pt x="353" y="73"/>
                  </a:cubicBezTo>
                  <a:cubicBezTo>
                    <a:pt x="350" y="72"/>
                    <a:pt x="346" y="75"/>
                    <a:pt x="343" y="75"/>
                  </a:cubicBezTo>
                  <a:cubicBezTo>
                    <a:pt x="340" y="75"/>
                    <a:pt x="336" y="76"/>
                    <a:pt x="333" y="79"/>
                  </a:cubicBezTo>
                  <a:cubicBezTo>
                    <a:pt x="330" y="82"/>
                    <a:pt x="331" y="85"/>
                    <a:pt x="326" y="86"/>
                  </a:cubicBezTo>
                  <a:cubicBezTo>
                    <a:pt x="321" y="87"/>
                    <a:pt x="319" y="86"/>
                    <a:pt x="314" y="90"/>
                  </a:cubicBezTo>
                  <a:cubicBezTo>
                    <a:pt x="309" y="93"/>
                    <a:pt x="303" y="92"/>
                    <a:pt x="301" y="91"/>
                  </a:cubicBezTo>
                  <a:cubicBezTo>
                    <a:pt x="299" y="90"/>
                    <a:pt x="295" y="89"/>
                    <a:pt x="293" y="93"/>
                  </a:cubicBezTo>
                  <a:cubicBezTo>
                    <a:pt x="291" y="96"/>
                    <a:pt x="296" y="98"/>
                    <a:pt x="295" y="102"/>
                  </a:cubicBezTo>
                  <a:cubicBezTo>
                    <a:pt x="295" y="106"/>
                    <a:pt x="290" y="105"/>
                    <a:pt x="286" y="110"/>
                  </a:cubicBezTo>
                  <a:cubicBezTo>
                    <a:pt x="281" y="115"/>
                    <a:pt x="275" y="117"/>
                    <a:pt x="271" y="116"/>
                  </a:cubicBezTo>
                  <a:cubicBezTo>
                    <a:pt x="267" y="116"/>
                    <a:pt x="260" y="113"/>
                    <a:pt x="253" y="117"/>
                  </a:cubicBezTo>
                  <a:cubicBezTo>
                    <a:pt x="246" y="120"/>
                    <a:pt x="242" y="124"/>
                    <a:pt x="239" y="124"/>
                  </a:cubicBezTo>
                  <a:cubicBezTo>
                    <a:pt x="236" y="123"/>
                    <a:pt x="236" y="120"/>
                    <a:pt x="233" y="121"/>
                  </a:cubicBezTo>
                  <a:cubicBezTo>
                    <a:pt x="229" y="121"/>
                    <a:pt x="227" y="120"/>
                    <a:pt x="224" y="119"/>
                  </a:cubicBezTo>
                  <a:cubicBezTo>
                    <a:pt x="222" y="117"/>
                    <a:pt x="220" y="120"/>
                    <a:pt x="216" y="117"/>
                  </a:cubicBezTo>
                  <a:cubicBezTo>
                    <a:pt x="212" y="113"/>
                    <a:pt x="204" y="114"/>
                    <a:pt x="201" y="113"/>
                  </a:cubicBezTo>
                  <a:cubicBezTo>
                    <a:pt x="198" y="113"/>
                    <a:pt x="186" y="113"/>
                    <a:pt x="182" y="113"/>
                  </a:cubicBezTo>
                  <a:cubicBezTo>
                    <a:pt x="178" y="112"/>
                    <a:pt x="172" y="114"/>
                    <a:pt x="172" y="112"/>
                  </a:cubicBezTo>
                  <a:cubicBezTo>
                    <a:pt x="171" y="110"/>
                    <a:pt x="168" y="108"/>
                    <a:pt x="167" y="104"/>
                  </a:cubicBezTo>
                  <a:cubicBezTo>
                    <a:pt x="166" y="99"/>
                    <a:pt x="163" y="97"/>
                    <a:pt x="161" y="97"/>
                  </a:cubicBezTo>
                  <a:cubicBezTo>
                    <a:pt x="158" y="96"/>
                    <a:pt x="158" y="94"/>
                    <a:pt x="156" y="93"/>
                  </a:cubicBezTo>
                  <a:cubicBezTo>
                    <a:pt x="154" y="93"/>
                    <a:pt x="153" y="90"/>
                    <a:pt x="150" y="90"/>
                  </a:cubicBezTo>
                  <a:cubicBezTo>
                    <a:pt x="146" y="90"/>
                    <a:pt x="133" y="88"/>
                    <a:pt x="131" y="85"/>
                  </a:cubicBezTo>
                  <a:cubicBezTo>
                    <a:pt x="130" y="82"/>
                    <a:pt x="133" y="82"/>
                    <a:pt x="133" y="79"/>
                  </a:cubicBezTo>
                  <a:cubicBezTo>
                    <a:pt x="133" y="76"/>
                    <a:pt x="135" y="72"/>
                    <a:pt x="134" y="71"/>
                  </a:cubicBezTo>
                  <a:cubicBezTo>
                    <a:pt x="132" y="69"/>
                    <a:pt x="130" y="67"/>
                    <a:pt x="129" y="64"/>
                  </a:cubicBezTo>
                  <a:cubicBezTo>
                    <a:pt x="129" y="62"/>
                    <a:pt x="125" y="59"/>
                    <a:pt x="123" y="59"/>
                  </a:cubicBezTo>
                  <a:cubicBezTo>
                    <a:pt x="120" y="59"/>
                    <a:pt x="118" y="57"/>
                    <a:pt x="115" y="55"/>
                  </a:cubicBezTo>
                  <a:cubicBezTo>
                    <a:pt x="113" y="53"/>
                    <a:pt x="111" y="53"/>
                    <a:pt x="110" y="47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08" y="46"/>
                    <a:pt x="107" y="46"/>
                    <a:pt x="106" y="46"/>
                  </a:cubicBezTo>
                  <a:cubicBezTo>
                    <a:pt x="106" y="46"/>
                    <a:pt x="105" y="46"/>
                    <a:pt x="104" y="45"/>
                  </a:cubicBezTo>
                  <a:cubicBezTo>
                    <a:pt x="103" y="47"/>
                    <a:pt x="101" y="48"/>
                    <a:pt x="101" y="50"/>
                  </a:cubicBezTo>
                  <a:cubicBezTo>
                    <a:pt x="101" y="52"/>
                    <a:pt x="100" y="54"/>
                    <a:pt x="98" y="54"/>
                  </a:cubicBezTo>
                  <a:cubicBezTo>
                    <a:pt x="95" y="54"/>
                    <a:pt x="93" y="56"/>
                    <a:pt x="93" y="60"/>
                  </a:cubicBezTo>
                  <a:cubicBezTo>
                    <a:pt x="92" y="65"/>
                    <a:pt x="95" y="65"/>
                    <a:pt x="94" y="67"/>
                  </a:cubicBezTo>
                  <a:cubicBezTo>
                    <a:pt x="93" y="69"/>
                    <a:pt x="88" y="71"/>
                    <a:pt x="86" y="70"/>
                  </a:cubicBezTo>
                  <a:cubicBezTo>
                    <a:pt x="85" y="69"/>
                    <a:pt x="81" y="69"/>
                    <a:pt x="79" y="69"/>
                  </a:cubicBezTo>
                  <a:cubicBezTo>
                    <a:pt x="76" y="69"/>
                    <a:pt x="74" y="65"/>
                    <a:pt x="73" y="69"/>
                  </a:cubicBezTo>
                  <a:cubicBezTo>
                    <a:pt x="73" y="73"/>
                    <a:pt x="67" y="83"/>
                    <a:pt x="68" y="85"/>
                  </a:cubicBezTo>
                  <a:cubicBezTo>
                    <a:pt x="70" y="86"/>
                    <a:pt x="71" y="88"/>
                    <a:pt x="68" y="88"/>
                  </a:cubicBezTo>
                  <a:cubicBezTo>
                    <a:pt x="66" y="88"/>
                    <a:pt x="64" y="88"/>
                    <a:pt x="63" y="87"/>
                  </a:cubicBezTo>
                  <a:cubicBezTo>
                    <a:pt x="61" y="86"/>
                    <a:pt x="58" y="88"/>
                    <a:pt x="55" y="88"/>
                  </a:cubicBezTo>
                  <a:cubicBezTo>
                    <a:pt x="54" y="88"/>
                    <a:pt x="49" y="91"/>
                    <a:pt x="50" y="91"/>
                  </a:cubicBezTo>
                  <a:cubicBezTo>
                    <a:pt x="52" y="92"/>
                    <a:pt x="52" y="97"/>
                    <a:pt x="52" y="98"/>
                  </a:cubicBezTo>
                  <a:cubicBezTo>
                    <a:pt x="52" y="100"/>
                    <a:pt x="56" y="106"/>
                    <a:pt x="55" y="107"/>
                  </a:cubicBezTo>
                  <a:cubicBezTo>
                    <a:pt x="55" y="109"/>
                    <a:pt x="51" y="111"/>
                    <a:pt x="51" y="113"/>
                  </a:cubicBezTo>
                  <a:cubicBezTo>
                    <a:pt x="51" y="116"/>
                    <a:pt x="52" y="118"/>
                    <a:pt x="51" y="118"/>
                  </a:cubicBezTo>
                  <a:cubicBezTo>
                    <a:pt x="49" y="119"/>
                    <a:pt x="45" y="121"/>
                    <a:pt x="43" y="122"/>
                  </a:cubicBezTo>
                  <a:cubicBezTo>
                    <a:pt x="42" y="123"/>
                    <a:pt x="38" y="123"/>
                    <a:pt x="37" y="126"/>
                  </a:cubicBezTo>
                  <a:cubicBezTo>
                    <a:pt x="36" y="128"/>
                    <a:pt x="35" y="130"/>
                    <a:pt x="31" y="129"/>
                  </a:cubicBezTo>
                  <a:cubicBezTo>
                    <a:pt x="28" y="129"/>
                    <a:pt x="26" y="128"/>
                    <a:pt x="24" y="131"/>
                  </a:cubicBezTo>
                  <a:cubicBezTo>
                    <a:pt x="21" y="134"/>
                    <a:pt x="20" y="133"/>
                    <a:pt x="19" y="134"/>
                  </a:cubicBezTo>
                  <a:cubicBezTo>
                    <a:pt x="17" y="136"/>
                    <a:pt x="15" y="133"/>
                    <a:pt x="14" y="133"/>
                  </a:cubicBezTo>
                  <a:cubicBezTo>
                    <a:pt x="12" y="132"/>
                    <a:pt x="10" y="134"/>
                    <a:pt x="9" y="134"/>
                  </a:cubicBezTo>
                  <a:cubicBezTo>
                    <a:pt x="7" y="134"/>
                    <a:pt x="6" y="137"/>
                    <a:pt x="4" y="137"/>
                  </a:cubicBezTo>
                  <a:cubicBezTo>
                    <a:pt x="3" y="138"/>
                    <a:pt x="1" y="137"/>
                    <a:pt x="1" y="139"/>
                  </a:cubicBezTo>
                  <a:cubicBezTo>
                    <a:pt x="1" y="141"/>
                    <a:pt x="1" y="142"/>
                    <a:pt x="0" y="143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1" y="150"/>
                    <a:pt x="1" y="150"/>
                    <a:pt x="1" y="150"/>
                  </a:cubicBezTo>
                  <a:cubicBezTo>
                    <a:pt x="1" y="150"/>
                    <a:pt x="8" y="153"/>
                    <a:pt x="9" y="155"/>
                  </a:cubicBezTo>
                  <a:cubicBezTo>
                    <a:pt x="9" y="158"/>
                    <a:pt x="10" y="166"/>
                    <a:pt x="10" y="166"/>
                  </a:cubicBezTo>
                  <a:cubicBezTo>
                    <a:pt x="10" y="166"/>
                    <a:pt x="10" y="166"/>
                    <a:pt x="10" y="166"/>
                  </a:cubicBezTo>
                  <a:cubicBezTo>
                    <a:pt x="13" y="169"/>
                    <a:pt x="17" y="171"/>
                    <a:pt x="17" y="172"/>
                  </a:cubicBezTo>
                  <a:cubicBezTo>
                    <a:pt x="17" y="173"/>
                    <a:pt x="18" y="177"/>
                    <a:pt x="22" y="178"/>
                  </a:cubicBezTo>
                  <a:cubicBezTo>
                    <a:pt x="24" y="179"/>
                    <a:pt x="26" y="181"/>
                    <a:pt x="28" y="182"/>
                  </a:cubicBezTo>
                  <a:cubicBezTo>
                    <a:pt x="28" y="181"/>
                    <a:pt x="28" y="181"/>
                    <a:pt x="28" y="181"/>
                  </a:cubicBezTo>
                  <a:cubicBezTo>
                    <a:pt x="31" y="181"/>
                    <a:pt x="31" y="181"/>
                    <a:pt x="31" y="181"/>
                  </a:cubicBezTo>
                  <a:cubicBezTo>
                    <a:pt x="31" y="181"/>
                    <a:pt x="32" y="181"/>
                    <a:pt x="33" y="182"/>
                  </a:cubicBezTo>
                  <a:cubicBezTo>
                    <a:pt x="34" y="180"/>
                    <a:pt x="39" y="177"/>
                    <a:pt x="42" y="177"/>
                  </a:cubicBezTo>
                  <a:cubicBezTo>
                    <a:pt x="45" y="177"/>
                    <a:pt x="52" y="183"/>
                    <a:pt x="52" y="185"/>
                  </a:cubicBezTo>
                  <a:cubicBezTo>
                    <a:pt x="51" y="187"/>
                    <a:pt x="46" y="194"/>
                    <a:pt x="43" y="194"/>
                  </a:cubicBezTo>
                  <a:cubicBezTo>
                    <a:pt x="43" y="194"/>
                    <a:pt x="41" y="194"/>
                    <a:pt x="40" y="195"/>
                  </a:cubicBezTo>
                  <a:cubicBezTo>
                    <a:pt x="40" y="196"/>
                    <a:pt x="40" y="197"/>
                    <a:pt x="40" y="197"/>
                  </a:cubicBezTo>
                  <a:cubicBezTo>
                    <a:pt x="40" y="199"/>
                    <a:pt x="42" y="202"/>
                    <a:pt x="44" y="204"/>
                  </a:cubicBezTo>
                  <a:cubicBezTo>
                    <a:pt x="46" y="207"/>
                    <a:pt x="41" y="209"/>
                    <a:pt x="39" y="207"/>
                  </a:cubicBezTo>
                  <a:cubicBezTo>
                    <a:pt x="37" y="205"/>
                    <a:pt x="36" y="209"/>
                    <a:pt x="37" y="211"/>
                  </a:cubicBezTo>
                  <a:cubicBezTo>
                    <a:pt x="39" y="212"/>
                    <a:pt x="38" y="217"/>
                    <a:pt x="40" y="217"/>
                  </a:cubicBezTo>
                  <a:cubicBezTo>
                    <a:pt x="42" y="217"/>
                    <a:pt x="44" y="222"/>
                    <a:pt x="47" y="222"/>
                  </a:cubicBezTo>
                  <a:cubicBezTo>
                    <a:pt x="49" y="222"/>
                    <a:pt x="52" y="226"/>
                    <a:pt x="52" y="226"/>
                  </a:cubicBezTo>
                  <a:cubicBezTo>
                    <a:pt x="52" y="226"/>
                    <a:pt x="55" y="228"/>
                    <a:pt x="55" y="229"/>
                  </a:cubicBezTo>
                  <a:cubicBezTo>
                    <a:pt x="55" y="230"/>
                    <a:pt x="55" y="230"/>
                    <a:pt x="55" y="230"/>
                  </a:cubicBezTo>
                  <a:cubicBezTo>
                    <a:pt x="58" y="230"/>
                    <a:pt x="60" y="230"/>
                    <a:pt x="60" y="228"/>
                  </a:cubicBezTo>
                  <a:cubicBezTo>
                    <a:pt x="60" y="227"/>
                    <a:pt x="64" y="227"/>
                    <a:pt x="66" y="230"/>
                  </a:cubicBezTo>
                  <a:cubicBezTo>
                    <a:pt x="69" y="232"/>
                    <a:pt x="79" y="239"/>
                    <a:pt x="83" y="242"/>
                  </a:cubicBezTo>
                  <a:cubicBezTo>
                    <a:pt x="86" y="245"/>
                    <a:pt x="95" y="248"/>
                    <a:pt x="98" y="248"/>
                  </a:cubicBezTo>
                  <a:cubicBezTo>
                    <a:pt x="101" y="248"/>
                    <a:pt x="104" y="250"/>
                    <a:pt x="109" y="250"/>
                  </a:cubicBezTo>
                  <a:cubicBezTo>
                    <a:pt x="109" y="250"/>
                    <a:pt x="110" y="250"/>
                    <a:pt x="111" y="250"/>
                  </a:cubicBezTo>
                  <a:cubicBezTo>
                    <a:pt x="111" y="249"/>
                    <a:pt x="112" y="249"/>
                    <a:pt x="113" y="248"/>
                  </a:cubicBezTo>
                  <a:cubicBezTo>
                    <a:pt x="115" y="246"/>
                    <a:pt x="116" y="249"/>
                    <a:pt x="116" y="252"/>
                  </a:cubicBezTo>
                  <a:cubicBezTo>
                    <a:pt x="115" y="253"/>
                    <a:pt x="116" y="255"/>
                    <a:pt x="116" y="256"/>
                  </a:cubicBezTo>
                  <a:cubicBezTo>
                    <a:pt x="117" y="255"/>
                    <a:pt x="118" y="253"/>
                    <a:pt x="118" y="252"/>
                  </a:cubicBezTo>
                  <a:cubicBezTo>
                    <a:pt x="120" y="248"/>
                    <a:pt x="122" y="248"/>
                    <a:pt x="124" y="247"/>
                  </a:cubicBezTo>
                  <a:cubicBezTo>
                    <a:pt x="125" y="246"/>
                    <a:pt x="127" y="246"/>
                    <a:pt x="130" y="248"/>
                  </a:cubicBezTo>
                  <a:cubicBezTo>
                    <a:pt x="134" y="250"/>
                    <a:pt x="135" y="246"/>
                    <a:pt x="140" y="251"/>
                  </a:cubicBezTo>
                  <a:cubicBezTo>
                    <a:pt x="141" y="250"/>
                    <a:pt x="142" y="250"/>
                    <a:pt x="142" y="250"/>
                  </a:cubicBezTo>
                  <a:cubicBezTo>
                    <a:pt x="143" y="250"/>
                    <a:pt x="145" y="248"/>
                    <a:pt x="146" y="246"/>
                  </a:cubicBezTo>
                  <a:cubicBezTo>
                    <a:pt x="148" y="245"/>
                    <a:pt x="148" y="243"/>
                    <a:pt x="149" y="243"/>
                  </a:cubicBezTo>
                  <a:cubicBezTo>
                    <a:pt x="151" y="243"/>
                    <a:pt x="152" y="241"/>
                    <a:pt x="156" y="239"/>
                  </a:cubicBezTo>
                  <a:cubicBezTo>
                    <a:pt x="161" y="236"/>
                    <a:pt x="164" y="240"/>
                    <a:pt x="166" y="238"/>
                  </a:cubicBezTo>
                  <a:cubicBezTo>
                    <a:pt x="168" y="237"/>
                    <a:pt x="170" y="236"/>
                    <a:pt x="170" y="238"/>
                  </a:cubicBezTo>
                  <a:cubicBezTo>
                    <a:pt x="170" y="239"/>
                    <a:pt x="173" y="241"/>
                    <a:pt x="173" y="243"/>
                  </a:cubicBezTo>
                  <a:cubicBezTo>
                    <a:pt x="174" y="245"/>
                    <a:pt x="177" y="246"/>
                    <a:pt x="178" y="246"/>
                  </a:cubicBezTo>
                  <a:cubicBezTo>
                    <a:pt x="178" y="245"/>
                    <a:pt x="179" y="245"/>
                    <a:pt x="179" y="245"/>
                  </a:cubicBezTo>
                  <a:cubicBezTo>
                    <a:pt x="181" y="243"/>
                    <a:pt x="185" y="245"/>
                    <a:pt x="185" y="247"/>
                  </a:cubicBezTo>
                  <a:cubicBezTo>
                    <a:pt x="185" y="249"/>
                    <a:pt x="185" y="252"/>
                    <a:pt x="186" y="252"/>
                  </a:cubicBezTo>
                  <a:cubicBezTo>
                    <a:pt x="188" y="252"/>
                    <a:pt x="190" y="252"/>
                    <a:pt x="190" y="256"/>
                  </a:cubicBezTo>
                  <a:cubicBezTo>
                    <a:pt x="190" y="259"/>
                    <a:pt x="191" y="264"/>
                    <a:pt x="188" y="267"/>
                  </a:cubicBezTo>
                  <a:cubicBezTo>
                    <a:pt x="184" y="271"/>
                    <a:pt x="180" y="277"/>
                    <a:pt x="181" y="279"/>
                  </a:cubicBezTo>
                  <a:cubicBezTo>
                    <a:pt x="182" y="280"/>
                    <a:pt x="180" y="284"/>
                    <a:pt x="182" y="282"/>
                  </a:cubicBezTo>
                  <a:cubicBezTo>
                    <a:pt x="185" y="281"/>
                    <a:pt x="191" y="282"/>
                    <a:pt x="190" y="284"/>
                  </a:cubicBezTo>
                  <a:cubicBezTo>
                    <a:pt x="189" y="285"/>
                    <a:pt x="190" y="290"/>
                    <a:pt x="192" y="290"/>
                  </a:cubicBezTo>
                  <a:cubicBezTo>
                    <a:pt x="195" y="291"/>
                    <a:pt x="196" y="292"/>
                    <a:pt x="195" y="294"/>
                  </a:cubicBezTo>
                  <a:cubicBezTo>
                    <a:pt x="195" y="296"/>
                    <a:pt x="193" y="299"/>
                    <a:pt x="195" y="299"/>
                  </a:cubicBezTo>
                  <a:cubicBezTo>
                    <a:pt x="197" y="299"/>
                    <a:pt x="200" y="299"/>
                    <a:pt x="200" y="302"/>
                  </a:cubicBezTo>
                  <a:cubicBezTo>
                    <a:pt x="199" y="304"/>
                    <a:pt x="201" y="306"/>
                    <a:pt x="205" y="304"/>
                  </a:cubicBezTo>
                  <a:cubicBezTo>
                    <a:pt x="207" y="303"/>
                    <a:pt x="208" y="303"/>
                    <a:pt x="208" y="303"/>
                  </a:cubicBezTo>
                  <a:cubicBezTo>
                    <a:pt x="210" y="303"/>
                    <a:pt x="210" y="307"/>
                    <a:pt x="212" y="307"/>
                  </a:cubicBezTo>
                  <a:cubicBezTo>
                    <a:pt x="215" y="308"/>
                    <a:pt x="214" y="302"/>
                    <a:pt x="213" y="301"/>
                  </a:cubicBezTo>
                  <a:cubicBezTo>
                    <a:pt x="212" y="300"/>
                    <a:pt x="213" y="296"/>
                    <a:pt x="214" y="297"/>
                  </a:cubicBezTo>
                  <a:cubicBezTo>
                    <a:pt x="215" y="298"/>
                    <a:pt x="218" y="297"/>
                    <a:pt x="219" y="295"/>
                  </a:cubicBezTo>
                  <a:cubicBezTo>
                    <a:pt x="221" y="293"/>
                    <a:pt x="224" y="296"/>
                    <a:pt x="225" y="294"/>
                  </a:cubicBezTo>
                  <a:cubicBezTo>
                    <a:pt x="227" y="292"/>
                    <a:pt x="229" y="296"/>
                    <a:pt x="232" y="294"/>
                  </a:cubicBezTo>
                  <a:cubicBezTo>
                    <a:pt x="235" y="293"/>
                    <a:pt x="236" y="296"/>
                    <a:pt x="238" y="293"/>
                  </a:cubicBezTo>
                  <a:cubicBezTo>
                    <a:pt x="239" y="291"/>
                    <a:pt x="243" y="288"/>
                    <a:pt x="244" y="289"/>
                  </a:cubicBezTo>
                  <a:cubicBezTo>
                    <a:pt x="245" y="290"/>
                    <a:pt x="246" y="292"/>
                    <a:pt x="251" y="293"/>
                  </a:cubicBezTo>
                  <a:cubicBezTo>
                    <a:pt x="256" y="293"/>
                    <a:pt x="253" y="296"/>
                    <a:pt x="253" y="297"/>
                  </a:cubicBezTo>
                  <a:cubicBezTo>
                    <a:pt x="253" y="299"/>
                    <a:pt x="259" y="303"/>
                    <a:pt x="261" y="303"/>
                  </a:cubicBezTo>
                  <a:cubicBezTo>
                    <a:pt x="261" y="304"/>
                    <a:pt x="262" y="304"/>
                    <a:pt x="263" y="305"/>
                  </a:cubicBezTo>
                  <a:cubicBezTo>
                    <a:pt x="264" y="304"/>
                    <a:pt x="267" y="305"/>
                    <a:pt x="267" y="303"/>
                  </a:cubicBezTo>
                  <a:cubicBezTo>
                    <a:pt x="268" y="301"/>
                    <a:pt x="271" y="302"/>
                    <a:pt x="272" y="304"/>
                  </a:cubicBezTo>
                  <a:cubicBezTo>
                    <a:pt x="273" y="305"/>
                    <a:pt x="274" y="306"/>
                    <a:pt x="276" y="304"/>
                  </a:cubicBezTo>
                  <a:cubicBezTo>
                    <a:pt x="279" y="302"/>
                    <a:pt x="280" y="306"/>
                    <a:pt x="279" y="307"/>
                  </a:cubicBezTo>
                  <a:cubicBezTo>
                    <a:pt x="277" y="308"/>
                    <a:pt x="278" y="312"/>
                    <a:pt x="280" y="314"/>
                  </a:cubicBezTo>
                  <a:cubicBezTo>
                    <a:pt x="283" y="316"/>
                    <a:pt x="283" y="313"/>
                    <a:pt x="283" y="311"/>
                  </a:cubicBezTo>
                  <a:cubicBezTo>
                    <a:pt x="282" y="308"/>
                    <a:pt x="286" y="306"/>
                    <a:pt x="294" y="304"/>
                  </a:cubicBezTo>
                  <a:cubicBezTo>
                    <a:pt x="301" y="301"/>
                    <a:pt x="309" y="296"/>
                    <a:pt x="310" y="295"/>
                  </a:cubicBezTo>
                  <a:cubicBezTo>
                    <a:pt x="310" y="293"/>
                    <a:pt x="315" y="297"/>
                    <a:pt x="317" y="295"/>
                  </a:cubicBezTo>
                  <a:cubicBezTo>
                    <a:pt x="320" y="293"/>
                    <a:pt x="329" y="293"/>
                    <a:pt x="331" y="293"/>
                  </a:cubicBezTo>
                  <a:cubicBezTo>
                    <a:pt x="334" y="293"/>
                    <a:pt x="334" y="290"/>
                    <a:pt x="336" y="288"/>
                  </a:cubicBezTo>
                  <a:cubicBezTo>
                    <a:pt x="339" y="286"/>
                    <a:pt x="338" y="285"/>
                    <a:pt x="341" y="285"/>
                  </a:cubicBezTo>
                  <a:cubicBezTo>
                    <a:pt x="344" y="284"/>
                    <a:pt x="345" y="281"/>
                    <a:pt x="345" y="280"/>
                  </a:cubicBezTo>
                  <a:cubicBezTo>
                    <a:pt x="345" y="278"/>
                    <a:pt x="351" y="278"/>
                    <a:pt x="351" y="276"/>
                  </a:cubicBezTo>
                  <a:cubicBezTo>
                    <a:pt x="351" y="275"/>
                    <a:pt x="355" y="274"/>
                    <a:pt x="355" y="272"/>
                  </a:cubicBezTo>
                  <a:cubicBezTo>
                    <a:pt x="355" y="271"/>
                    <a:pt x="357" y="271"/>
                    <a:pt x="358" y="269"/>
                  </a:cubicBezTo>
                  <a:cubicBezTo>
                    <a:pt x="359" y="268"/>
                    <a:pt x="358" y="264"/>
                    <a:pt x="359" y="263"/>
                  </a:cubicBezTo>
                  <a:cubicBezTo>
                    <a:pt x="361" y="263"/>
                    <a:pt x="359" y="260"/>
                    <a:pt x="358" y="259"/>
                  </a:cubicBezTo>
                  <a:cubicBezTo>
                    <a:pt x="358" y="258"/>
                    <a:pt x="362" y="258"/>
                    <a:pt x="364" y="257"/>
                  </a:cubicBezTo>
                  <a:cubicBezTo>
                    <a:pt x="366" y="255"/>
                    <a:pt x="367" y="253"/>
                    <a:pt x="368" y="251"/>
                  </a:cubicBezTo>
                  <a:cubicBezTo>
                    <a:pt x="368" y="249"/>
                    <a:pt x="371" y="247"/>
                    <a:pt x="373" y="246"/>
                  </a:cubicBezTo>
                  <a:cubicBezTo>
                    <a:pt x="374" y="246"/>
                    <a:pt x="375" y="242"/>
                    <a:pt x="375" y="240"/>
                  </a:cubicBezTo>
                  <a:cubicBezTo>
                    <a:pt x="374" y="237"/>
                    <a:pt x="377" y="238"/>
                    <a:pt x="376" y="237"/>
                  </a:cubicBezTo>
                  <a:cubicBezTo>
                    <a:pt x="374" y="236"/>
                    <a:pt x="376" y="233"/>
                    <a:pt x="379" y="232"/>
                  </a:cubicBezTo>
                  <a:cubicBezTo>
                    <a:pt x="382" y="231"/>
                    <a:pt x="378" y="230"/>
                    <a:pt x="376" y="231"/>
                  </a:cubicBezTo>
                  <a:cubicBezTo>
                    <a:pt x="374" y="232"/>
                    <a:pt x="373" y="227"/>
                    <a:pt x="371" y="229"/>
                  </a:cubicBezTo>
                  <a:cubicBezTo>
                    <a:pt x="370" y="231"/>
                    <a:pt x="366" y="228"/>
                    <a:pt x="369" y="227"/>
                  </a:cubicBezTo>
                  <a:cubicBezTo>
                    <a:pt x="371" y="227"/>
                    <a:pt x="375" y="224"/>
                    <a:pt x="377" y="223"/>
                  </a:cubicBezTo>
                  <a:cubicBezTo>
                    <a:pt x="379" y="223"/>
                    <a:pt x="374" y="219"/>
                    <a:pt x="372" y="219"/>
                  </a:cubicBezTo>
                  <a:cubicBezTo>
                    <a:pt x="370" y="219"/>
                    <a:pt x="367" y="214"/>
                    <a:pt x="365" y="214"/>
                  </a:cubicBezTo>
                  <a:cubicBezTo>
                    <a:pt x="363" y="214"/>
                    <a:pt x="367" y="212"/>
                    <a:pt x="369" y="213"/>
                  </a:cubicBezTo>
                  <a:cubicBezTo>
                    <a:pt x="372" y="215"/>
                    <a:pt x="375" y="216"/>
                    <a:pt x="377" y="215"/>
                  </a:cubicBezTo>
                  <a:cubicBezTo>
                    <a:pt x="378" y="214"/>
                    <a:pt x="372" y="209"/>
                    <a:pt x="370" y="207"/>
                  </a:cubicBezTo>
                  <a:cubicBezTo>
                    <a:pt x="368" y="206"/>
                    <a:pt x="370" y="203"/>
                    <a:pt x="368" y="202"/>
                  </a:cubicBezTo>
                  <a:cubicBezTo>
                    <a:pt x="367" y="201"/>
                    <a:pt x="364" y="195"/>
                    <a:pt x="363" y="193"/>
                  </a:cubicBezTo>
                  <a:cubicBezTo>
                    <a:pt x="362" y="190"/>
                    <a:pt x="357" y="189"/>
                    <a:pt x="356" y="188"/>
                  </a:cubicBezTo>
                  <a:cubicBezTo>
                    <a:pt x="355" y="186"/>
                    <a:pt x="356" y="182"/>
                    <a:pt x="360" y="180"/>
                  </a:cubicBezTo>
                  <a:cubicBezTo>
                    <a:pt x="364" y="179"/>
                    <a:pt x="362" y="176"/>
                    <a:pt x="364" y="176"/>
                  </a:cubicBezTo>
                  <a:cubicBezTo>
                    <a:pt x="365" y="176"/>
                    <a:pt x="367" y="176"/>
                    <a:pt x="368" y="173"/>
                  </a:cubicBezTo>
                  <a:cubicBezTo>
                    <a:pt x="369" y="170"/>
                    <a:pt x="372" y="172"/>
                    <a:pt x="373" y="170"/>
                  </a:cubicBezTo>
                  <a:cubicBezTo>
                    <a:pt x="374" y="169"/>
                    <a:pt x="380" y="169"/>
                    <a:pt x="382" y="168"/>
                  </a:cubicBezTo>
                  <a:cubicBezTo>
                    <a:pt x="384" y="166"/>
                    <a:pt x="380" y="162"/>
                    <a:pt x="378" y="162"/>
                  </a:cubicBezTo>
                  <a:cubicBezTo>
                    <a:pt x="375" y="163"/>
                    <a:pt x="372" y="162"/>
                    <a:pt x="370" y="159"/>
                  </a:cubicBezTo>
                  <a:cubicBezTo>
                    <a:pt x="368" y="156"/>
                    <a:pt x="363" y="164"/>
                    <a:pt x="359" y="166"/>
                  </a:cubicBezTo>
                  <a:cubicBezTo>
                    <a:pt x="355" y="168"/>
                    <a:pt x="353" y="163"/>
                    <a:pt x="354" y="160"/>
                  </a:cubicBezTo>
                  <a:cubicBezTo>
                    <a:pt x="355" y="157"/>
                    <a:pt x="351" y="157"/>
                    <a:pt x="346" y="157"/>
                  </a:cubicBezTo>
                  <a:cubicBezTo>
                    <a:pt x="340" y="157"/>
                    <a:pt x="342" y="147"/>
                    <a:pt x="346" y="147"/>
                  </a:cubicBezTo>
                  <a:cubicBezTo>
                    <a:pt x="349" y="147"/>
                    <a:pt x="354" y="150"/>
                    <a:pt x="356" y="144"/>
                  </a:cubicBezTo>
                  <a:cubicBezTo>
                    <a:pt x="358" y="138"/>
                    <a:pt x="360" y="143"/>
                    <a:pt x="365" y="137"/>
                  </a:cubicBezTo>
                  <a:cubicBezTo>
                    <a:pt x="369" y="132"/>
                    <a:pt x="375" y="129"/>
                    <a:pt x="379" y="132"/>
                  </a:cubicBezTo>
                  <a:cubicBezTo>
                    <a:pt x="383" y="135"/>
                    <a:pt x="374" y="140"/>
                    <a:pt x="373" y="143"/>
                  </a:cubicBezTo>
                  <a:cubicBezTo>
                    <a:pt x="372" y="146"/>
                    <a:pt x="374" y="147"/>
                    <a:pt x="372" y="149"/>
                  </a:cubicBezTo>
                  <a:cubicBezTo>
                    <a:pt x="370" y="152"/>
                    <a:pt x="373" y="152"/>
                    <a:pt x="378" y="149"/>
                  </a:cubicBezTo>
                  <a:cubicBezTo>
                    <a:pt x="382" y="146"/>
                    <a:pt x="388" y="143"/>
                    <a:pt x="392" y="141"/>
                  </a:cubicBezTo>
                  <a:cubicBezTo>
                    <a:pt x="394" y="140"/>
                    <a:pt x="395" y="140"/>
                    <a:pt x="396" y="140"/>
                  </a:cubicBezTo>
                  <a:cubicBezTo>
                    <a:pt x="397" y="139"/>
                    <a:pt x="398" y="137"/>
                    <a:pt x="399" y="137"/>
                  </a:cubicBezTo>
                  <a:cubicBezTo>
                    <a:pt x="402" y="135"/>
                    <a:pt x="412" y="131"/>
                    <a:pt x="414" y="128"/>
                  </a:cubicBezTo>
                  <a:cubicBezTo>
                    <a:pt x="415" y="126"/>
                    <a:pt x="417" y="123"/>
                    <a:pt x="419" y="123"/>
                  </a:cubicBezTo>
                  <a:cubicBezTo>
                    <a:pt x="421" y="123"/>
                    <a:pt x="421" y="125"/>
                    <a:pt x="424" y="125"/>
                  </a:cubicBezTo>
                  <a:cubicBezTo>
                    <a:pt x="427" y="125"/>
                    <a:pt x="431" y="126"/>
                    <a:pt x="429" y="123"/>
                  </a:cubicBezTo>
                  <a:cubicBezTo>
                    <a:pt x="428" y="121"/>
                    <a:pt x="429" y="121"/>
                    <a:pt x="432" y="120"/>
                  </a:cubicBezTo>
                  <a:cubicBezTo>
                    <a:pt x="436" y="120"/>
                    <a:pt x="435" y="116"/>
                    <a:pt x="438" y="116"/>
                  </a:cubicBezTo>
                  <a:cubicBezTo>
                    <a:pt x="441" y="116"/>
                    <a:pt x="440" y="110"/>
                    <a:pt x="443" y="110"/>
                  </a:cubicBezTo>
                  <a:cubicBezTo>
                    <a:pt x="445" y="110"/>
                    <a:pt x="446" y="113"/>
                    <a:pt x="449" y="112"/>
                  </a:cubicBezTo>
                  <a:cubicBezTo>
                    <a:pt x="450" y="112"/>
                    <a:pt x="451" y="112"/>
                    <a:pt x="452" y="113"/>
                  </a:cubicBezTo>
                  <a:cubicBezTo>
                    <a:pt x="452" y="112"/>
                    <a:pt x="453" y="112"/>
                    <a:pt x="453" y="111"/>
                  </a:cubicBezTo>
                  <a:cubicBezTo>
                    <a:pt x="453" y="108"/>
                    <a:pt x="454" y="105"/>
                    <a:pt x="453" y="104"/>
                  </a:cubicBezTo>
                  <a:cubicBezTo>
                    <a:pt x="452" y="101"/>
                    <a:pt x="453" y="99"/>
                    <a:pt x="452" y="97"/>
                  </a:cubicBezTo>
                  <a:cubicBezTo>
                    <a:pt x="452" y="95"/>
                    <a:pt x="452" y="91"/>
                    <a:pt x="454" y="91"/>
                  </a:cubicBezTo>
                  <a:cubicBezTo>
                    <a:pt x="456" y="91"/>
                    <a:pt x="458" y="86"/>
                    <a:pt x="460" y="88"/>
                  </a:cubicBezTo>
                  <a:cubicBezTo>
                    <a:pt x="463" y="90"/>
                    <a:pt x="467" y="90"/>
                    <a:pt x="467" y="88"/>
                  </a:cubicBezTo>
                  <a:cubicBezTo>
                    <a:pt x="467" y="86"/>
                    <a:pt x="471" y="86"/>
                    <a:pt x="471" y="83"/>
                  </a:cubicBezTo>
                  <a:cubicBezTo>
                    <a:pt x="472" y="80"/>
                    <a:pt x="475" y="79"/>
                    <a:pt x="476" y="77"/>
                  </a:cubicBezTo>
                  <a:cubicBezTo>
                    <a:pt x="477" y="74"/>
                    <a:pt x="478" y="68"/>
                    <a:pt x="480" y="66"/>
                  </a:cubicBezTo>
                  <a:cubicBezTo>
                    <a:pt x="483" y="65"/>
                    <a:pt x="480" y="64"/>
                    <a:pt x="480" y="60"/>
                  </a:cubicBezTo>
                  <a:close/>
                  <a:moveTo>
                    <a:pt x="364" y="285"/>
                  </a:moveTo>
                  <a:cubicBezTo>
                    <a:pt x="361" y="295"/>
                    <a:pt x="367" y="299"/>
                    <a:pt x="368" y="299"/>
                  </a:cubicBezTo>
                  <a:cubicBezTo>
                    <a:pt x="370" y="297"/>
                    <a:pt x="380" y="277"/>
                    <a:pt x="378" y="274"/>
                  </a:cubicBezTo>
                  <a:cubicBezTo>
                    <a:pt x="376" y="271"/>
                    <a:pt x="366" y="276"/>
                    <a:pt x="364" y="285"/>
                  </a:cubicBezTo>
                  <a:close/>
                  <a:moveTo>
                    <a:pt x="279" y="317"/>
                  </a:moveTo>
                  <a:cubicBezTo>
                    <a:pt x="276" y="317"/>
                    <a:pt x="268" y="322"/>
                    <a:pt x="271" y="328"/>
                  </a:cubicBezTo>
                  <a:cubicBezTo>
                    <a:pt x="274" y="335"/>
                    <a:pt x="284" y="330"/>
                    <a:pt x="284" y="328"/>
                  </a:cubicBezTo>
                  <a:cubicBezTo>
                    <a:pt x="285" y="325"/>
                    <a:pt x="289" y="320"/>
                    <a:pt x="289" y="318"/>
                  </a:cubicBezTo>
                  <a:cubicBezTo>
                    <a:pt x="288" y="316"/>
                    <a:pt x="282" y="317"/>
                    <a:pt x="279" y="31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2" name="Freeform 330">
              <a:extLst>
                <a:ext uri="{FF2B5EF4-FFF2-40B4-BE49-F238E27FC236}">
                  <a16:creationId xmlns:a16="http://schemas.microsoft.com/office/drawing/2014/main" id="{C36A7443-0D2C-F1E8-0DC6-49DE1397A4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78525" y="3719859"/>
              <a:ext cx="293650" cy="404760"/>
            </a:xfrm>
            <a:custGeom>
              <a:avLst/>
              <a:gdLst>
                <a:gd name="T0" fmla="*/ 41 w 78"/>
                <a:gd name="T1" fmla="*/ 42 h 108"/>
                <a:gd name="T2" fmla="*/ 51 w 78"/>
                <a:gd name="T3" fmla="*/ 49 h 108"/>
                <a:gd name="T4" fmla="*/ 53 w 78"/>
                <a:gd name="T5" fmla="*/ 56 h 108"/>
                <a:gd name="T6" fmla="*/ 57 w 78"/>
                <a:gd name="T7" fmla="*/ 59 h 108"/>
                <a:gd name="T8" fmla="*/ 61 w 78"/>
                <a:gd name="T9" fmla="*/ 69 h 108"/>
                <a:gd name="T10" fmla="*/ 63 w 78"/>
                <a:gd name="T11" fmla="*/ 67 h 108"/>
                <a:gd name="T12" fmla="*/ 67 w 78"/>
                <a:gd name="T13" fmla="*/ 63 h 108"/>
                <a:gd name="T14" fmla="*/ 65 w 78"/>
                <a:gd name="T15" fmla="*/ 53 h 108"/>
                <a:gd name="T16" fmla="*/ 56 w 78"/>
                <a:gd name="T17" fmla="*/ 46 h 108"/>
                <a:gd name="T18" fmla="*/ 50 w 78"/>
                <a:gd name="T19" fmla="*/ 39 h 108"/>
                <a:gd name="T20" fmla="*/ 39 w 78"/>
                <a:gd name="T21" fmla="*/ 37 h 108"/>
                <a:gd name="T22" fmla="*/ 35 w 78"/>
                <a:gd name="T23" fmla="*/ 30 h 108"/>
                <a:gd name="T24" fmla="*/ 40 w 78"/>
                <a:gd name="T25" fmla="*/ 19 h 108"/>
                <a:gd name="T26" fmla="*/ 40 w 78"/>
                <a:gd name="T27" fmla="*/ 5 h 108"/>
                <a:gd name="T28" fmla="*/ 39 w 78"/>
                <a:gd name="T29" fmla="*/ 3 h 108"/>
                <a:gd name="T30" fmla="*/ 27 w 78"/>
                <a:gd name="T31" fmla="*/ 2 h 108"/>
                <a:gd name="T32" fmla="*/ 25 w 78"/>
                <a:gd name="T33" fmla="*/ 20 h 108"/>
                <a:gd name="T34" fmla="*/ 21 w 78"/>
                <a:gd name="T35" fmla="*/ 20 h 108"/>
                <a:gd name="T36" fmla="*/ 24 w 78"/>
                <a:gd name="T37" fmla="*/ 30 h 108"/>
                <a:gd name="T38" fmla="*/ 26 w 78"/>
                <a:gd name="T39" fmla="*/ 37 h 108"/>
                <a:gd name="T40" fmla="*/ 34 w 78"/>
                <a:gd name="T41" fmla="*/ 39 h 108"/>
                <a:gd name="T42" fmla="*/ 41 w 78"/>
                <a:gd name="T43" fmla="*/ 42 h 108"/>
                <a:gd name="T44" fmla="*/ 26 w 78"/>
                <a:gd name="T45" fmla="*/ 44 h 108"/>
                <a:gd name="T46" fmla="*/ 34 w 78"/>
                <a:gd name="T47" fmla="*/ 52 h 108"/>
                <a:gd name="T48" fmla="*/ 26 w 78"/>
                <a:gd name="T49" fmla="*/ 44 h 108"/>
                <a:gd name="T50" fmla="*/ 39 w 78"/>
                <a:gd name="T51" fmla="*/ 67 h 108"/>
                <a:gd name="T52" fmla="*/ 44 w 78"/>
                <a:gd name="T53" fmla="*/ 64 h 108"/>
                <a:gd name="T54" fmla="*/ 44 w 78"/>
                <a:gd name="T55" fmla="*/ 71 h 108"/>
                <a:gd name="T56" fmla="*/ 45 w 78"/>
                <a:gd name="T57" fmla="*/ 80 h 108"/>
                <a:gd name="T58" fmla="*/ 54 w 78"/>
                <a:gd name="T59" fmla="*/ 67 h 108"/>
                <a:gd name="T60" fmla="*/ 51 w 78"/>
                <a:gd name="T61" fmla="*/ 65 h 108"/>
                <a:gd name="T62" fmla="*/ 39 w 78"/>
                <a:gd name="T63" fmla="*/ 56 h 108"/>
                <a:gd name="T64" fmla="*/ 39 w 78"/>
                <a:gd name="T65" fmla="*/ 67 h 108"/>
                <a:gd name="T66" fmla="*/ 11 w 78"/>
                <a:gd name="T67" fmla="*/ 71 h 108"/>
                <a:gd name="T68" fmla="*/ 1 w 78"/>
                <a:gd name="T69" fmla="*/ 85 h 108"/>
                <a:gd name="T70" fmla="*/ 15 w 78"/>
                <a:gd name="T71" fmla="*/ 71 h 108"/>
                <a:gd name="T72" fmla="*/ 18 w 78"/>
                <a:gd name="T73" fmla="*/ 63 h 108"/>
                <a:gd name="T74" fmla="*/ 11 w 78"/>
                <a:gd name="T75" fmla="*/ 71 h 108"/>
                <a:gd name="T76" fmla="*/ 54 w 78"/>
                <a:gd name="T77" fmla="*/ 76 h 108"/>
                <a:gd name="T78" fmla="*/ 59 w 78"/>
                <a:gd name="T79" fmla="*/ 72 h 108"/>
                <a:gd name="T80" fmla="*/ 54 w 78"/>
                <a:gd name="T81" fmla="*/ 76 h 108"/>
                <a:gd name="T82" fmla="*/ 75 w 78"/>
                <a:gd name="T83" fmla="*/ 95 h 108"/>
                <a:gd name="T84" fmla="*/ 73 w 78"/>
                <a:gd name="T85" fmla="*/ 77 h 108"/>
                <a:gd name="T86" fmla="*/ 67 w 78"/>
                <a:gd name="T87" fmla="*/ 76 h 108"/>
                <a:gd name="T88" fmla="*/ 63 w 78"/>
                <a:gd name="T89" fmla="*/ 81 h 108"/>
                <a:gd name="T90" fmla="*/ 58 w 78"/>
                <a:gd name="T91" fmla="*/ 84 h 108"/>
                <a:gd name="T92" fmla="*/ 51 w 78"/>
                <a:gd name="T93" fmla="*/ 83 h 108"/>
                <a:gd name="T94" fmla="*/ 42 w 78"/>
                <a:gd name="T95" fmla="*/ 88 h 108"/>
                <a:gd name="T96" fmla="*/ 39 w 78"/>
                <a:gd name="T97" fmla="*/ 96 h 108"/>
                <a:gd name="T98" fmla="*/ 46 w 78"/>
                <a:gd name="T99" fmla="*/ 93 h 108"/>
                <a:gd name="T100" fmla="*/ 52 w 78"/>
                <a:gd name="T101" fmla="*/ 90 h 108"/>
                <a:gd name="T102" fmla="*/ 58 w 78"/>
                <a:gd name="T103" fmla="*/ 104 h 108"/>
                <a:gd name="T104" fmla="*/ 67 w 78"/>
                <a:gd name="T105" fmla="*/ 108 h 108"/>
                <a:gd name="T106" fmla="*/ 66 w 78"/>
                <a:gd name="T107" fmla="*/ 98 h 108"/>
                <a:gd name="T108" fmla="*/ 75 w 78"/>
                <a:gd name="T109" fmla="*/ 9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" h="108">
                  <a:moveTo>
                    <a:pt x="41" y="42"/>
                  </a:moveTo>
                  <a:cubicBezTo>
                    <a:pt x="46" y="41"/>
                    <a:pt x="52" y="47"/>
                    <a:pt x="51" y="49"/>
                  </a:cubicBezTo>
                  <a:cubicBezTo>
                    <a:pt x="50" y="51"/>
                    <a:pt x="51" y="58"/>
                    <a:pt x="53" y="56"/>
                  </a:cubicBezTo>
                  <a:cubicBezTo>
                    <a:pt x="55" y="54"/>
                    <a:pt x="59" y="56"/>
                    <a:pt x="57" y="59"/>
                  </a:cubicBezTo>
                  <a:cubicBezTo>
                    <a:pt x="54" y="63"/>
                    <a:pt x="60" y="66"/>
                    <a:pt x="61" y="69"/>
                  </a:cubicBezTo>
                  <a:cubicBezTo>
                    <a:pt x="61" y="73"/>
                    <a:pt x="64" y="70"/>
                    <a:pt x="63" y="67"/>
                  </a:cubicBezTo>
                  <a:cubicBezTo>
                    <a:pt x="63" y="64"/>
                    <a:pt x="64" y="65"/>
                    <a:pt x="67" y="63"/>
                  </a:cubicBezTo>
                  <a:cubicBezTo>
                    <a:pt x="70" y="60"/>
                    <a:pt x="67" y="57"/>
                    <a:pt x="65" y="53"/>
                  </a:cubicBezTo>
                  <a:cubicBezTo>
                    <a:pt x="63" y="49"/>
                    <a:pt x="56" y="50"/>
                    <a:pt x="56" y="46"/>
                  </a:cubicBezTo>
                  <a:cubicBezTo>
                    <a:pt x="56" y="43"/>
                    <a:pt x="50" y="41"/>
                    <a:pt x="50" y="39"/>
                  </a:cubicBezTo>
                  <a:cubicBezTo>
                    <a:pt x="50" y="37"/>
                    <a:pt x="43" y="35"/>
                    <a:pt x="39" y="37"/>
                  </a:cubicBezTo>
                  <a:cubicBezTo>
                    <a:pt x="35" y="40"/>
                    <a:pt x="38" y="33"/>
                    <a:pt x="35" y="30"/>
                  </a:cubicBezTo>
                  <a:cubicBezTo>
                    <a:pt x="32" y="27"/>
                    <a:pt x="37" y="22"/>
                    <a:pt x="40" y="19"/>
                  </a:cubicBezTo>
                  <a:cubicBezTo>
                    <a:pt x="44" y="15"/>
                    <a:pt x="39" y="8"/>
                    <a:pt x="40" y="5"/>
                  </a:cubicBezTo>
                  <a:cubicBezTo>
                    <a:pt x="40" y="3"/>
                    <a:pt x="40" y="2"/>
                    <a:pt x="39" y="3"/>
                  </a:cubicBezTo>
                  <a:cubicBezTo>
                    <a:pt x="37" y="4"/>
                    <a:pt x="30" y="0"/>
                    <a:pt x="27" y="2"/>
                  </a:cubicBezTo>
                  <a:cubicBezTo>
                    <a:pt x="24" y="4"/>
                    <a:pt x="27" y="19"/>
                    <a:pt x="25" y="20"/>
                  </a:cubicBezTo>
                  <a:cubicBezTo>
                    <a:pt x="24" y="22"/>
                    <a:pt x="22" y="18"/>
                    <a:pt x="21" y="20"/>
                  </a:cubicBezTo>
                  <a:cubicBezTo>
                    <a:pt x="21" y="22"/>
                    <a:pt x="22" y="30"/>
                    <a:pt x="24" y="30"/>
                  </a:cubicBezTo>
                  <a:cubicBezTo>
                    <a:pt x="25" y="30"/>
                    <a:pt x="27" y="33"/>
                    <a:pt x="26" y="37"/>
                  </a:cubicBezTo>
                  <a:cubicBezTo>
                    <a:pt x="25" y="40"/>
                    <a:pt x="29" y="41"/>
                    <a:pt x="34" y="39"/>
                  </a:cubicBezTo>
                  <a:cubicBezTo>
                    <a:pt x="38" y="38"/>
                    <a:pt x="37" y="42"/>
                    <a:pt x="41" y="42"/>
                  </a:cubicBezTo>
                  <a:close/>
                  <a:moveTo>
                    <a:pt x="26" y="44"/>
                  </a:moveTo>
                  <a:cubicBezTo>
                    <a:pt x="27" y="47"/>
                    <a:pt x="28" y="54"/>
                    <a:pt x="34" y="52"/>
                  </a:cubicBezTo>
                  <a:cubicBezTo>
                    <a:pt x="39" y="51"/>
                    <a:pt x="25" y="41"/>
                    <a:pt x="26" y="44"/>
                  </a:cubicBezTo>
                  <a:close/>
                  <a:moveTo>
                    <a:pt x="39" y="67"/>
                  </a:moveTo>
                  <a:cubicBezTo>
                    <a:pt x="40" y="67"/>
                    <a:pt x="43" y="67"/>
                    <a:pt x="44" y="64"/>
                  </a:cubicBezTo>
                  <a:cubicBezTo>
                    <a:pt x="44" y="62"/>
                    <a:pt x="46" y="69"/>
                    <a:pt x="44" y="71"/>
                  </a:cubicBezTo>
                  <a:cubicBezTo>
                    <a:pt x="42" y="73"/>
                    <a:pt x="42" y="79"/>
                    <a:pt x="45" y="80"/>
                  </a:cubicBezTo>
                  <a:cubicBezTo>
                    <a:pt x="49" y="80"/>
                    <a:pt x="55" y="69"/>
                    <a:pt x="54" y="67"/>
                  </a:cubicBezTo>
                  <a:cubicBezTo>
                    <a:pt x="53" y="65"/>
                    <a:pt x="50" y="68"/>
                    <a:pt x="51" y="65"/>
                  </a:cubicBezTo>
                  <a:cubicBezTo>
                    <a:pt x="52" y="63"/>
                    <a:pt x="42" y="55"/>
                    <a:pt x="39" y="56"/>
                  </a:cubicBezTo>
                  <a:cubicBezTo>
                    <a:pt x="35" y="57"/>
                    <a:pt x="36" y="67"/>
                    <a:pt x="39" y="67"/>
                  </a:cubicBezTo>
                  <a:close/>
                  <a:moveTo>
                    <a:pt x="11" y="71"/>
                  </a:moveTo>
                  <a:cubicBezTo>
                    <a:pt x="8" y="76"/>
                    <a:pt x="0" y="83"/>
                    <a:pt x="1" y="85"/>
                  </a:cubicBezTo>
                  <a:cubicBezTo>
                    <a:pt x="2" y="87"/>
                    <a:pt x="11" y="74"/>
                    <a:pt x="15" y="71"/>
                  </a:cubicBezTo>
                  <a:cubicBezTo>
                    <a:pt x="20" y="68"/>
                    <a:pt x="19" y="65"/>
                    <a:pt x="18" y="63"/>
                  </a:cubicBezTo>
                  <a:cubicBezTo>
                    <a:pt x="16" y="60"/>
                    <a:pt x="15" y="67"/>
                    <a:pt x="11" y="71"/>
                  </a:cubicBezTo>
                  <a:close/>
                  <a:moveTo>
                    <a:pt x="54" y="76"/>
                  </a:moveTo>
                  <a:cubicBezTo>
                    <a:pt x="54" y="78"/>
                    <a:pt x="61" y="75"/>
                    <a:pt x="59" y="72"/>
                  </a:cubicBezTo>
                  <a:cubicBezTo>
                    <a:pt x="58" y="70"/>
                    <a:pt x="53" y="74"/>
                    <a:pt x="54" y="76"/>
                  </a:cubicBezTo>
                  <a:close/>
                  <a:moveTo>
                    <a:pt x="75" y="95"/>
                  </a:moveTo>
                  <a:cubicBezTo>
                    <a:pt x="78" y="91"/>
                    <a:pt x="73" y="83"/>
                    <a:pt x="73" y="77"/>
                  </a:cubicBezTo>
                  <a:cubicBezTo>
                    <a:pt x="73" y="71"/>
                    <a:pt x="65" y="73"/>
                    <a:pt x="67" y="76"/>
                  </a:cubicBezTo>
                  <a:cubicBezTo>
                    <a:pt x="69" y="80"/>
                    <a:pt x="63" y="77"/>
                    <a:pt x="63" y="81"/>
                  </a:cubicBezTo>
                  <a:cubicBezTo>
                    <a:pt x="62" y="84"/>
                    <a:pt x="58" y="81"/>
                    <a:pt x="58" y="84"/>
                  </a:cubicBezTo>
                  <a:cubicBezTo>
                    <a:pt x="58" y="87"/>
                    <a:pt x="53" y="84"/>
                    <a:pt x="51" y="83"/>
                  </a:cubicBezTo>
                  <a:cubicBezTo>
                    <a:pt x="49" y="81"/>
                    <a:pt x="45" y="87"/>
                    <a:pt x="42" y="88"/>
                  </a:cubicBezTo>
                  <a:cubicBezTo>
                    <a:pt x="38" y="89"/>
                    <a:pt x="36" y="97"/>
                    <a:pt x="39" y="96"/>
                  </a:cubicBezTo>
                  <a:cubicBezTo>
                    <a:pt x="41" y="96"/>
                    <a:pt x="43" y="92"/>
                    <a:pt x="46" y="93"/>
                  </a:cubicBezTo>
                  <a:cubicBezTo>
                    <a:pt x="49" y="93"/>
                    <a:pt x="48" y="90"/>
                    <a:pt x="52" y="90"/>
                  </a:cubicBezTo>
                  <a:cubicBezTo>
                    <a:pt x="56" y="91"/>
                    <a:pt x="53" y="103"/>
                    <a:pt x="58" y="104"/>
                  </a:cubicBezTo>
                  <a:cubicBezTo>
                    <a:pt x="64" y="105"/>
                    <a:pt x="64" y="108"/>
                    <a:pt x="67" y="108"/>
                  </a:cubicBezTo>
                  <a:cubicBezTo>
                    <a:pt x="69" y="108"/>
                    <a:pt x="66" y="101"/>
                    <a:pt x="66" y="98"/>
                  </a:cubicBezTo>
                  <a:cubicBezTo>
                    <a:pt x="67" y="96"/>
                    <a:pt x="72" y="98"/>
                    <a:pt x="75" y="9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3" name="Freeform 331">
              <a:extLst>
                <a:ext uri="{FF2B5EF4-FFF2-40B4-BE49-F238E27FC236}">
                  <a16:creationId xmlns:a16="http://schemas.microsoft.com/office/drawing/2014/main" id="{991A5A4E-50BF-D1B1-9E0E-6839FC12E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99157" y="4376998"/>
              <a:ext cx="382538" cy="244443"/>
            </a:xfrm>
            <a:custGeom>
              <a:avLst/>
              <a:gdLst>
                <a:gd name="T0" fmla="*/ 73 w 102"/>
                <a:gd name="T1" fmla="*/ 60 h 65"/>
                <a:gd name="T2" fmla="*/ 68 w 102"/>
                <a:gd name="T3" fmla="*/ 54 h 65"/>
                <a:gd name="T4" fmla="*/ 60 w 102"/>
                <a:gd name="T5" fmla="*/ 51 h 65"/>
                <a:gd name="T6" fmla="*/ 54 w 102"/>
                <a:gd name="T7" fmla="*/ 40 h 65"/>
                <a:gd name="T8" fmla="*/ 52 w 102"/>
                <a:gd name="T9" fmla="*/ 33 h 65"/>
                <a:gd name="T10" fmla="*/ 54 w 102"/>
                <a:gd name="T11" fmla="*/ 28 h 65"/>
                <a:gd name="T12" fmla="*/ 38 w 102"/>
                <a:gd name="T13" fmla="*/ 19 h 65"/>
                <a:gd name="T14" fmla="*/ 6 w 102"/>
                <a:gd name="T15" fmla="*/ 2 h 65"/>
                <a:gd name="T16" fmla="*/ 0 w 102"/>
                <a:gd name="T17" fmla="*/ 0 h 65"/>
                <a:gd name="T18" fmla="*/ 0 w 102"/>
                <a:gd name="T19" fmla="*/ 51 h 65"/>
                <a:gd name="T20" fmla="*/ 9 w 102"/>
                <a:gd name="T21" fmla="*/ 54 h 65"/>
                <a:gd name="T22" fmla="*/ 18 w 102"/>
                <a:gd name="T23" fmla="*/ 48 h 65"/>
                <a:gd name="T24" fmla="*/ 23 w 102"/>
                <a:gd name="T25" fmla="*/ 42 h 65"/>
                <a:gd name="T26" fmla="*/ 40 w 102"/>
                <a:gd name="T27" fmla="*/ 46 h 65"/>
                <a:gd name="T28" fmla="*/ 58 w 102"/>
                <a:gd name="T29" fmla="*/ 62 h 65"/>
                <a:gd name="T30" fmla="*/ 75 w 102"/>
                <a:gd name="T31" fmla="*/ 65 h 65"/>
                <a:gd name="T32" fmla="*/ 73 w 102"/>
                <a:gd name="T33" fmla="*/ 60 h 65"/>
                <a:gd name="T34" fmla="*/ 87 w 102"/>
                <a:gd name="T35" fmla="*/ 18 h 65"/>
                <a:gd name="T36" fmla="*/ 77 w 102"/>
                <a:gd name="T37" fmla="*/ 23 h 65"/>
                <a:gd name="T38" fmla="*/ 60 w 102"/>
                <a:gd name="T39" fmla="*/ 24 h 65"/>
                <a:gd name="T40" fmla="*/ 73 w 102"/>
                <a:gd name="T41" fmla="*/ 30 h 65"/>
                <a:gd name="T42" fmla="*/ 90 w 102"/>
                <a:gd name="T43" fmla="*/ 22 h 65"/>
                <a:gd name="T44" fmla="*/ 92 w 102"/>
                <a:gd name="T45" fmla="*/ 15 h 65"/>
                <a:gd name="T46" fmla="*/ 87 w 102"/>
                <a:gd name="T47" fmla="*/ 18 h 65"/>
                <a:gd name="T48" fmla="*/ 95 w 102"/>
                <a:gd name="T49" fmla="*/ 9 h 65"/>
                <a:gd name="T50" fmla="*/ 93 w 102"/>
                <a:gd name="T51" fmla="*/ 9 h 65"/>
                <a:gd name="T52" fmla="*/ 98 w 102"/>
                <a:gd name="T53" fmla="*/ 17 h 65"/>
                <a:gd name="T54" fmla="*/ 95 w 102"/>
                <a:gd name="T55" fmla="*/ 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2" h="65">
                  <a:moveTo>
                    <a:pt x="73" y="60"/>
                  </a:moveTo>
                  <a:cubicBezTo>
                    <a:pt x="72" y="59"/>
                    <a:pt x="67" y="56"/>
                    <a:pt x="68" y="54"/>
                  </a:cubicBezTo>
                  <a:cubicBezTo>
                    <a:pt x="68" y="53"/>
                    <a:pt x="63" y="53"/>
                    <a:pt x="60" y="51"/>
                  </a:cubicBezTo>
                  <a:cubicBezTo>
                    <a:pt x="56" y="49"/>
                    <a:pt x="57" y="42"/>
                    <a:pt x="54" y="40"/>
                  </a:cubicBezTo>
                  <a:cubicBezTo>
                    <a:pt x="50" y="38"/>
                    <a:pt x="48" y="33"/>
                    <a:pt x="52" y="33"/>
                  </a:cubicBezTo>
                  <a:cubicBezTo>
                    <a:pt x="56" y="34"/>
                    <a:pt x="57" y="31"/>
                    <a:pt x="54" y="28"/>
                  </a:cubicBezTo>
                  <a:cubicBezTo>
                    <a:pt x="50" y="25"/>
                    <a:pt x="38" y="24"/>
                    <a:pt x="38" y="19"/>
                  </a:cubicBezTo>
                  <a:cubicBezTo>
                    <a:pt x="37" y="15"/>
                    <a:pt x="16" y="4"/>
                    <a:pt x="6" y="2"/>
                  </a:cubicBezTo>
                  <a:cubicBezTo>
                    <a:pt x="4" y="2"/>
                    <a:pt x="2" y="1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" y="52"/>
                    <a:pt x="5" y="54"/>
                    <a:pt x="9" y="54"/>
                  </a:cubicBezTo>
                  <a:cubicBezTo>
                    <a:pt x="19" y="54"/>
                    <a:pt x="17" y="48"/>
                    <a:pt x="18" y="48"/>
                  </a:cubicBezTo>
                  <a:cubicBezTo>
                    <a:pt x="20" y="48"/>
                    <a:pt x="21" y="45"/>
                    <a:pt x="23" y="42"/>
                  </a:cubicBezTo>
                  <a:cubicBezTo>
                    <a:pt x="25" y="40"/>
                    <a:pt x="35" y="42"/>
                    <a:pt x="40" y="46"/>
                  </a:cubicBezTo>
                  <a:cubicBezTo>
                    <a:pt x="46" y="50"/>
                    <a:pt x="52" y="63"/>
                    <a:pt x="58" y="62"/>
                  </a:cubicBezTo>
                  <a:cubicBezTo>
                    <a:pt x="63" y="61"/>
                    <a:pt x="69" y="65"/>
                    <a:pt x="75" y="65"/>
                  </a:cubicBezTo>
                  <a:cubicBezTo>
                    <a:pt x="80" y="65"/>
                    <a:pt x="75" y="61"/>
                    <a:pt x="73" y="60"/>
                  </a:cubicBezTo>
                  <a:close/>
                  <a:moveTo>
                    <a:pt x="87" y="18"/>
                  </a:moveTo>
                  <a:cubicBezTo>
                    <a:pt x="87" y="20"/>
                    <a:pt x="83" y="21"/>
                    <a:pt x="77" y="23"/>
                  </a:cubicBezTo>
                  <a:cubicBezTo>
                    <a:pt x="71" y="26"/>
                    <a:pt x="60" y="21"/>
                    <a:pt x="60" y="24"/>
                  </a:cubicBezTo>
                  <a:cubicBezTo>
                    <a:pt x="60" y="26"/>
                    <a:pt x="67" y="30"/>
                    <a:pt x="73" y="30"/>
                  </a:cubicBezTo>
                  <a:cubicBezTo>
                    <a:pt x="80" y="30"/>
                    <a:pt x="90" y="24"/>
                    <a:pt x="90" y="22"/>
                  </a:cubicBezTo>
                  <a:cubicBezTo>
                    <a:pt x="90" y="20"/>
                    <a:pt x="94" y="16"/>
                    <a:pt x="92" y="15"/>
                  </a:cubicBezTo>
                  <a:cubicBezTo>
                    <a:pt x="91" y="13"/>
                    <a:pt x="87" y="15"/>
                    <a:pt x="87" y="18"/>
                  </a:cubicBezTo>
                  <a:close/>
                  <a:moveTo>
                    <a:pt x="95" y="9"/>
                  </a:moveTo>
                  <a:cubicBezTo>
                    <a:pt x="91" y="6"/>
                    <a:pt x="88" y="5"/>
                    <a:pt x="93" y="9"/>
                  </a:cubicBezTo>
                  <a:cubicBezTo>
                    <a:pt x="97" y="14"/>
                    <a:pt x="95" y="17"/>
                    <a:pt x="98" y="17"/>
                  </a:cubicBezTo>
                  <a:cubicBezTo>
                    <a:pt x="102" y="15"/>
                    <a:pt x="99" y="11"/>
                    <a:pt x="95" y="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4" name="Freeform 332">
              <a:extLst>
                <a:ext uri="{FF2B5EF4-FFF2-40B4-BE49-F238E27FC236}">
                  <a16:creationId xmlns:a16="http://schemas.microsoft.com/office/drawing/2014/main" id="{4C01ADAE-5CD8-CE1A-DE74-E0F46023B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5361" y="3997634"/>
              <a:ext cx="68254" cy="123809"/>
            </a:xfrm>
            <a:custGeom>
              <a:avLst/>
              <a:gdLst>
                <a:gd name="T0" fmla="*/ 4 w 18"/>
                <a:gd name="T1" fmla="*/ 0 h 33"/>
                <a:gd name="T2" fmla="*/ 2 w 18"/>
                <a:gd name="T3" fmla="*/ 8 h 33"/>
                <a:gd name="T4" fmla="*/ 1 w 18"/>
                <a:gd name="T5" fmla="*/ 18 h 33"/>
                <a:gd name="T6" fmla="*/ 5 w 18"/>
                <a:gd name="T7" fmla="*/ 30 h 33"/>
                <a:gd name="T8" fmla="*/ 17 w 18"/>
                <a:gd name="T9" fmla="*/ 19 h 33"/>
                <a:gd name="T10" fmla="*/ 4 w 18"/>
                <a:gd name="T1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3">
                  <a:moveTo>
                    <a:pt x="4" y="0"/>
                  </a:moveTo>
                  <a:cubicBezTo>
                    <a:pt x="2" y="0"/>
                    <a:pt x="3" y="4"/>
                    <a:pt x="2" y="8"/>
                  </a:cubicBezTo>
                  <a:cubicBezTo>
                    <a:pt x="0" y="11"/>
                    <a:pt x="1" y="14"/>
                    <a:pt x="1" y="18"/>
                  </a:cubicBezTo>
                  <a:cubicBezTo>
                    <a:pt x="2" y="23"/>
                    <a:pt x="1" y="28"/>
                    <a:pt x="5" y="30"/>
                  </a:cubicBezTo>
                  <a:cubicBezTo>
                    <a:pt x="10" y="33"/>
                    <a:pt x="17" y="25"/>
                    <a:pt x="17" y="19"/>
                  </a:cubicBezTo>
                  <a:cubicBezTo>
                    <a:pt x="18" y="12"/>
                    <a:pt x="6" y="0"/>
                    <a:pt x="4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5" name="Freeform 333">
              <a:extLst>
                <a:ext uri="{FF2B5EF4-FFF2-40B4-BE49-F238E27FC236}">
                  <a16:creationId xmlns:a16="http://schemas.microsoft.com/office/drawing/2014/main" id="{0FCF9806-8A23-3AB9-3424-73CD9C7D2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145" y="4643665"/>
              <a:ext cx="225396" cy="442855"/>
            </a:xfrm>
            <a:custGeom>
              <a:avLst/>
              <a:gdLst>
                <a:gd name="T0" fmla="*/ 51 w 60"/>
                <a:gd name="T1" fmla="*/ 3 h 118"/>
                <a:gd name="T2" fmla="*/ 48 w 60"/>
                <a:gd name="T3" fmla="*/ 6 h 118"/>
                <a:gd name="T4" fmla="*/ 47 w 60"/>
                <a:gd name="T5" fmla="*/ 12 h 118"/>
                <a:gd name="T6" fmla="*/ 42 w 60"/>
                <a:gd name="T7" fmla="*/ 15 h 118"/>
                <a:gd name="T8" fmla="*/ 38 w 60"/>
                <a:gd name="T9" fmla="*/ 19 h 118"/>
                <a:gd name="T10" fmla="*/ 38 w 60"/>
                <a:gd name="T11" fmla="*/ 23 h 118"/>
                <a:gd name="T12" fmla="*/ 32 w 60"/>
                <a:gd name="T13" fmla="*/ 28 h 118"/>
                <a:gd name="T14" fmla="*/ 20 w 60"/>
                <a:gd name="T15" fmla="*/ 34 h 118"/>
                <a:gd name="T16" fmla="*/ 10 w 60"/>
                <a:gd name="T17" fmla="*/ 36 h 118"/>
                <a:gd name="T18" fmla="*/ 7 w 60"/>
                <a:gd name="T19" fmla="*/ 46 h 118"/>
                <a:gd name="T20" fmla="*/ 8 w 60"/>
                <a:gd name="T21" fmla="*/ 61 h 118"/>
                <a:gd name="T22" fmla="*/ 6 w 60"/>
                <a:gd name="T23" fmla="*/ 77 h 118"/>
                <a:gd name="T24" fmla="*/ 3 w 60"/>
                <a:gd name="T25" fmla="*/ 96 h 118"/>
                <a:gd name="T26" fmla="*/ 8 w 60"/>
                <a:gd name="T27" fmla="*/ 112 h 118"/>
                <a:gd name="T28" fmla="*/ 22 w 60"/>
                <a:gd name="T29" fmla="*/ 115 h 118"/>
                <a:gd name="T30" fmla="*/ 31 w 60"/>
                <a:gd name="T31" fmla="*/ 112 h 118"/>
                <a:gd name="T32" fmla="*/ 42 w 60"/>
                <a:gd name="T33" fmla="*/ 78 h 118"/>
                <a:gd name="T34" fmla="*/ 51 w 60"/>
                <a:gd name="T35" fmla="*/ 47 h 118"/>
                <a:gd name="T36" fmla="*/ 53 w 60"/>
                <a:gd name="T37" fmla="*/ 38 h 118"/>
                <a:gd name="T38" fmla="*/ 55 w 60"/>
                <a:gd name="T39" fmla="*/ 33 h 118"/>
                <a:gd name="T40" fmla="*/ 59 w 60"/>
                <a:gd name="T41" fmla="*/ 32 h 118"/>
                <a:gd name="T42" fmla="*/ 56 w 60"/>
                <a:gd name="T43" fmla="*/ 17 h 118"/>
                <a:gd name="T44" fmla="*/ 51 w 60"/>
                <a:gd name="T45" fmla="*/ 3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118">
                  <a:moveTo>
                    <a:pt x="51" y="3"/>
                  </a:moveTo>
                  <a:cubicBezTo>
                    <a:pt x="50" y="0"/>
                    <a:pt x="49" y="5"/>
                    <a:pt x="48" y="6"/>
                  </a:cubicBezTo>
                  <a:cubicBezTo>
                    <a:pt x="47" y="7"/>
                    <a:pt x="46" y="10"/>
                    <a:pt x="47" y="12"/>
                  </a:cubicBezTo>
                  <a:cubicBezTo>
                    <a:pt x="47" y="13"/>
                    <a:pt x="44" y="15"/>
                    <a:pt x="42" y="15"/>
                  </a:cubicBezTo>
                  <a:cubicBezTo>
                    <a:pt x="40" y="15"/>
                    <a:pt x="37" y="16"/>
                    <a:pt x="38" y="19"/>
                  </a:cubicBezTo>
                  <a:cubicBezTo>
                    <a:pt x="39" y="21"/>
                    <a:pt x="36" y="21"/>
                    <a:pt x="38" y="23"/>
                  </a:cubicBezTo>
                  <a:cubicBezTo>
                    <a:pt x="39" y="25"/>
                    <a:pt x="35" y="28"/>
                    <a:pt x="32" y="28"/>
                  </a:cubicBezTo>
                  <a:cubicBezTo>
                    <a:pt x="28" y="28"/>
                    <a:pt x="24" y="34"/>
                    <a:pt x="20" y="34"/>
                  </a:cubicBezTo>
                  <a:cubicBezTo>
                    <a:pt x="17" y="33"/>
                    <a:pt x="13" y="36"/>
                    <a:pt x="10" y="36"/>
                  </a:cubicBezTo>
                  <a:cubicBezTo>
                    <a:pt x="7" y="35"/>
                    <a:pt x="9" y="42"/>
                    <a:pt x="7" y="46"/>
                  </a:cubicBezTo>
                  <a:cubicBezTo>
                    <a:pt x="4" y="51"/>
                    <a:pt x="6" y="56"/>
                    <a:pt x="8" y="61"/>
                  </a:cubicBezTo>
                  <a:cubicBezTo>
                    <a:pt x="10" y="66"/>
                    <a:pt x="12" y="70"/>
                    <a:pt x="6" y="77"/>
                  </a:cubicBezTo>
                  <a:cubicBezTo>
                    <a:pt x="0" y="84"/>
                    <a:pt x="1" y="92"/>
                    <a:pt x="3" y="96"/>
                  </a:cubicBezTo>
                  <a:cubicBezTo>
                    <a:pt x="5" y="101"/>
                    <a:pt x="5" y="108"/>
                    <a:pt x="8" y="112"/>
                  </a:cubicBezTo>
                  <a:cubicBezTo>
                    <a:pt x="11" y="115"/>
                    <a:pt x="20" y="118"/>
                    <a:pt x="22" y="115"/>
                  </a:cubicBezTo>
                  <a:cubicBezTo>
                    <a:pt x="25" y="113"/>
                    <a:pt x="28" y="116"/>
                    <a:pt x="31" y="112"/>
                  </a:cubicBezTo>
                  <a:cubicBezTo>
                    <a:pt x="33" y="109"/>
                    <a:pt x="38" y="90"/>
                    <a:pt x="42" y="78"/>
                  </a:cubicBezTo>
                  <a:cubicBezTo>
                    <a:pt x="46" y="66"/>
                    <a:pt x="52" y="50"/>
                    <a:pt x="51" y="47"/>
                  </a:cubicBezTo>
                  <a:cubicBezTo>
                    <a:pt x="51" y="44"/>
                    <a:pt x="54" y="42"/>
                    <a:pt x="53" y="38"/>
                  </a:cubicBezTo>
                  <a:cubicBezTo>
                    <a:pt x="51" y="34"/>
                    <a:pt x="53" y="30"/>
                    <a:pt x="55" y="33"/>
                  </a:cubicBezTo>
                  <a:cubicBezTo>
                    <a:pt x="56" y="36"/>
                    <a:pt x="59" y="36"/>
                    <a:pt x="59" y="32"/>
                  </a:cubicBezTo>
                  <a:cubicBezTo>
                    <a:pt x="60" y="28"/>
                    <a:pt x="57" y="22"/>
                    <a:pt x="56" y="17"/>
                  </a:cubicBezTo>
                  <a:cubicBezTo>
                    <a:pt x="56" y="11"/>
                    <a:pt x="51" y="6"/>
                    <a:pt x="51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6" name="Freeform 334">
              <a:extLst>
                <a:ext uri="{FF2B5EF4-FFF2-40B4-BE49-F238E27FC236}">
                  <a16:creationId xmlns:a16="http://schemas.microsoft.com/office/drawing/2014/main" id="{8B03ADAE-3A7B-39C6-2480-74F4F703BC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5208" y="3700808"/>
              <a:ext cx="360316" cy="222222"/>
            </a:xfrm>
            <a:custGeom>
              <a:avLst/>
              <a:gdLst>
                <a:gd name="T0" fmla="*/ 68 w 96"/>
                <a:gd name="T1" fmla="*/ 3 h 59"/>
                <a:gd name="T2" fmla="*/ 52 w 96"/>
                <a:gd name="T3" fmla="*/ 3 h 59"/>
                <a:gd name="T4" fmla="*/ 40 w 96"/>
                <a:gd name="T5" fmla="*/ 14 h 59"/>
                <a:gd name="T6" fmla="*/ 34 w 96"/>
                <a:gd name="T7" fmla="*/ 16 h 59"/>
                <a:gd name="T8" fmla="*/ 23 w 96"/>
                <a:gd name="T9" fmla="*/ 15 h 59"/>
                <a:gd name="T10" fmla="*/ 13 w 96"/>
                <a:gd name="T11" fmla="*/ 14 h 59"/>
                <a:gd name="T12" fmla="*/ 7 w 96"/>
                <a:gd name="T13" fmla="*/ 13 h 59"/>
                <a:gd name="T14" fmla="*/ 4 w 96"/>
                <a:gd name="T15" fmla="*/ 16 h 59"/>
                <a:gd name="T16" fmla="*/ 4 w 96"/>
                <a:gd name="T17" fmla="*/ 20 h 59"/>
                <a:gd name="T18" fmla="*/ 0 w 96"/>
                <a:gd name="T19" fmla="*/ 22 h 59"/>
                <a:gd name="T20" fmla="*/ 1 w 96"/>
                <a:gd name="T21" fmla="*/ 27 h 59"/>
                <a:gd name="T22" fmla="*/ 3 w 96"/>
                <a:gd name="T23" fmla="*/ 40 h 59"/>
                <a:gd name="T24" fmla="*/ 6 w 96"/>
                <a:gd name="T25" fmla="*/ 52 h 59"/>
                <a:gd name="T26" fmla="*/ 20 w 96"/>
                <a:gd name="T27" fmla="*/ 50 h 59"/>
                <a:gd name="T28" fmla="*/ 31 w 96"/>
                <a:gd name="T29" fmla="*/ 47 h 59"/>
                <a:gd name="T30" fmla="*/ 40 w 96"/>
                <a:gd name="T31" fmla="*/ 42 h 59"/>
                <a:gd name="T32" fmla="*/ 48 w 96"/>
                <a:gd name="T33" fmla="*/ 41 h 59"/>
                <a:gd name="T34" fmla="*/ 54 w 96"/>
                <a:gd name="T35" fmla="*/ 37 h 59"/>
                <a:gd name="T36" fmla="*/ 71 w 96"/>
                <a:gd name="T37" fmla="*/ 31 h 59"/>
                <a:gd name="T38" fmla="*/ 79 w 96"/>
                <a:gd name="T39" fmla="*/ 23 h 59"/>
                <a:gd name="T40" fmla="*/ 86 w 96"/>
                <a:gd name="T41" fmla="*/ 21 h 59"/>
                <a:gd name="T42" fmla="*/ 76 w 96"/>
                <a:gd name="T43" fmla="*/ 0 h 59"/>
                <a:gd name="T44" fmla="*/ 68 w 96"/>
                <a:gd name="T45" fmla="*/ 3 h 59"/>
                <a:gd name="T46" fmla="*/ 88 w 96"/>
                <a:gd name="T47" fmla="*/ 56 h 59"/>
                <a:gd name="T48" fmla="*/ 96 w 96"/>
                <a:gd name="T49" fmla="*/ 54 h 59"/>
                <a:gd name="T50" fmla="*/ 88 w 96"/>
                <a:gd name="T51" fmla="*/ 5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" h="59">
                  <a:moveTo>
                    <a:pt x="68" y="3"/>
                  </a:moveTo>
                  <a:cubicBezTo>
                    <a:pt x="64" y="3"/>
                    <a:pt x="53" y="3"/>
                    <a:pt x="52" y="3"/>
                  </a:cubicBezTo>
                  <a:cubicBezTo>
                    <a:pt x="51" y="4"/>
                    <a:pt x="41" y="11"/>
                    <a:pt x="40" y="14"/>
                  </a:cubicBezTo>
                  <a:cubicBezTo>
                    <a:pt x="38" y="17"/>
                    <a:pt x="36" y="18"/>
                    <a:pt x="34" y="16"/>
                  </a:cubicBezTo>
                  <a:cubicBezTo>
                    <a:pt x="32" y="15"/>
                    <a:pt x="24" y="15"/>
                    <a:pt x="23" y="15"/>
                  </a:cubicBezTo>
                  <a:cubicBezTo>
                    <a:pt x="22" y="14"/>
                    <a:pt x="16" y="13"/>
                    <a:pt x="13" y="14"/>
                  </a:cubicBezTo>
                  <a:cubicBezTo>
                    <a:pt x="10" y="14"/>
                    <a:pt x="8" y="12"/>
                    <a:pt x="7" y="13"/>
                  </a:cubicBezTo>
                  <a:cubicBezTo>
                    <a:pt x="6" y="13"/>
                    <a:pt x="4" y="15"/>
                    <a:pt x="4" y="16"/>
                  </a:cubicBezTo>
                  <a:cubicBezTo>
                    <a:pt x="3" y="17"/>
                    <a:pt x="4" y="19"/>
                    <a:pt x="4" y="20"/>
                  </a:cubicBezTo>
                  <a:cubicBezTo>
                    <a:pt x="4" y="20"/>
                    <a:pt x="2" y="21"/>
                    <a:pt x="0" y="22"/>
                  </a:cubicBezTo>
                  <a:cubicBezTo>
                    <a:pt x="1" y="24"/>
                    <a:pt x="1" y="26"/>
                    <a:pt x="1" y="27"/>
                  </a:cubicBezTo>
                  <a:cubicBezTo>
                    <a:pt x="0" y="30"/>
                    <a:pt x="1" y="36"/>
                    <a:pt x="3" y="40"/>
                  </a:cubicBezTo>
                  <a:cubicBezTo>
                    <a:pt x="6" y="44"/>
                    <a:pt x="5" y="50"/>
                    <a:pt x="6" y="52"/>
                  </a:cubicBezTo>
                  <a:cubicBezTo>
                    <a:pt x="7" y="53"/>
                    <a:pt x="16" y="53"/>
                    <a:pt x="20" y="50"/>
                  </a:cubicBezTo>
                  <a:cubicBezTo>
                    <a:pt x="25" y="47"/>
                    <a:pt x="28" y="47"/>
                    <a:pt x="31" y="47"/>
                  </a:cubicBezTo>
                  <a:cubicBezTo>
                    <a:pt x="34" y="47"/>
                    <a:pt x="39" y="44"/>
                    <a:pt x="40" y="42"/>
                  </a:cubicBezTo>
                  <a:cubicBezTo>
                    <a:pt x="41" y="41"/>
                    <a:pt x="46" y="41"/>
                    <a:pt x="48" y="41"/>
                  </a:cubicBezTo>
                  <a:cubicBezTo>
                    <a:pt x="50" y="41"/>
                    <a:pt x="52" y="39"/>
                    <a:pt x="54" y="37"/>
                  </a:cubicBezTo>
                  <a:cubicBezTo>
                    <a:pt x="56" y="35"/>
                    <a:pt x="63" y="34"/>
                    <a:pt x="71" y="31"/>
                  </a:cubicBezTo>
                  <a:cubicBezTo>
                    <a:pt x="79" y="29"/>
                    <a:pt x="77" y="25"/>
                    <a:pt x="79" y="23"/>
                  </a:cubicBezTo>
                  <a:cubicBezTo>
                    <a:pt x="80" y="21"/>
                    <a:pt x="82" y="22"/>
                    <a:pt x="86" y="21"/>
                  </a:cubicBezTo>
                  <a:cubicBezTo>
                    <a:pt x="82" y="13"/>
                    <a:pt x="78" y="5"/>
                    <a:pt x="76" y="0"/>
                  </a:cubicBezTo>
                  <a:cubicBezTo>
                    <a:pt x="72" y="1"/>
                    <a:pt x="69" y="2"/>
                    <a:pt x="68" y="3"/>
                  </a:cubicBezTo>
                  <a:close/>
                  <a:moveTo>
                    <a:pt x="88" y="56"/>
                  </a:moveTo>
                  <a:cubicBezTo>
                    <a:pt x="90" y="59"/>
                    <a:pt x="95" y="55"/>
                    <a:pt x="96" y="54"/>
                  </a:cubicBezTo>
                  <a:cubicBezTo>
                    <a:pt x="96" y="53"/>
                    <a:pt x="84" y="53"/>
                    <a:pt x="88" y="5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7" name="Freeform 335">
              <a:extLst>
                <a:ext uri="{FF2B5EF4-FFF2-40B4-BE49-F238E27FC236}">
                  <a16:creationId xmlns:a16="http://schemas.microsoft.com/office/drawing/2014/main" id="{7BFA00C7-D747-9615-3F02-1AEEDE3D7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1866" y="5894445"/>
              <a:ext cx="77778" cy="52381"/>
            </a:xfrm>
            <a:custGeom>
              <a:avLst/>
              <a:gdLst>
                <a:gd name="T0" fmla="*/ 9 w 21"/>
                <a:gd name="T1" fmla="*/ 3 h 14"/>
                <a:gd name="T2" fmla="*/ 7 w 21"/>
                <a:gd name="T3" fmla="*/ 12 h 14"/>
                <a:gd name="T4" fmla="*/ 13 w 21"/>
                <a:gd name="T5" fmla="*/ 12 h 14"/>
                <a:gd name="T6" fmla="*/ 20 w 21"/>
                <a:gd name="T7" fmla="*/ 9 h 14"/>
                <a:gd name="T8" fmla="*/ 9 w 21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4">
                  <a:moveTo>
                    <a:pt x="9" y="3"/>
                  </a:moveTo>
                  <a:cubicBezTo>
                    <a:pt x="8" y="0"/>
                    <a:pt x="0" y="9"/>
                    <a:pt x="7" y="12"/>
                  </a:cubicBezTo>
                  <a:cubicBezTo>
                    <a:pt x="10" y="13"/>
                    <a:pt x="11" y="10"/>
                    <a:pt x="13" y="12"/>
                  </a:cubicBezTo>
                  <a:cubicBezTo>
                    <a:pt x="15" y="14"/>
                    <a:pt x="20" y="13"/>
                    <a:pt x="20" y="9"/>
                  </a:cubicBezTo>
                  <a:cubicBezTo>
                    <a:pt x="21" y="4"/>
                    <a:pt x="11" y="5"/>
                    <a:pt x="9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8" name="Freeform 336">
              <a:extLst>
                <a:ext uri="{FF2B5EF4-FFF2-40B4-BE49-F238E27FC236}">
                  <a16:creationId xmlns:a16="http://schemas.microsoft.com/office/drawing/2014/main" id="{949939A6-7808-8479-83AA-F4308DFC1A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16615" y="4448426"/>
              <a:ext cx="242856" cy="176190"/>
            </a:xfrm>
            <a:custGeom>
              <a:avLst/>
              <a:gdLst>
                <a:gd name="T0" fmla="*/ 1 w 65"/>
                <a:gd name="T1" fmla="*/ 2 h 47"/>
                <a:gd name="T2" fmla="*/ 11 w 65"/>
                <a:gd name="T3" fmla="*/ 14 h 47"/>
                <a:gd name="T4" fmla="*/ 1 w 65"/>
                <a:gd name="T5" fmla="*/ 2 h 47"/>
                <a:gd name="T6" fmla="*/ 16 w 65"/>
                <a:gd name="T7" fmla="*/ 12 h 47"/>
                <a:gd name="T8" fmla="*/ 23 w 65"/>
                <a:gd name="T9" fmla="*/ 18 h 47"/>
                <a:gd name="T10" fmla="*/ 16 w 65"/>
                <a:gd name="T11" fmla="*/ 12 h 47"/>
                <a:gd name="T12" fmla="*/ 43 w 65"/>
                <a:gd name="T13" fmla="*/ 27 h 47"/>
                <a:gd name="T14" fmla="*/ 31 w 65"/>
                <a:gd name="T15" fmla="*/ 21 h 47"/>
                <a:gd name="T16" fmla="*/ 43 w 65"/>
                <a:gd name="T17" fmla="*/ 27 h 47"/>
                <a:gd name="T18" fmla="*/ 41 w 65"/>
                <a:gd name="T19" fmla="*/ 34 h 47"/>
                <a:gd name="T20" fmla="*/ 49 w 65"/>
                <a:gd name="T21" fmla="*/ 39 h 47"/>
                <a:gd name="T22" fmla="*/ 41 w 65"/>
                <a:gd name="T23" fmla="*/ 34 h 47"/>
                <a:gd name="T24" fmla="*/ 56 w 65"/>
                <a:gd name="T25" fmla="*/ 42 h 47"/>
                <a:gd name="T26" fmla="*/ 63 w 65"/>
                <a:gd name="T27" fmla="*/ 46 h 47"/>
                <a:gd name="T28" fmla="*/ 56 w 65"/>
                <a:gd name="T29" fmla="*/ 42 h 47"/>
                <a:gd name="T30" fmla="*/ 50 w 65"/>
                <a:gd name="T31" fmla="*/ 26 h 47"/>
                <a:gd name="T32" fmla="*/ 56 w 65"/>
                <a:gd name="T33" fmla="*/ 37 h 47"/>
                <a:gd name="T34" fmla="*/ 50 w 65"/>
                <a:gd name="T3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7">
                  <a:moveTo>
                    <a:pt x="1" y="2"/>
                  </a:moveTo>
                  <a:cubicBezTo>
                    <a:pt x="0" y="4"/>
                    <a:pt x="8" y="16"/>
                    <a:pt x="11" y="14"/>
                  </a:cubicBezTo>
                  <a:cubicBezTo>
                    <a:pt x="16" y="11"/>
                    <a:pt x="1" y="0"/>
                    <a:pt x="1" y="2"/>
                  </a:cubicBezTo>
                  <a:close/>
                  <a:moveTo>
                    <a:pt x="16" y="12"/>
                  </a:moveTo>
                  <a:cubicBezTo>
                    <a:pt x="16" y="13"/>
                    <a:pt x="21" y="19"/>
                    <a:pt x="23" y="18"/>
                  </a:cubicBezTo>
                  <a:cubicBezTo>
                    <a:pt x="24" y="17"/>
                    <a:pt x="16" y="11"/>
                    <a:pt x="16" y="12"/>
                  </a:cubicBezTo>
                  <a:close/>
                  <a:moveTo>
                    <a:pt x="43" y="27"/>
                  </a:moveTo>
                  <a:cubicBezTo>
                    <a:pt x="45" y="25"/>
                    <a:pt x="32" y="18"/>
                    <a:pt x="31" y="21"/>
                  </a:cubicBezTo>
                  <a:cubicBezTo>
                    <a:pt x="31" y="23"/>
                    <a:pt x="41" y="28"/>
                    <a:pt x="43" y="27"/>
                  </a:cubicBezTo>
                  <a:close/>
                  <a:moveTo>
                    <a:pt x="41" y="34"/>
                  </a:moveTo>
                  <a:cubicBezTo>
                    <a:pt x="42" y="38"/>
                    <a:pt x="47" y="40"/>
                    <a:pt x="49" y="39"/>
                  </a:cubicBezTo>
                  <a:cubicBezTo>
                    <a:pt x="52" y="37"/>
                    <a:pt x="40" y="31"/>
                    <a:pt x="41" y="34"/>
                  </a:cubicBezTo>
                  <a:close/>
                  <a:moveTo>
                    <a:pt x="56" y="42"/>
                  </a:moveTo>
                  <a:cubicBezTo>
                    <a:pt x="56" y="43"/>
                    <a:pt x="61" y="47"/>
                    <a:pt x="63" y="46"/>
                  </a:cubicBezTo>
                  <a:cubicBezTo>
                    <a:pt x="65" y="44"/>
                    <a:pt x="55" y="41"/>
                    <a:pt x="56" y="42"/>
                  </a:cubicBezTo>
                  <a:close/>
                  <a:moveTo>
                    <a:pt x="50" y="26"/>
                  </a:moveTo>
                  <a:cubicBezTo>
                    <a:pt x="48" y="30"/>
                    <a:pt x="55" y="37"/>
                    <a:pt x="56" y="37"/>
                  </a:cubicBezTo>
                  <a:cubicBezTo>
                    <a:pt x="57" y="37"/>
                    <a:pt x="51" y="23"/>
                    <a:pt x="50" y="2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199" name="Freeform 337">
              <a:extLst>
                <a:ext uri="{FF2B5EF4-FFF2-40B4-BE49-F238E27FC236}">
                  <a16:creationId xmlns:a16="http://schemas.microsoft.com/office/drawing/2014/main" id="{E536775A-737E-D88E-748A-4E5D8C54F4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16615" y="4448426"/>
              <a:ext cx="242856" cy="176190"/>
            </a:xfrm>
            <a:custGeom>
              <a:avLst/>
              <a:gdLst>
                <a:gd name="T0" fmla="*/ 1 w 65"/>
                <a:gd name="T1" fmla="*/ 2 h 47"/>
                <a:gd name="T2" fmla="*/ 11 w 65"/>
                <a:gd name="T3" fmla="*/ 14 h 47"/>
                <a:gd name="T4" fmla="*/ 1 w 65"/>
                <a:gd name="T5" fmla="*/ 2 h 47"/>
                <a:gd name="T6" fmla="*/ 16 w 65"/>
                <a:gd name="T7" fmla="*/ 12 h 47"/>
                <a:gd name="T8" fmla="*/ 23 w 65"/>
                <a:gd name="T9" fmla="*/ 18 h 47"/>
                <a:gd name="T10" fmla="*/ 16 w 65"/>
                <a:gd name="T11" fmla="*/ 12 h 47"/>
                <a:gd name="T12" fmla="*/ 43 w 65"/>
                <a:gd name="T13" fmla="*/ 27 h 47"/>
                <a:gd name="T14" fmla="*/ 31 w 65"/>
                <a:gd name="T15" fmla="*/ 21 h 47"/>
                <a:gd name="T16" fmla="*/ 43 w 65"/>
                <a:gd name="T17" fmla="*/ 27 h 47"/>
                <a:gd name="T18" fmla="*/ 41 w 65"/>
                <a:gd name="T19" fmla="*/ 34 h 47"/>
                <a:gd name="T20" fmla="*/ 49 w 65"/>
                <a:gd name="T21" fmla="*/ 39 h 47"/>
                <a:gd name="T22" fmla="*/ 41 w 65"/>
                <a:gd name="T23" fmla="*/ 34 h 47"/>
                <a:gd name="T24" fmla="*/ 56 w 65"/>
                <a:gd name="T25" fmla="*/ 42 h 47"/>
                <a:gd name="T26" fmla="*/ 63 w 65"/>
                <a:gd name="T27" fmla="*/ 46 h 47"/>
                <a:gd name="T28" fmla="*/ 56 w 65"/>
                <a:gd name="T29" fmla="*/ 42 h 47"/>
                <a:gd name="T30" fmla="*/ 50 w 65"/>
                <a:gd name="T31" fmla="*/ 26 h 47"/>
                <a:gd name="T32" fmla="*/ 56 w 65"/>
                <a:gd name="T33" fmla="*/ 37 h 47"/>
                <a:gd name="T34" fmla="*/ 50 w 65"/>
                <a:gd name="T3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7">
                  <a:moveTo>
                    <a:pt x="1" y="2"/>
                  </a:moveTo>
                  <a:cubicBezTo>
                    <a:pt x="0" y="4"/>
                    <a:pt x="8" y="16"/>
                    <a:pt x="11" y="14"/>
                  </a:cubicBezTo>
                  <a:cubicBezTo>
                    <a:pt x="16" y="11"/>
                    <a:pt x="1" y="0"/>
                    <a:pt x="1" y="2"/>
                  </a:cubicBezTo>
                  <a:close/>
                  <a:moveTo>
                    <a:pt x="16" y="12"/>
                  </a:moveTo>
                  <a:cubicBezTo>
                    <a:pt x="16" y="13"/>
                    <a:pt x="21" y="19"/>
                    <a:pt x="23" y="18"/>
                  </a:cubicBezTo>
                  <a:cubicBezTo>
                    <a:pt x="24" y="17"/>
                    <a:pt x="16" y="11"/>
                    <a:pt x="16" y="12"/>
                  </a:cubicBezTo>
                  <a:close/>
                  <a:moveTo>
                    <a:pt x="43" y="27"/>
                  </a:moveTo>
                  <a:cubicBezTo>
                    <a:pt x="45" y="25"/>
                    <a:pt x="32" y="18"/>
                    <a:pt x="31" y="21"/>
                  </a:cubicBezTo>
                  <a:cubicBezTo>
                    <a:pt x="31" y="23"/>
                    <a:pt x="41" y="28"/>
                    <a:pt x="43" y="27"/>
                  </a:cubicBezTo>
                  <a:close/>
                  <a:moveTo>
                    <a:pt x="41" y="34"/>
                  </a:moveTo>
                  <a:cubicBezTo>
                    <a:pt x="42" y="38"/>
                    <a:pt x="47" y="40"/>
                    <a:pt x="49" y="39"/>
                  </a:cubicBezTo>
                  <a:cubicBezTo>
                    <a:pt x="52" y="37"/>
                    <a:pt x="40" y="31"/>
                    <a:pt x="41" y="34"/>
                  </a:cubicBezTo>
                  <a:close/>
                  <a:moveTo>
                    <a:pt x="56" y="42"/>
                  </a:moveTo>
                  <a:cubicBezTo>
                    <a:pt x="56" y="43"/>
                    <a:pt x="61" y="47"/>
                    <a:pt x="63" y="46"/>
                  </a:cubicBezTo>
                  <a:cubicBezTo>
                    <a:pt x="65" y="44"/>
                    <a:pt x="55" y="41"/>
                    <a:pt x="56" y="42"/>
                  </a:cubicBezTo>
                  <a:close/>
                  <a:moveTo>
                    <a:pt x="50" y="26"/>
                  </a:moveTo>
                  <a:cubicBezTo>
                    <a:pt x="48" y="30"/>
                    <a:pt x="55" y="37"/>
                    <a:pt x="56" y="37"/>
                  </a:cubicBezTo>
                  <a:cubicBezTo>
                    <a:pt x="57" y="37"/>
                    <a:pt x="51" y="23"/>
                    <a:pt x="50" y="2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0" name="Freeform 338">
              <a:extLst>
                <a:ext uri="{FF2B5EF4-FFF2-40B4-BE49-F238E27FC236}">
                  <a16:creationId xmlns:a16="http://schemas.microsoft.com/office/drawing/2014/main" id="{45584FD8-A9A3-63C1-73BE-7E556731CC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48368" y="4616674"/>
              <a:ext cx="1238090" cy="1104756"/>
            </a:xfrm>
            <a:custGeom>
              <a:avLst/>
              <a:gdLst>
                <a:gd name="T0" fmla="*/ 326 w 330"/>
                <a:gd name="T1" fmla="*/ 128 h 294"/>
                <a:gd name="T2" fmla="*/ 312 w 330"/>
                <a:gd name="T3" fmla="*/ 114 h 294"/>
                <a:gd name="T4" fmla="*/ 302 w 330"/>
                <a:gd name="T5" fmla="*/ 100 h 294"/>
                <a:gd name="T6" fmla="*/ 293 w 330"/>
                <a:gd name="T7" fmla="*/ 89 h 294"/>
                <a:gd name="T8" fmla="*/ 269 w 330"/>
                <a:gd name="T9" fmla="*/ 66 h 294"/>
                <a:gd name="T10" fmla="*/ 262 w 330"/>
                <a:gd name="T11" fmla="*/ 38 h 294"/>
                <a:gd name="T12" fmla="*/ 247 w 330"/>
                <a:gd name="T13" fmla="*/ 24 h 294"/>
                <a:gd name="T14" fmla="*/ 235 w 330"/>
                <a:gd name="T15" fmla="*/ 7 h 294"/>
                <a:gd name="T16" fmla="*/ 231 w 330"/>
                <a:gd name="T17" fmla="*/ 37 h 294"/>
                <a:gd name="T18" fmla="*/ 212 w 330"/>
                <a:gd name="T19" fmla="*/ 55 h 294"/>
                <a:gd name="T20" fmla="*/ 189 w 330"/>
                <a:gd name="T21" fmla="*/ 42 h 294"/>
                <a:gd name="T22" fmla="*/ 185 w 330"/>
                <a:gd name="T23" fmla="*/ 25 h 294"/>
                <a:gd name="T24" fmla="*/ 191 w 330"/>
                <a:gd name="T25" fmla="*/ 12 h 294"/>
                <a:gd name="T26" fmla="*/ 179 w 330"/>
                <a:gd name="T27" fmla="*/ 14 h 294"/>
                <a:gd name="T28" fmla="*/ 158 w 330"/>
                <a:gd name="T29" fmla="*/ 10 h 294"/>
                <a:gd name="T30" fmla="*/ 138 w 330"/>
                <a:gd name="T31" fmla="*/ 23 h 294"/>
                <a:gd name="T32" fmla="*/ 131 w 330"/>
                <a:gd name="T33" fmla="*/ 37 h 294"/>
                <a:gd name="T34" fmla="*/ 119 w 330"/>
                <a:gd name="T35" fmla="*/ 31 h 294"/>
                <a:gd name="T36" fmla="*/ 105 w 330"/>
                <a:gd name="T37" fmla="*/ 33 h 294"/>
                <a:gd name="T38" fmla="*/ 94 w 330"/>
                <a:gd name="T39" fmla="*/ 39 h 294"/>
                <a:gd name="T40" fmla="*/ 87 w 330"/>
                <a:gd name="T41" fmla="*/ 53 h 294"/>
                <a:gd name="T42" fmla="*/ 75 w 330"/>
                <a:gd name="T43" fmla="*/ 54 h 294"/>
                <a:gd name="T44" fmla="*/ 49 w 330"/>
                <a:gd name="T45" fmla="*/ 79 h 294"/>
                <a:gd name="T46" fmla="*/ 24 w 330"/>
                <a:gd name="T47" fmla="*/ 87 h 294"/>
                <a:gd name="T48" fmla="*/ 9 w 330"/>
                <a:gd name="T49" fmla="*/ 93 h 294"/>
                <a:gd name="T50" fmla="*/ 4 w 330"/>
                <a:gd name="T51" fmla="*/ 121 h 294"/>
                <a:gd name="T52" fmla="*/ 6 w 330"/>
                <a:gd name="T53" fmla="*/ 133 h 294"/>
                <a:gd name="T54" fmla="*/ 15 w 330"/>
                <a:gd name="T55" fmla="*/ 162 h 294"/>
                <a:gd name="T56" fmla="*/ 16 w 330"/>
                <a:gd name="T57" fmla="*/ 198 h 294"/>
                <a:gd name="T58" fmla="*/ 40 w 330"/>
                <a:gd name="T59" fmla="*/ 210 h 294"/>
                <a:gd name="T60" fmla="*/ 74 w 330"/>
                <a:gd name="T61" fmla="*/ 200 h 294"/>
                <a:gd name="T62" fmla="*/ 112 w 330"/>
                <a:gd name="T63" fmla="*/ 186 h 294"/>
                <a:gd name="T64" fmla="*/ 156 w 330"/>
                <a:gd name="T65" fmla="*/ 183 h 294"/>
                <a:gd name="T66" fmla="*/ 171 w 330"/>
                <a:gd name="T67" fmla="*/ 192 h 294"/>
                <a:gd name="T68" fmla="*/ 187 w 330"/>
                <a:gd name="T69" fmla="*/ 205 h 294"/>
                <a:gd name="T70" fmla="*/ 198 w 330"/>
                <a:gd name="T71" fmla="*/ 203 h 294"/>
                <a:gd name="T72" fmla="*/ 205 w 330"/>
                <a:gd name="T73" fmla="*/ 207 h 294"/>
                <a:gd name="T74" fmla="*/ 217 w 330"/>
                <a:gd name="T75" fmla="*/ 226 h 294"/>
                <a:gd name="T76" fmla="*/ 245 w 330"/>
                <a:gd name="T77" fmla="*/ 246 h 294"/>
                <a:gd name="T78" fmla="*/ 260 w 330"/>
                <a:gd name="T79" fmla="*/ 244 h 294"/>
                <a:gd name="T80" fmla="*/ 270 w 330"/>
                <a:gd name="T81" fmla="*/ 249 h 294"/>
                <a:gd name="T82" fmla="*/ 298 w 330"/>
                <a:gd name="T83" fmla="*/ 236 h 294"/>
                <a:gd name="T84" fmla="*/ 316 w 330"/>
                <a:gd name="T85" fmla="*/ 190 h 294"/>
                <a:gd name="T86" fmla="*/ 327 w 330"/>
                <a:gd name="T87" fmla="*/ 163 h 294"/>
                <a:gd name="T88" fmla="*/ 149 w 330"/>
                <a:gd name="T89" fmla="*/ 8 h 294"/>
                <a:gd name="T90" fmla="*/ 189 w 330"/>
                <a:gd name="T91" fmla="*/ 219 h 294"/>
                <a:gd name="T92" fmla="*/ 270 w 330"/>
                <a:gd name="T93" fmla="*/ 269 h 294"/>
                <a:gd name="T94" fmla="*/ 271 w 330"/>
                <a:gd name="T95" fmla="*/ 293 h 294"/>
                <a:gd name="T96" fmla="*/ 282 w 330"/>
                <a:gd name="T97" fmla="*/ 287 h 294"/>
                <a:gd name="T98" fmla="*/ 270 w 330"/>
                <a:gd name="T99" fmla="*/ 269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0" h="294">
                  <a:moveTo>
                    <a:pt x="328" y="148"/>
                  </a:moveTo>
                  <a:cubicBezTo>
                    <a:pt x="329" y="147"/>
                    <a:pt x="327" y="141"/>
                    <a:pt x="326" y="142"/>
                  </a:cubicBezTo>
                  <a:cubicBezTo>
                    <a:pt x="325" y="143"/>
                    <a:pt x="325" y="133"/>
                    <a:pt x="326" y="128"/>
                  </a:cubicBezTo>
                  <a:cubicBezTo>
                    <a:pt x="327" y="124"/>
                    <a:pt x="326" y="124"/>
                    <a:pt x="324" y="127"/>
                  </a:cubicBezTo>
                  <a:cubicBezTo>
                    <a:pt x="321" y="129"/>
                    <a:pt x="319" y="122"/>
                    <a:pt x="318" y="121"/>
                  </a:cubicBezTo>
                  <a:cubicBezTo>
                    <a:pt x="318" y="119"/>
                    <a:pt x="315" y="114"/>
                    <a:pt x="312" y="114"/>
                  </a:cubicBezTo>
                  <a:cubicBezTo>
                    <a:pt x="309" y="115"/>
                    <a:pt x="311" y="110"/>
                    <a:pt x="308" y="111"/>
                  </a:cubicBezTo>
                  <a:cubicBezTo>
                    <a:pt x="305" y="111"/>
                    <a:pt x="305" y="107"/>
                    <a:pt x="305" y="102"/>
                  </a:cubicBezTo>
                  <a:cubicBezTo>
                    <a:pt x="306" y="98"/>
                    <a:pt x="303" y="101"/>
                    <a:pt x="302" y="100"/>
                  </a:cubicBezTo>
                  <a:cubicBezTo>
                    <a:pt x="301" y="98"/>
                    <a:pt x="300" y="99"/>
                    <a:pt x="298" y="100"/>
                  </a:cubicBezTo>
                  <a:cubicBezTo>
                    <a:pt x="296" y="101"/>
                    <a:pt x="295" y="96"/>
                    <a:pt x="296" y="95"/>
                  </a:cubicBezTo>
                  <a:cubicBezTo>
                    <a:pt x="296" y="93"/>
                    <a:pt x="295" y="91"/>
                    <a:pt x="293" y="89"/>
                  </a:cubicBezTo>
                  <a:cubicBezTo>
                    <a:pt x="290" y="87"/>
                    <a:pt x="290" y="85"/>
                    <a:pt x="290" y="83"/>
                  </a:cubicBezTo>
                  <a:cubicBezTo>
                    <a:pt x="290" y="80"/>
                    <a:pt x="275" y="73"/>
                    <a:pt x="271" y="72"/>
                  </a:cubicBezTo>
                  <a:cubicBezTo>
                    <a:pt x="268" y="71"/>
                    <a:pt x="271" y="68"/>
                    <a:pt x="269" y="66"/>
                  </a:cubicBezTo>
                  <a:cubicBezTo>
                    <a:pt x="268" y="65"/>
                    <a:pt x="267" y="60"/>
                    <a:pt x="267" y="57"/>
                  </a:cubicBezTo>
                  <a:cubicBezTo>
                    <a:pt x="267" y="53"/>
                    <a:pt x="262" y="51"/>
                    <a:pt x="263" y="48"/>
                  </a:cubicBezTo>
                  <a:cubicBezTo>
                    <a:pt x="263" y="45"/>
                    <a:pt x="261" y="42"/>
                    <a:pt x="262" y="38"/>
                  </a:cubicBezTo>
                  <a:cubicBezTo>
                    <a:pt x="262" y="35"/>
                    <a:pt x="256" y="34"/>
                    <a:pt x="256" y="32"/>
                  </a:cubicBezTo>
                  <a:cubicBezTo>
                    <a:pt x="256" y="30"/>
                    <a:pt x="253" y="32"/>
                    <a:pt x="250" y="32"/>
                  </a:cubicBezTo>
                  <a:cubicBezTo>
                    <a:pt x="247" y="32"/>
                    <a:pt x="247" y="28"/>
                    <a:pt x="247" y="24"/>
                  </a:cubicBezTo>
                  <a:cubicBezTo>
                    <a:pt x="248" y="20"/>
                    <a:pt x="246" y="13"/>
                    <a:pt x="244" y="11"/>
                  </a:cubicBezTo>
                  <a:cubicBezTo>
                    <a:pt x="241" y="9"/>
                    <a:pt x="241" y="2"/>
                    <a:pt x="240" y="1"/>
                  </a:cubicBezTo>
                  <a:cubicBezTo>
                    <a:pt x="239" y="0"/>
                    <a:pt x="234" y="5"/>
                    <a:pt x="235" y="7"/>
                  </a:cubicBezTo>
                  <a:cubicBezTo>
                    <a:pt x="235" y="10"/>
                    <a:pt x="234" y="12"/>
                    <a:pt x="233" y="14"/>
                  </a:cubicBezTo>
                  <a:cubicBezTo>
                    <a:pt x="231" y="15"/>
                    <a:pt x="234" y="21"/>
                    <a:pt x="232" y="23"/>
                  </a:cubicBezTo>
                  <a:cubicBezTo>
                    <a:pt x="229" y="25"/>
                    <a:pt x="231" y="32"/>
                    <a:pt x="231" y="37"/>
                  </a:cubicBezTo>
                  <a:cubicBezTo>
                    <a:pt x="230" y="41"/>
                    <a:pt x="230" y="46"/>
                    <a:pt x="228" y="49"/>
                  </a:cubicBezTo>
                  <a:cubicBezTo>
                    <a:pt x="226" y="52"/>
                    <a:pt x="226" y="57"/>
                    <a:pt x="222" y="59"/>
                  </a:cubicBezTo>
                  <a:cubicBezTo>
                    <a:pt x="217" y="60"/>
                    <a:pt x="212" y="57"/>
                    <a:pt x="212" y="55"/>
                  </a:cubicBezTo>
                  <a:cubicBezTo>
                    <a:pt x="212" y="52"/>
                    <a:pt x="207" y="51"/>
                    <a:pt x="205" y="51"/>
                  </a:cubicBezTo>
                  <a:cubicBezTo>
                    <a:pt x="202" y="52"/>
                    <a:pt x="201" y="48"/>
                    <a:pt x="197" y="45"/>
                  </a:cubicBezTo>
                  <a:cubicBezTo>
                    <a:pt x="193" y="42"/>
                    <a:pt x="190" y="46"/>
                    <a:pt x="189" y="42"/>
                  </a:cubicBezTo>
                  <a:cubicBezTo>
                    <a:pt x="187" y="39"/>
                    <a:pt x="186" y="38"/>
                    <a:pt x="183" y="36"/>
                  </a:cubicBezTo>
                  <a:cubicBezTo>
                    <a:pt x="180" y="34"/>
                    <a:pt x="181" y="34"/>
                    <a:pt x="184" y="32"/>
                  </a:cubicBezTo>
                  <a:cubicBezTo>
                    <a:pt x="187" y="30"/>
                    <a:pt x="186" y="28"/>
                    <a:pt x="185" y="25"/>
                  </a:cubicBezTo>
                  <a:cubicBezTo>
                    <a:pt x="183" y="23"/>
                    <a:pt x="186" y="24"/>
                    <a:pt x="190" y="22"/>
                  </a:cubicBezTo>
                  <a:cubicBezTo>
                    <a:pt x="193" y="20"/>
                    <a:pt x="190" y="17"/>
                    <a:pt x="192" y="16"/>
                  </a:cubicBezTo>
                  <a:cubicBezTo>
                    <a:pt x="195" y="15"/>
                    <a:pt x="194" y="13"/>
                    <a:pt x="191" y="12"/>
                  </a:cubicBezTo>
                  <a:cubicBezTo>
                    <a:pt x="188" y="12"/>
                    <a:pt x="189" y="15"/>
                    <a:pt x="188" y="16"/>
                  </a:cubicBezTo>
                  <a:cubicBezTo>
                    <a:pt x="187" y="16"/>
                    <a:pt x="186" y="11"/>
                    <a:pt x="185" y="11"/>
                  </a:cubicBezTo>
                  <a:cubicBezTo>
                    <a:pt x="184" y="11"/>
                    <a:pt x="180" y="16"/>
                    <a:pt x="179" y="14"/>
                  </a:cubicBezTo>
                  <a:cubicBezTo>
                    <a:pt x="177" y="11"/>
                    <a:pt x="167" y="9"/>
                    <a:pt x="163" y="9"/>
                  </a:cubicBezTo>
                  <a:cubicBezTo>
                    <a:pt x="159" y="8"/>
                    <a:pt x="158" y="3"/>
                    <a:pt x="155" y="4"/>
                  </a:cubicBezTo>
                  <a:cubicBezTo>
                    <a:pt x="153" y="5"/>
                    <a:pt x="156" y="7"/>
                    <a:pt x="158" y="10"/>
                  </a:cubicBezTo>
                  <a:cubicBezTo>
                    <a:pt x="161" y="12"/>
                    <a:pt x="150" y="14"/>
                    <a:pt x="146" y="13"/>
                  </a:cubicBezTo>
                  <a:cubicBezTo>
                    <a:pt x="143" y="12"/>
                    <a:pt x="147" y="16"/>
                    <a:pt x="144" y="16"/>
                  </a:cubicBezTo>
                  <a:cubicBezTo>
                    <a:pt x="141" y="16"/>
                    <a:pt x="140" y="21"/>
                    <a:pt x="138" y="23"/>
                  </a:cubicBezTo>
                  <a:cubicBezTo>
                    <a:pt x="136" y="26"/>
                    <a:pt x="137" y="27"/>
                    <a:pt x="135" y="29"/>
                  </a:cubicBezTo>
                  <a:cubicBezTo>
                    <a:pt x="132" y="30"/>
                    <a:pt x="132" y="32"/>
                    <a:pt x="135" y="36"/>
                  </a:cubicBezTo>
                  <a:cubicBezTo>
                    <a:pt x="138" y="39"/>
                    <a:pt x="134" y="39"/>
                    <a:pt x="131" y="37"/>
                  </a:cubicBezTo>
                  <a:cubicBezTo>
                    <a:pt x="128" y="34"/>
                    <a:pt x="126" y="34"/>
                    <a:pt x="126" y="37"/>
                  </a:cubicBezTo>
                  <a:cubicBezTo>
                    <a:pt x="126" y="40"/>
                    <a:pt x="123" y="39"/>
                    <a:pt x="123" y="35"/>
                  </a:cubicBezTo>
                  <a:cubicBezTo>
                    <a:pt x="124" y="32"/>
                    <a:pt x="120" y="33"/>
                    <a:pt x="119" y="31"/>
                  </a:cubicBezTo>
                  <a:cubicBezTo>
                    <a:pt x="118" y="29"/>
                    <a:pt x="114" y="26"/>
                    <a:pt x="112" y="26"/>
                  </a:cubicBezTo>
                  <a:cubicBezTo>
                    <a:pt x="110" y="27"/>
                    <a:pt x="110" y="29"/>
                    <a:pt x="107" y="29"/>
                  </a:cubicBezTo>
                  <a:cubicBezTo>
                    <a:pt x="105" y="29"/>
                    <a:pt x="105" y="30"/>
                    <a:pt x="105" y="33"/>
                  </a:cubicBezTo>
                  <a:cubicBezTo>
                    <a:pt x="105" y="35"/>
                    <a:pt x="101" y="33"/>
                    <a:pt x="99" y="33"/>
                  </a:cubicBezTo>
                  <a:cubicBezTo>
                    <a:pt x="96" y="33"/>
                    <a:pt x="99" y="36"/>
                    <a:pt x="97" y="37"/>
                  </a:cubicBezTo>
                  <a:cubicBezTo>
                    <a:pt x="96" y="37"/>
                    <a:pt x="96" y="39"/>
                    <a:pt x="94" y="39"/>
                  </a:cubicBezTo>
                  <a:cubicBezTo>
                    <a:pt x="91" y="39"/>
                    <a:pt x="92" y="44"/>
                    <a:pt x="92" y="47"/>
                  </a:cubicBezTo>
                  <a:cubicBezTo>
                    <a:pt x="92" y="50"/>
                    <a:pt x="88" y="46"/>
                    <a:pt x="86" y="47"/>
                  </a:cubicBezTo>
                  <a:cubicBezTo>
                    <a:pt x="84" y="47"/>
                    <a:pt x="87" y="50"/>
                    <a:pt x="87" y="53"/>
                  </a:cubicBezTo>
                  <a:cubicBezTo>
                    <a:pt x="88" y="56"/>
                    <a:pt x="86" y="55"/>
                    <a:pt x="85" y="57"/>
                  </a:cubicBezTo>
                  <a:cubicBezTo>
                    <a:pt x="84" y="58"/>
                    <a:pt x="82" y="53"/>
                    <a:pt x="82" y="51"/>
                  </a:cubicBezTo>
                  <a:cubicBezTo>
                    <a:pt x="82" y="48"/>
                    <a:pt x="79" y="50"/>
                    <a:pt x="75" y="54"/>
                  </a:cubicBezTo>
                  <a:cubicBezTo>
                    <a:pt x="72" y="57"/>
                    <a:pt x="76" y="62"/>
                    <a:pt x="75" y="63"/>
                  </a:cubicBezTo>
                  <a:cubicBezTo>
                    <a:pt x="74" y="64"/>
                    <a:pt x="67" y="70"/>
                    <a:pt x="63" y="75"/>
                  </a:cubicBezTo>
                  <a:cubicBezTo>
                    <a:pt x="60" y="79"/>
                    <a:pt x="52" y="77"/>
                    <a:pt x="49" y="79"/>
                  </a:cubicBezTo>
                  <a:cubicBezTo>
                    <a:pt x="47" y="81"/>
                    <a:pt x="44" y="79"/>
                    <a:pt x="41" y="81"/>
                  </a:cubicBezTo>
                  <a:cubicBezTo>
                    <a:pt x="39" y="83"/>
                    <a:pt x="34" y="87"/>
                    <a:pt x="34" y="85"/>
                  </a:cubicBezTo>
                  <a:cubicBezTo>
                    <a:pt x="33" y="82"/>
                    <a:pt x="27" y="84"/>
                    <a:pt x="24" y="87"/>
                  </a:cubicBezTo>
                  <a:cubicBezTo>
                    <a:pt x="21" y="90"/>
                    <a:pt x="17" y="92"/>
                    <a:pt x="14" y="92"/>
                  </a:cubicBezTo>
                  <a:cubicBezTo>
                    <a:pt x="11" y="93"/>
                    <a:pt x="11" y="97"/>
                    <a:pt x="10" y="98"/>
                  </a:cubicBezTo>
                  <a:cubicBezTo>
                    <a:pt x="9" y="99"/>
                    <a:pt x="9" y="95"/>
                    <a:pt x="9" y="93"/>
                  </a:cubicBezTo>
                  <a:cubicBezTo>
                    <a:pt x="9" y="92"/>
                    <a:pt x="6" y="95"/>
                    <a:pt x="5" y="99"/>
                  </a:cubicBezTo>
                  <a:cubicBezTo>
                    <a:pt x="4" y="103"/>
                    <a:pt x="8" y="104"/>
                    <a:pt x="5" y="108"/>
                  </a:cubicBezTo>
                  <a:cubicBezTo>
                    <a:pt x="3" y="112"/>
                    <a:pt x="0" y="116"/>
                    <a:pt x="4" y="121"/>
                  </a:cubicBezTo>
                  <a:cubicBezTo>
                    <a:pt x="8" y="126"/>
                    <a:pt x="10" y="129"/>
                    <a:pt x="8" y="132"/>
                  </a:cubicBezTo>
                  <a:cubicBezTo>
                    <a:pt x="7" y="134"/>
                    <a:pt x="5" y="127"/>
                    <a:pt x="4" y="128"/>
                  </a:cubicBezTo>
                  <a:cubicBezTo>
                    <a:pt x="3" y="129"/>
                    <a:pt x="7" y="132"/>
                    <a:pt x="6" y="133"/>
                  </a:cubicBezTo>
                  <a:cubicBezTo>
                    <a:pt x="5" y="135"/>
                    <a:pt x="1" y="127"/>
                    <a:pt x="0" y="129"/>
                  </a:cubicBezTo>
                  <a:cubicBezTo>
                    <a:pt x="0" y="131"/>
                    <a:pt x="8" y="143"/>
                    <a:pt x="8" y="147"/>
                  </a:cubicBezTo>
                  <a:cubicBezTo>
                    <a:pt x="9" y="152"/>
                    <a:pt x="16" y="156"/>
                    <a:pt x="15" y="162"/>
                  </a:cubicBezTo>
                  <a:cubicBezTo>
                    <a:pt x="15" y="169"/>
                    <a:pt x="21" y="179"/>
                    <a:pt x="22" y="181"/>
                  </a:cubicBezTo>
                  <a:cubicBezTo>
                    <a:pt x="23" y="182"/>
                    <a:pt x="20" y="187"/>
                    <a:pt x="21" y="192"/>
                  </a:cubicBezTo>
                  <a:cubicBezTo>
                    <a:pt x="21" y="196"/>
                    <a:pt x="19" y="198"/>
                    <a:pt x="16" y="198"/>
                  </a:cubicBezTo>
                  <a:cubicBezTo>
                    <a:pt x="13" y="198"/>
                    <a:pt x="15" y="203"/>
                    <a:pt x="18" y="203"/>
                  </a:cubicBezTo>
                  <a:cubicBezTo>
                    <a:pt x="21" y="204"/>
                    <a:pt x="20" y="206"/>
                    <a:pt x="24" y="209"/>
                  </a:cubicBezTo>
                  <a:cubicBezTo>
                    <a:pt x="28" y="211"/>
                    <a:pt x="37" y="210"/>
                    <a:pt x="40" y="210"/>
                  </a:cubicBezTo>
                  <a:cubicBezTo>
                    <a:pt x="43" y="210"/>
                    <a:pt x="44" y="206"/>
                    <a:pt x="48" y="205"/>
                  </a:cubicBezTo>
                  <a:cubicBezTo>
                    <a:pt x="52" y="205"/>
                    <a:pt x="51" y="204"/>
                    <a:pt x="53" y="202"/>
                  </a:cubicBezTo>
                  <a:cubicBezTo>
                    <a:pt x="55" y="199"/>
                    <a:pt x="65" y="200"/>
                    <a:pt x="74" y="200"/>
                  </a:cubicBezTo>
                  <a:cubicBezTo>
                    <a:pt x="84" y="201"/>
                    <a:pt x="88" y="198"/>
                    <a:pt x="89" y="194"/>
                  </a:cubicBezTo>
                  <a:cubicBezTo>
                    <a:pt x="90" y="191"/>
                    <a:pt x="97" y="190"/>
                    <a:pt x="100" y="188"/>
                  </a:cubicBezTo>
                  <a:cubicBezTo>
                    <a:pt x="102" y="185"/>
                    <a:pt x="105" y="185"/>
                    <a:pt x="112" y="186"/>
                  </a:cubicBezTo>
                  <a:cubicBezTo>
                    <a:pt x="119" y="186"/>
                    <a:pt x="125" y="182"/>
                    <a:pt x="130" y="180"/>
                  </a:cubicBezTo>
                  <a:cubicBezTo>
                    <a:pt x="134" y="179"/>
                    <a:pt x="142" y="179"/>
                    <a:pt x="146" y="178"/>
                  </a:cubicBezTo>
                  <a:cubicBezTo>
                    <a:pt x="151" y="177"/>
                    <a:pt x="151" y="184"/>
                    <a:pt x="156" y="183"/>
                  </a:cubicBezTo>
                  <a:cubicBezTo>
                    <a:pt x="161" y="183"/>
                    <a:pt x="163" y="185"/>
                    <a:pt x="166" y="184"/>
                  </a:cubicBezTo>
                  <a:cubicBezTo>
                    <a:pt x="168" y="184"/>
                    <a:pt x="168" y="186"/>
                    <a:pt x="170" y="187"/>
                  </a:cubicBezTo>
                  <a:cubicBezTo>
                    <a:pt x="173" y="187"/>
                    <a:pt x="173" y="189"/>
                    <a:pt x="171" y="192"/>
                  </a:cubicBezTo>
                  <a:cubicBezTo>
                    <a:pt x="169" y="194"/>
                    <a:pt x="175" y="194"/>
                    <a:pt x="178" y="198"/>
                  </a:cubicBezTo>
                  <a:cubicBezTo>
                    <a:pt x="181" y="203"/>
                    <a:pt x="178" y="204"/>
                    <a:pt x="180" y="207"/>
                  </a:cubicBezTo>
                  <a:cubicBezTo>
                    <a:pt x="182" y="211"/>
                    <a:pt x="183" y="210"/>
                    <a:pt x="187" y="205"/>
                  </a:cubicBezTo>
                  <a:cubicBezTo>
                    <a:pt x="190" y="200"/>
                    <a:pt x="194" y="203"/>
                    <a:pt x="195" y="199"/>
                  </a:cubicBezTo>
                  <a:cubicBezTo>
                    <a:pt x="195" y="195"/>
                    <a:pt x="199" y="190"/>
                    <a:pt x="201" y="192"/>
                  </a:cubicBezTo>
                  <a:cubicBezTo>
                    <a:pt x="204" y="194"/>
                    <a:pt x="200" y="195"/>
                    <a:pt x="198" y="203"/>
                  </a:cubicBezTo>
                  <a:cubicBezTo>
                    <a:pt x="196" y="212"/>
                    <a:pt x="194" y="207"/>
                    <a:pt x="193" y="210"/>
                  </a:cubicBezTo>
                  <a:cubicBezTo>
                    <a:pt x="192" y="212"/>
                    <a:pt x="201" y="213"/>
                    <a:pt x="201" y="209"/>
                  </a:cubicBezTo>
                  <a:cubicBezTo>
                    <a:pt x="201" y="205"/>
                    <a:pt x="202" y="203"/>
                    <a:pt x="205" y="207"/>
                  </a:cubicBezTo>
                  <a:cubicBezTo>
                    <a:pt x="208" y="210"/>
                    <a:pt x="203" y="214"/>
                    <a:pt x="204" y="215"/>
                  </a:cubicBezTo>
                  <a:cubicBezTo>
                    <a:pt x="205" y="217"/>
                    <a:pt x="208" y="215"/>
                    <a:pt x="210" y="215"/>
                  </a:cubicBezTo>
                  <a:cubicBezTo>
                    <a:pt x="213" y="215"/>
                    <a:pt x="217" y="222"/>
                    <a:pt x="217" y="226"/>
                  </a:cubicBezTo>
                  <a:cubicBezTo>
                    <a:pt x="216" y="230"/>
                    <a:pt x="215" y="233"/>
                    <a:pt x="221" y="236"/>
                  </a:cubicBezTo>
                  <a:cubicBezTo>
                    <a:pt x="227" y="240"/>
                    <a:pt x="225" y="240"/>
                    <a:pt x="229" y="240"/>
                  </a:cubicBezTo>
                  <a:cubicBezTo>
                    <a:pt x="234" y="240"/>
                    <a:pt x="243" y="244"/>
                    <a:pt x="245" y="246"/>
                  </a:cubicBezTo>
                  <a:cubicBezTo>
                    <a:pt x="248" y="248"/>
                    <a:pt x="254" y="244"/>
                    <a:pt x="255" y="240"/>
                  </a:cubicBezTo>
                  <a:cubicBezTo>
                    <a:pt x="257" y="236"/>
                    <a:pt x="261" y="240"/>
                    <a:pt x="259" y="241"/>
                  </a:cubicBezTo>
                  <a:cubicBezTo>
                    <a:pt x="256" y="243"/>
                    <a:pt x="260" y="246"/>
                    <a:pt x="260" y="244"/>
                  </a:cubicBezTo>
                  <a:cubicBezTo>
                    <a:pt x="260" y="241"/>
                    <a:pt x="262" y="239"/>
                    <a:pt x="262" y="242"/>
                  </a:cubicBezTo>
                  <a:cubicBezTo>
                    <a:pt x="263" y="245"/>
                    <a:pt x="267" y="245"/>
                    <a:pt x="268" y="247"/>
                  </a:cubicBezTo>
                  <a:cubicBezTo>
                    <a:pt x="269" y="249"/>
                    <a:pt x="270" y="251"/>
                    <a:pt x="270" y="249"/>
                  </a:cubicBezTo>
                  <a:cubicBezTo>
                    <a:pt x="270" y="247"/>
                    <a:pt x="271" y="245"/>
                    <a:pt x="274" y="244"/>
                  </a:cubicBezTo>
                  <a:cubicBezTo>
                    <a:pt x="277" y="243"/>
                    <a:pt x="279" y="241"/>
                    <a:pt x="282" y="239"/>
                  </a:cubicBezTo>
                  <a:cubicBezTo>
                    <a:pt x="285" y="236"/>
                    <a:pt x="297" y="236"/>
                    <a:pt x="298" y="236"/>
                  </a:cubicBezTo>
                  <a:cubicBezTo>
                    <a:pt x="300" y="236"/>
                    <a:pt x="300" y="225"/>
                    <a:pt x="301" y="220"/>
                  </a:cubicBezTo>
                  <a:cubicBezTo>
                    <a:pt x="302" y="214"/>
                    <a:pt x="306" y="213"/>
                    <a:pt x="307" y="207"/>
                  </a:cubicBezTo>
                  <a:cubicBezTo>
                    <a:pt x="308" y="201"/>
                    <a:pt x="314" y="190"/>
                    <a:pt x="316" y="190"/>
                  </a:cubicBezTo>
                  <a:cubicBezTo>
                    <a:pt x="317" y="189"/>
                    <a:pt x="320" y="188"/>
                    <a:pt x="321" y="184"/>
                  </a:cubicBezTo>
                  <a:cubicBezTo>
                    <a:pt x="321" y="181"/>
                    <a:pt x="325" y="177"/>
                    <a:pt x="325" y="173"/>
                  </a:cubicBezTo>
                  <a:cubicBezTo>
                    <a:pt x="325" y="169"/>
                    <a:pt x="327" y="164"/>
                    <a:pt x="327" y="163"/>
                  </a:cubicBezTo>
                  <a:cubicBezTo>
                    <a:pt x="326" y="162"/>
                    <a:pt x="325" y="158"/>
                    <a:pt x="328" y="155"/>
                  </a:cubicBezTo>
                  <a:cubicBezTo>
                    <a:pt x="330" y="152"/>
                    <a:pt x="327" y="149"/>
                    <a:pt x="328" y="148"/>
                  </a:cubicBezTo>
                  <a:close/>
                  <a:moveTo>
                    <a:pt x="149" y="8"/>
                  </a:moveTo>
                  <a:cubicBezTo>
                    <a:pt x="149" y="6"/>
                    <a:pt x="136" y="8"/>
                    <a:pt x="139" y="11"/>
                  </a:cubicBezTo>
                  <a:cubicBezTo>
                    <a:pt x="141" y="12"/>
                    <a:pt x="150" y="10"/>
                    <a:pt x="149" y="8"/>
                  </a:cubicBezTo>
                  <a:close/>
                  <a:moveTo>
                    <a:pt x="189" y="219"/>
                  </a:moveTo>
                  <a:cubicBezTo>
                    <a:pt x="191" y="221"/>
                    <a:pt x="198" y="220"/>
                    <a:pt x="199" y="218"/>
                  </a:cubicBezTo>
                  <a:cubicBezTo>
                    <a:pt x="200" y="215"/>
                    <a:pt x="188" y="218"/>
                    <a:pt x="189" y="219"/>
                  </a:cubicBezTo>
                  <a:close/>
                  <a:moveTo>
                    <a:pt x="270" y="269"/>
                  </a:moveTo>
                  <a:cubicBezTo>
                    <a:pt x="265" y="269"/>
                    <a:pt x="258" y="264"/>
                    <a:pt x="256" y="265"/>
                  </a:cubicBezTo>
                  <a:cubicBezTo>
                    <a:pt x="254" y="265"/>
                    <a:pt x="263" y="278"/>
                    <a:pt x="260" y="281"/>
                  </a:cubicBezTo>
                  <a:cubicBezTo>
                    <a:pt x="258" y="284"/>
                    <a:pt x="267" y="293"/>
                    <a:pt x="271" y="293"/>
                  </a:cubicBezTo>
                  <a:cubicBezTo>
                    <a:pt x="274" y="294"/>
                    <a:pt x="273" y="290"/>
                    <a:pt x="275" y="290"/>
                  </a:cubicBezTo>
                  <a:cubicBezTo>
                    <a:pt x="278" y="290"/>
                    <a:pt x="277" y="288"/>
                    <a:pt x="277" y="286"/>
                  </a:cubicBezTo>
                  <a:cubicBezTo>
                    <a:pt x="277" y="284"/>
                    <a:pt x="280" y="288"/>
                    <a:pt x="282" y="287"/>
                  </a:cubicBezTo>
                  <a:cubicBezTo>
                    <a:pt x="284" y="286"/>
                    <a:pt x="281" y="278"/>
                    <a:pt x="284" y="278"/>
                  </a:cubicBezTo>
                  <a:cubicBezTo>
                    <a:pt x="287" y="278"/>
                    <a:pt x="285" y="269"/>
                    <a:pt x="284" y="266"/>
                  </a:cubicBezTo>
                  <a:cubicBezTo>
                    <a:pt x="283" y="263"/>
                    <a:pt x="275" y="268"/>
                    <a:pt x="270" y="26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1" name="Freeform 339">
              <a:extLst>
                <a:ext uri="{FF2B5EF4-FFF2-40B4-BE49-F238E27FC236}">
                  <a16:creationId xmlns:a16="http://schemas.microsoft.com/office/drawing/2014/main" id="{5267676A-68DD-8D7A-ACA7-CE4F9060E7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68998" y="5402387"/>
              <a:ext cx="379364" cy="450792"/>
            </a:xfrm>
            <a:custGeom>
              <a:avLst/>
              <a:gdLst>
                <a:gd name="T0" fmla="*/ 62 w 101"/>
                <a:gd name="T1" fmla="*/ 58 h 120"/>
                <a:gd name="T2" fmla="*/ 56 w 101"/>
                <a:gd name="T3" fmla="*/ 60 h 120"/>
                <a:gd name="T4" fmla="*/ 48 w 101"/>
                <a:gd name="T5" fmla="*/ 57 h 120"/>
                <a:gd name="T6" fmla="*/ 44 w 101"/>
                <a:gd name="T7" fmla="*/ 64 h 120"/>
                <a:gd name="T8" fmla="*/ 37 w 101"/>
                <a:gd name="T9" fmla="*/ 75 h 120"/>
                <a:gd name="T10" fmla="*/ 15 w 101"/>
                <a:gd name="T11" fmla="*/ 90 h 120"/>
                <a:gd name="T12" fmla="*/ 5 w 101"/>
                <a:gd name="T13" fmla="*/ 99 h 120"/>
                <a:gd name="T14" fmla="*/ 3 w 101"/>
                <a:gd name="T15" fmla="*/ 108 h 120"/>
                <a:gd name="T16" fmla="*/ 10 w 101"/>
                <a:gd name="T17" fmla="*/ 111 h 120"/>
                <a:gd name="T18" fmla="*/ 16 w 101"/>
                <a:gd name="T19" fmla="*/ 114 h 120"/>
                <a:gd name="T20" fmla="*/ 31 w 101"/>
                <a:gd name="T21" fmla="*/ 110 h 120"/>
                <a:gd name="T22" fmla="*/ 36 w 101"/>
                <a:gd name="T23" fmla="*/ 101 h 120"/>
                <a:gd name="T24" fmla="*/ 40 w 101"/>
                <a:gd name="T25" fmla="*/ 93 h 120"/>
                <a:gd name="T26" fmla="*/ 49 w 101"/>
                <a:gd name="T27" fmla="*/ 87 h 120"/>
                <a:gd name="T28" fmla="*/ 52 w 101"/>
                <a:gd name="T29" fmla="*/ 83 h 120"/>
                <a:gd name="T30" fmla="*/ 57 w 101"/>
                <a:gd name="T31" fmla="*/ 75 h 120"/>
                <a:gd name="T32" fmla="*/ 63 w 101"/>
                <a:gd name="T33" fmla="*/ 65 h 120"/>
                <a:gd name="T34" fmla="*/ 62 w 101"/>
                <a:gd name="T35" fmla="*/ 58 h 120"/>
                <a:gd name="T36" fmla="*/ 11 w 101"/>
                <a:gd name="T37" fmla="*/ 120 h 120"/>
                <a:gd name="T38" fmla="*/ 14 w 101"/>
                <a:gd name="T39" fmla="*/ 116 h 120"/>
                <a:gd name="T40" fmla="*/ 11 w 101"/>
                <a:gd name="T41" fmla="*/ 120 h 120"/>
                <a:gd name="T42" fmla="*/ 91 w 101"/>
                <a:gd name="T43" fmla="*/ 29 h 120"/>
                <a:gd name="T44" fmla="*/ 83 w 101"/>
                <a:gd name="T45" fmla="*/ 29 h 120"/>
                <a:gd name="T46" fmla="*/ 79 w 101"/>
                <a:gd name="T47" fmla="*/ 24 h 120"/>
                <a:gd name="T48" fmla="*/ 75 w 101"/>
                <a:gd name="T49" fmla="*/ 17 h 120"/>
                <a:gd name="T50" fmla="*/ 75 w 101"/>
                <a:gd name="T51" fmla="*/ 22 h 120"/>
                <a:gd name="T52" fmla="*/ 72 w 101"/>
                <a:gd name="T53" fmla="*/ 20 h 120"/>
                <a:gd name="T54" fmla="*/ 69 w 101"/>
                <a:gd name="T55" fmla="*/ 15 h 120"/>
                <a:gd name="T56" fmla="*/ 66 w 101"/>
                <a:gd name="T57" fmla="*/ 8 h 120"/>
                <a:gd name="T58" fmla="*/ 56 w 101"/>
                <a:gd name="T59" fmla="*/ 0 h 120"/>
                <a:gd name="T60" fmla="*/ 58 w 101"/>
                <a:gd name="T61" fmla="*/ 9 h 120"/>
                <a:gd name="T62" fmla="*/ 64 w 101"/>
                <a:gd name="T63" fmla="*/ 14 h 120"/>
                <a:gd name="T64" fmla="*/ 68 w 101"/>
                <a:gd name="T65" fmla="*/ 21 h 120"/>
                <a:gd name="T66" fmla="*/ 67 w 101"/>
                <a:gd name="T67" fmla="*/ 33 h 120"/>
                <a:gd name="T68" fmla="*/ 61 w 101"/>
                <a:gd name="T69" fmla="*/ 40 h 120"/>
                <a:gd name="T70" fmla="*/ 71 w 101"/>
                <a:gd name="T71" fmla="*/ 50 h 120"/>
                <a:gd name="T72" fmla="*/ 69 w 101"/>
                <a:gd name="T73" fmla="*/ 63 h 120"/>
                <a:gd name="T74" fmla="*/ 76 w 101"/>
                <a:gd name="T75" fmla="*/ 64 h 120"/>
                <a:gd name="T76" fmla="*/ 85 w 101"/>
                <a:gd name="T77" fmla="*/ 51 h 120"/>
                <a:gd name="T78" fmla="*/ 88 w 101"/>
                <a:gd name="T79" fmla="*/ 43 h 120"/>
                <a:gd name="T80" fmla="*/ 93 w 101"/>
                <a:gd name="T81" fmla="*/ 41 h 120"/>
                <a:gd name="T82" fmla="*/ 96 w 101"/>
                <a:gd name="T83" fmla="*/ 36 h 120"/>
                <a:gd name="T84" fmla="*/ 99 w 101"/>
                <a:gd name="T85" fmla="*/ 29 h 120"/>
                <a:gd name="T86" fmla="*/ 91 w 101"/>
                <a:gd name="T87" fmla="*/ 2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1" h="120">
                  <a:moveTo>
                    <a:pt x="62" y="58"/>
                  </a:moveTo>
                  <a:cubicBezTo>
                    <a:pt x="60" y="56"/>
                    <a:pt x="59" y="59"/>
                    <a:pt x="56" y="60"/>
                  </a:cubicBezTo>
                  <a:cubicBezTo>
                    <a:pt x="53" y="61"/>
                    <a:pt x="51" y="54"/>
                    <a:pt x="48" y="57"/>
                  </a:cubicBezTo>
                  <a:cubicBezTo>
                    <a:pt x="45" y="60"/>
                    <a:pt x="48" y="61"/>
                    <a:pt x="44" y="64"/>
                  </a:cubicBezTo>
                  <a:cubicBezTo>
                    <a:pt x="40" y="67"/>
                    <a:pt x="42" y="68"/>
                    <a:pt x="37" y="75"/>
                  </a:cubicBezTo>
                  <a:cubicBezTo>
                    <a:pt x="33" y="82"/>
                    <a:pt x="17" y="86"/>
                    <a:pt x="15" y="90"/>
                  </a:cubicBezTo>
                  <a:cubicBezTo>
                    <a:pt x="13" y="93"/>
                    <a:pt x="5" y="97"/>
                    <a:pt x="5" y="99"/>
                  </a:cubicBezTo>
                  <a:cubicBezTo>
                    <a:pt x="5" y="102"/>
                    <a:pt x="0" y="104"/>
                    <a:pt x="3" y="108"/>
                  </a:cubicBezTo>
                  <a:cubicBezTo>
                    <a:pt x="5" y="111"/>
                    <a:pt x="8" y="109"/>
                    <a:pt x="10" y="111"/>
                  </a:cubicBezTo>
                  <a:cubicBezTo>
                    <a:pt x="12" y="114"/>
                    <a:pt x="15" y="112"/>
                    <a:pt x="16" y="114"/>
                  </a:cubicBezTo>
                  <a:cubicBezTo>
                    <a:pt x="17" y="116"/>
                    <a:pt x="25" y="116"/>
                    <a:pt x="31" y="110"/>
                  </a:cubicBezTo>
                  <a:cubicBezTo>
                    <a:pt x="37" y="105"/>
                    <a:pt x="34" y="102"/>
                    <a:pt x="36" y="101"/>
                  </a:cubicBezTo>
                  <a:cubicBezTo>
                    <a:pt x="38" y="100"/>
                    <a:pt x="39" y="95"/>
                    <a:pt x="40" y="93"/>
                  </a:cubicBezTo>
                  <a:cubicBezTo>
                    <a:pt x="42" y="90"/>
                    <a:pt x="43" y="87"/>
                    <a:pt x="49" y="87"/>
                  </a:cubicBezTo>
                  <a:cubicBezTo>
                    <a:pt x="55" y="87"/>
                    <a:pt x="52" y="86"/>
                    <a:pt x="52" y="83"/>
                  </a:cubicBezTo>
                  <a:cubicBezTo>
                    <a:pt x="51" y="80"/>
                    <a:pt x="57" y="79"/>
                    <a:pt x="57" y="75"/>
                  </a:cubicBezTo>
                  <a:cubicBezTo>
                    <a:pt x="57" y="71"/>
                    <a:pt x="65" y="68"/>
                    <a:pt x="63" y="65"/>
                  </a:cubicBezTo>
                  <a:cubicBezTo>
                    <a:pt x="62" y="62"/>
                    <a:pt x="65" y="60"/>
                    <a:pt x="62" y="58"/>
                  </a:cubicBezTo>
                  <a:close/>
                  <a:moveTo>
                    <a:pt x="11" y="120"/>
                  </a:moveTo>
                  <a:cubicBezTo>
                    <a:pt x="12" y="120"/>
                    <a:pt x="16" y="119"/>
                    <a:pt x="14" y="116"/>
                  </a:cubicBezTo>
                  <a:cubicBezTo>
                    <a:pt x="11" y="113"/>
                    <a:pt x="8" y="119"/>
                    <a:pt x="11" y="120"/>
                  </a:cubicBezTo>
                  <a:close/>
                  <a:moveTo>
                    <a:pt x="91" y="29"/>
                  </a:moveTo>
                  <a:cubicBezTo>
                    <a:pt x="90" y="32"/>
                    <a:pt x="87" y="29"/>
                    <a:pt x="83" y="29"/>
                  </a:cubicBezTo>
                  <a:cubicBezTo>
                    <a:pt x="80" y="29"/>
                    <a:pt x="79" y="27"/>
                    <a:pt x="79" y="24"/>
                  </a:cubicBezTo>
                  <a:cubicBezTo>
                    <a:pt x="79" y="21"/>
                    <a:pt x="78" y="17"/>
                    <a:pt x="75" y="17"/>
                  </a:cubicBezTo>
                  <a:cubicBezTo>
                    <a:pt x="72" y="18"/>
                    <a:pt x="76" y="21"/>
                    <a:pt x="75" y="22"/>
                  </a:cubicBezTo>
                  <a:cubicBezTo>
                    <a:pt x="74" y="23"/>
                    <a:pt x="73" y="20"/>
                    <a:pt x="72" y="20"/>
                  </a:cubicBezTo>
                  <a:cubicBezTo>
                    <a:pt x="70" y="20"/>
                    <a:pt x="69" y="18"/>
                    <a:pt x="69" y="15"/>
                  </a:cubicBezTo>
                  <a:cubicBezTo>
                    <a:pt x="69" y="11"/>
                    <a:pt x="66" y="12"/>
                    <a:pt x="66" y="8"/>
                  </a:cubicBezTo>
                  <a:cubicBezTo>
                    <a:pt x="66" y="3"/>
                    <a:pt x="59" y="0"/>
                    <a:pt x="56" y="0"/>
                  </a:cubicBezTo>
                  <a:cubicBezTo>
                    <a:pt x="52" y="0"/>
                    <a:pt x="56" y="7"/>
                    <a:pt x="58" y="9"/>
                  </a:cubicBezTo>
                  <a:cubicBezTo>
                    <a:pt x="60" y="11"/>
                    <a:pt x="64" y="13"/>
                    <a:pt x="64" y="14"/>
                  </a:cubicBezTo>
                  <a:cubicBezTo>
                    <a:pt x="64" y="16"/>
                    <a:pt x="66" y="20"/>
                    <a:pt x="68" y="21"/>
                  </a:cubicBezTo>
                  <a:cubicBezTo>
                    <a:pt x="71" y="22"/>
                    <a:pt x="67" y="28"/>
                    <a:pt x="67" y="33"/>
                  </a:cubicBezTo>
                  <a:cubicBezTo>
                    <a:pt x="67" y="38"/>
                    <a:pt x="63" y="37"/>
                    <a:pt x="61" y="40"/>
                  </a:cubicBezTo>
                  <a:cubicBezTo>
                    <a:pt x="58" y="43"/>
                    <a:pt x="67" y="47"/>
                    <a:pt x="71" y="50"/>
                  </a:cubicBezTo>
                  <a:cubicBezTo>
                    <a:pt x="75" y="53"/>
                    <a:pt x="68" y="61"/>
                    <a:pt x="69" y="63"/>
                  </a:cubicBezTo>
                  <a:cubicBezTo>
                    <a:pt x="70" y="64"/>
                    <a:pt x="72" y="65"/>
                    <a:pt x="76" y="64"/>
                  </a:cubicBezTo>
                  <a:cubicBezTo>
                    <a:pt x="80" y="63"/>
                    <a:pt x="82" y="54"/>
                    <a:pt x="85" y="51"/>
                  </a:cubicBezTo>
                  <a:cubicBezTo>
                    <a:pt x="88" y="49"/>
                    <a:pt x="86" y="45"/>
                    <a:pt x="88" y="43"/>
                  </a:cubicBezTo>
                  <a:cubicBezTo>
                    <a:pt x="89" y="41"/>
                    <a:pt x="91" y="41"/>
                    <a:pt x="93" y="41"/>
                  </a:cubicBezTo>
                  <a:cubicBezTo>
                    <a:pt x="95" y="41"/>
                    <a:pt x="94" y="36"/>
                    <a:pt x="96" y="36"/>
                  </a:cubicBezTo>
                  <a:cubicBezTo>
                    <a:pt x="99" y="36"/>
                    <a:pt x="98" y="33"/>
                    <a:pt x="99" y="29"/>
                  </a:cubicBezTo>
                  <a:cubicBezTo>
                    <a:pt x="101" y="25"/>
                    <a:pt x="93" y="27"/>
                    <a:pt x="91" y="29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2" name="Freeform 340">
              <a:extLst>
                <a:ext uri="{FF2B5EF4-FFF2-40B4-BE49-F238E27FC236}">
                  <a16:creationId xmlns:a16="http://schemas.microsoft.com/office/drawing/2014/main" id="{602368F3-74BF-E2D3-B95F-77091DBA2B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9150" y="4786514"/>
              <a:ext cx="82540" cy="71430"/>
            </a:xfrm>
            <a:custGeom>
              <a:avLst/>
              <a:gdLst>
                <a:gd name="T0" fmla="*/ 3 w 22"/>
                <a:gd name="T1" fmla="*/ 16 h 19"/>
                <a:gd name="T2" fmla="*/ 12 w 22"/>
                <a:gd name="T3" fmla="*/ 14 h 19"/>
                <a:gd name="T4" fmla="*/ 3 w 22"/>
                <a:gd name="T5" fmla="*/ 16 h 19"/>
                <a:gd name="T6" fmla="*/ 14 w 22"/>
                <a:gd name="T7" fmla="*/ 7 h 19"/>
                <a:gd name="T8" fmla="*/ 22 w 22"/>
                <a:gd name="T9" fmla="*/ 3 h 19"/>
                <a:gd name="T10" fmla="*/ 14 w 22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9">
                  <a:moveTo>
                    <a:pt x="3" y="16"/>
                  </a:moveTo>
                  <a:cubicBezTo>
                    <a:pt x="6" y="19"/>
                    <a:pt x="12" y="19"/>
                    <a:pt x="12" y="14"/>
                  </a:cubicBezTo>
                  <a:cubicBezTo>
                    <a:pt x="12" y="9"/>
                    <a:pt x="0" y="14"/>
                    <a:pt x="3" y="16"/>
                  </a:cubicBezTo>
                  <a:close/>
                  <a:moveTo>
                    <a:pt x="14" y="7"/>
                  </a:moveTo>
                  <a:cubicBezTo>
                    <a:pt x="16" y="8"/>
                    <a:pt x="22" y="6"/>
                    <a:pt x="22" y="3"/>
                  </a:cubicBezTo>
                  <a:cubicBezTo>
                    <a:pt x="22" y="0"/>
                    <a:pt x="11" y="6"/>
                    <a:pt x="14" y="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3" name="Freeform 341">
              <a:extLst>
                <a:ext uri="{FF2B5EF4-FFF2-40B4-BE49-F238E27FC236}">
                  <a16:creationId xmlns:a16="http://schemas.microsoft.com/office/drawing/2014/main" id="{53C63A45-5F4C-40A6-CCBC-E1FC52D0C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3137" y="2900813"/>
              <a:ext cx="431744" cy="274603"/>
            </a:xfrm>
            <a:custGeom>
              <a:avLst/>
              <a:gdLst>
                <a:gd name="T0" fmla="*/ 114 w 115"/>
                <a:gd name="T1" fmla="*/ 46 h 73"/>
                <a:gd name="T2" fmla="*/ 107 w 115"/>
                <a:gd name="T3" fmla="*/ 44 h 73"/>
                <a:gd name="T4" fmla="*/ 99 w 115"/>
                <a:gd name="T5" fmla="*/ 38 h 73"/>
                <a:gd name="T6" fmla="*/ 90 w 115"/>
                <a:gd name="T7" fmla="*/ 33 h 73"/>
                <a:gd name="T8" fmla="*/ 82 w 115"/>
                <a:gd name="T9" fmla="*/ 27 h 73"/>
                <a:gd name="T10" fmla="*/ 78 w 115"/>
                <a:gd name="T11" fmla="*/ 20 h 73"/>
                <a:gd name="T12" fmla="*/ 75 w 115"/>
                <a:gd name="T13" fmla="*/ 15 h 73"/>
                <a:gd name="T14" fmla="*/ 63 w 115"/>
                <a:gd name="T15" fmla="*/ 14 h 73"/>
                <a:gd name="T16" fmla="*/ 60 w 115"/>
                <a:gd name="T17" fmla="*/ 5 h 73"/>
                <a:gd name="T18" fmla="*/ 54 w 115"/>
                <a:gd name="T19" fmla="*/ 3 h 73"/>
                <a:gd name="T20" fmla="*/ 48 w 115"/>
                <a:gd name="T21" fmla="*/ 2 h 73"/>
                <a:gd name="T22" fmla="*/ 45 w 115"/>
                <a:gd name="T23" fmla="*/ 3 h 73"/>
                <a:gd name="T24" fmla="*/ 42 w 115"/>
                <a:gd name="T25" fmla="*/ 6 h 73"/>
                <a:gd name="T26" fmla="*/ 36 w 115"/>
                <a:gd name="T27" fmla="*/ 11 h 73"/>
                <a:gd name="T28" fmla="*/ 33 w 115"/>
                <a:gd name="T29" fmla="*/ 14 h 73"/>
                <a:gd name="T30" fmla="*/ 28 w 115"/>
                <a:gd name="T31" fmla="*/ 13 h 73"/>
                <a:gd name="T32" fmla="*/ 22 w 115"/>
                <a:gd name="T33" fmla="*/ 12 h 73"/>
                <a:gd name="T34" fmla="*/ 12 w 115"/>
                <a:gd name="T35" fmla="*/ 4 h 73"/>
                <a:gd name="T36" fmla="*/ 4 w 115"/>
                <a:gd name="T37" fmla="*/ 9 h 73"/>
                <a:gd name="T38" fmla="*/ 8 w 115"/>
                <a:gd name="T39" fmla="*/ 7 h 73"/>
                <a:gd name="T40" fmla="*/ 14 w 115"/>
                <a:gd name="T41" fmla="*/ 14 h 73"/>
                <a:gd name="T42" fmla="*/ 18 w 115"/>
                <a:gd name="T43" fmla="*/ 19 h 73"/>
                <a:gd name="T44" fmla="*/ 10 w 115"/>
                <a:gd name="T45" fmla="*/ 21 h 73"/>
                <a:gd name="T46" fmla="*/ 2 w 115"/>
                <a:gd name="T47" fmla="*/ 21 h 73"/>
                <a:gd name="T48" fmla="*/ 4 w 115"/>
                <a:gd name="T49" fmla="*/ 28 h 73"/>
                <a:gd name="T50" fmla="*/ 4 w 115"/>
                <a:gd name="T51" fmla="*/ 33 h 73"/>
                <a:gd name="T52" fmla="*/ 9 w 115"/>
                <a:gd name="T53" fmla="*/ 34 h 73"/>
                <a:gd name="T54" fmla="*/ 11 w 115"/>
                <a:gd name="T55" fmla="*/ 41 h 73"/>
                <a:gd name="T56" fmla="*/ 11 w 115"/>
                <a:gd name="T57" fmla="*/ 52 h 73"/>
                <a:gd name="T58" fmla="*/ 17 w 115"/>
                <a:gd name="T59" fmla="*/ 50 h 73"/>
                <a:gd name="T60" fmla="*/ 24 w 115"/>
                <a:gd name="T61" fmla="*/ 45 h 73"/>
                <a:gd name="T62" fmla="*/ 30 w 115"/>
                <a:gd name="T63" fmla="*/ 45 h 73"/>
                <a:gd name="T64" fmla="*/ 39 w 115"/>
                <a:gd name="T65" fmla="*/ 45 h 73"/>
                <a:gd name="T66" fmla="*/ 45 w 115"/>
                <a:gd name="T67" fmla="*/ 48 h 73"/>
                <a:gd name="T68" fmla="*/ 49 w 115"/>
                <a:gd name="T69" fmla="*/ 49 h 73"/>
                <a:gd name="T70" fmla="*/ 56 w 115"/>
                <a:gd name="T71" fmla="*/ 52 h 73"/>
                <a:gd name="T72" fmla="*/ 60 w 115"/>
                <a:gd name="T73" fmla="*/ 54 h 73"/>
                <a:gd name="T74" fmla="*/ 65 w 115"/>
                <a:gd name="T75" fmla="*/ 59 h 73"/>
                <a:gd name="T76" fmla="*/ 71 w 115"/>
                <a:gd name="T77" fmla="*/ 60 h 73"/>
                <a:gd name="T78" fmla="*/ 72 w 115"/>
                <a:gd name="T79" fmla="*/ 70 h 73"/>
                <a:gd name="T80" fmla="*/ 74 w 115"/>
                <a:gd name="T81" fmla="*/ 70 h 73"/>
                <a:gd name="T82" fmla="*/ 80 w 115"/>
                <a:gd name="T83" fmla="*/ 71 h 73"/>
                <a:gd name="T84" fmla="*/ 87 w 115"/>
                <a:gd name="T85" fmla="*/ 69 h 73"/>
                <a:gd name="T86" fmla="*/ 98 w 115"/>
                <a:gd name="T87" fmla="*/ 62 h 73"/>
                <a:gd name="T88" fmla="*/ 103 w 115"/>
                <a:gd name="T89" fmla="*/ 54 h 73"/>
                <a:gd name="T90" fmla="*/ 109 w 115"/>
                <a:gd name="T91" fmla="*/ 50 h 73"/>
                <a:gd name="T92" fmla="*/ 115 w 115"/>
                <a:gd name="T93" fmla="*/ 52 h 73"/>
                <a:gd name="T94" fmla="*/ 114 w 115"/>
                <a:gd name="T95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5" h="73">
                  <a:moveTo>
                    <a:pt x="114" y="46"/>
                  </a:moveTo>
                  <a:cubicBezTo>
                    <a:pt x="114" y="46"/>
                    <a:pt x="109" y="44"/>
                    <a:pt x="107" y="44"/>
                  </a:cubicBezTo>
                  <a:cubicBezTo>
                    <a:pt x="105" y="44"/>
                    <a:pt x="102" y="40"/>
                    <a:pt x="99" y="38"/>
                  </a:cubicBezTo>
                  <a:cubicBezTo>
                    <a:pt x="96" y="37"/>
                    <a:pt x="91" y="35"/>
                    <a:pt x="90" y="33"/>
                  </a:cubicBezTo>
                  <a:cubicBezTo>
                    <a:pt x="88" y="31"/>
                    <a:pt x="82" y="29"/>
                    <a:pt x="82" y="27"/>
                  </a:cubicBezTo>
                  <a:cubicBezTo>
                    <a:pt x="81" y="25"/>
                    <a:pt x="80" y="23"/>
                    <a:pt x="78" y="20"/>
                  </a:cubicBezTo>
                  <a:cubicBezTo>
                    <a:pt x="76" y="18"/>
                    <a:pt x="76" y="15"/>
                    <a:pt x="75" y="15"/>
                  </a:cubicBezTo>
                  <a:cubicBezTo>
                    <a:pt x="73" y="15"/>
                    <a:pt x="63" y="15"/>
                    <a:pt x="63" y="14"/>
                  </a:cubicBezTo>
                  <a:cubicBezTo>
                    <a:pt x="63" y="12"/>
                    <a:pt x="62" y="6"/>
                    <a:pt x="60" y="5"/>
                  </a:cubicBezTo>
                  <a:cubicBezTo>
                    <a:pt x="58" y="5"/>
                    <a:pt x="55" y="4"/>
                    <a:pt x="54" y="3"/>
                  </a:cubicBezTo>
                  <a:cubicBezTo>
                    <a:pt x="53" y="2"/>
                    <a:pt x="49" y="0"/>
                    <a:pt x="48" y="2"/>
                  </a:cubicBezTo>
                  <a:cubicBezTo>
                    <a:pt x="47" y="3"/>
                    <a:pt x="46" y="3"/>
                    <a:pt x="45" y="3"/>
                  </a:cubicBezTo>
                  <a:cubicBezTo>
                    <a:pt x="44" y="3"/>
                    <a:pt x="44" y="7"/>
                    <a:pt x="42" y="6"/>
                  </a:cubicBezTo>
                  <a:cubicBezTo>
                    <a:pt x="40" y="6"/>
                    <a:pt x="36" y="9"/>
                    <a:pt x="36" y="11"/>
                  </a:cubicBezTo>
                  <a:cubicBezTo>
                    <a:pt x="36" y="12"/>
                    <a:pt x="36" y="15"/>
                    <a:pt x="33" y="14"/>
                  </a:cubicBezTo>
                  <a:cubicBezTo>
                    <a:pt x="32" y="14"/>
                    <a:pt x="30" y="14"/>
                    <a:pt x="28" y="13"/>
                  </a:cubicBezTo>
                  <a:cubicBezTo>
                    <a:pt x="27" y="13"/>
                    <a:pt x="25" y="15"/>
                    <a:pt x="22" y="12"/>
                  </a:cubicBezTo>
                  <a:cubicBezTo>
                    <a:pt x="19" y="8"/>
                    <a:pt x="15" y="4"/>
                    <a:pt x="12" y="4"/>
                  </a:cubicBezTo>
                  <a:cubicBezTo>
                    <a:pt x="10" y="4"/>
                    <a:pt x="2" y="4"/>
                    <a:pt x="4" y="9"/>
                  </a:cubicBezTo>
                  <a:cubicBezTo>
                    <a:pt x="5" y="8"/>
                    <a:pt x="6" y="7"/>
                    <a:pt x="8" y="7"/>
                  </a:cubicBezTo>
                  <a:cubicBezTo>
                    <a:pt x="13" y="8"/>
                    <a:pt x="11" y="14"/>
                    <a:pt x="14" y="14"/>
                  </a:cubicBezTo>
                  <a:cubicBezTo>
                    <a:pt x="17" y="15"/>
                    <a:pt x="21" y="19"/>
                    <a:pt x="18" y="19"/>
                  </a:cubicBezTo>
                  <a:cubicBezTo>
                    <a:pt x="15" y="19"/>
                    <a:pt x="12" y="22"/>
                    <a:pt x="10" y="21"/>
                  </a:cubicBezTo>
                  <a:cubicBezTo>
                    <a:pt x="7" y="20"/>
                    <a:pt x="3" y="18"/>
                    <a:pt x="2" y="21"/>
                  </a:cubicBezTo>
                  <a:cubicBezTo>
                    <a:pt x="1" y="24"/>
                    <a:pt x="0" y="28"/>
                    <a:pt x="4" y="28"/>
                  </a:cubicBezTo>
                  <a:cubicBezTo>
                    <a:pt x="8" y="27"/>
                    <a:pt x="7" y="30"/>
                    <a:pt x="4" y="33"/>
                  </a:cubicBezTo>
                  <a:cubicBezTo>
                    <a:pt x="2" y="35"/>
                    <a:pt x="8" y="32"/>
                    <a:pt x="9" y="34"/>
                  </a:cubicBezTo>
                  <a:cubicBezTo>
                    <a:pt x="9" y="37"/>
                    <a:pt x="12" y="37"/>
                    <a:pt x="11" y="41"/>
                  </a:cubicBezTo>
                  <a:cubicBezTo>
                    <a:pt x="10" y="43"/>
                    <a:pt x="10" y="48"/>
                    <a:pt x="11" y="52"/>
                  </a:cubicBezTo>
                  <a:cubicBezTo>
                    <a:pt x="13" y="52"/>
                    <a:pt x="16" y="51"/>
                    <a:pt x="17" y="50"/>
                  </a:cubicBezTo>
                  <a:cubicBezTo>
                    <a:pt x="18" y="49"/>
                    <a:pt x="22" y="45"/>
                    <a:pt x="24" y="45"/>
                  </a:cubicBezTo>
                  <a:cubicBezTo>
                    <a:pt x="26" y="45"/>
                    <a:pt x="29" y="46"/>
                    <a:pt x="30" y="45"/>
                  </a:cubicBezTo>
                  <a:cubicBezTo>
                    <a:pt x="31" y="43"/>
                    <a:pt x="38" y="43"/>
                    <a:pt x="39" y="45"/>
                  </a:cubicBezTo>
                  <a:cubicBezTo>
                    <a:pt x="41" y="46"/>
                    <a:pt x="44" y="48"/>
                    <a:pt x="45" y="48"/>
                  </a:cubicBezTo>
                  <a:cubicBezTo>
                    <a:pt x="46" y="48"/>
                    <a:pt x="47" y="50"/>
                    <a:pt x="49" y="49"/>
                  </a:cubicBezTo>
                  <a:cubicBezTo>
                    <a:pt x="51" y="49"/>
                    <a:pt x="56" y="50"/>
                    <a:pt x="56" y="52"/>
                  </a:cubicBezTo>
                  <a:cubicBezTo>
                    <a:pt x="56" y="53"/>
                    <a:pt x="58" y="54"/>
                    <a:pt x="60" y="54"/>
                  </a:cubicBezTo>
                  <a:cubicBezTo>
                    <a:pt x="61" y="54"/>
                    <a:pt x="63" y="59"/>
                    <a:pt x="65" y="59"/>
                  </a:cubicBezTo>
                  <a:cubicBezTo>
                    <a:pt x="67" y="59"/>
                    <a:pt x="71" y="59"/>
                    <a:pt x="71" y="60"/>
                  </a:cubicBezTo>
                  <a:cubicBezTo>
                    <a:pt x="71" y="61"/>
                    <a:pt x="71" y="67"/>
                    <a:pt x="72" y="70"/>
                  </a:cubicBezTo>
                  <a:cubicBezTo>
                    <a:pt x="73" y="69"/>
                    <a:pt x="73" y="69"/>
                    <a:pt x="74" y="70"/>
                  </a:cubicBezTo>
                  <a:cubicBezTo>
                    <a:pt x="75" y="70"/>
                    <a:pt x="79" y="69"/>
                    <a:pt x="80" y="71"/>
                  </a:cubicBezTo>
                  <a:cubicBezTo>
                    <a:pt x="80" y="73"/>
                    <a:pt x="87" y="72"/>
                    <a:pt x="87" y="69"/>
                  </a:cubicBezTo>
                  <a:cubicBezTo>
                    <a:pt x="86" y="65"/>
                    <a:pt x="97" y="65"/>
                    <a:pt x="98" y="62"/>
                  </a:cubicBezTo>
                  <a:cubicBezTo>
                    <a:pt x="99" y="59"/>
                    <a:pt x="100" y="53"/>
                    <a:pt x="103" y="54"/>
                  </a:cubicBezTo>
                  <a:cubicBezTo>
                    <a:pt x="105" y="55"/>
                    <a:pt x="107" y="50"/>
                    <a:pt x="109" y="50"/>
                  </a:cubicBezTo>
                  <a:cubicBezTo>
                    <a:pt x="111" y="50"/>
                    <a:pt x="113" y="52"/>
                    <a:pt x="115" y="52"/>
                  </a:cubicBezTo>
                  <a:lnTo>
                    <a:pt x="114" y="46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4" name="Freeform 342">
              <a:extLst>
                <a:ext uri="{FF2B5EF4-FFF2-40B4-BE49-F238E27FC236}">
                  <a16:creationId xmlns:a16="http://schemas.microsoft.com/office/drawing/2014/main" id="{CACAC746-722B-8973-638B-DF537A5E3E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1236" y="3002400"/>
              <a:ext cx="596822" cy="503173"/>
            </a:xfrm>
            <a:custGeom>
              <a:avLst/>
              <a:gdLst>
                <a:gd name="T0" fmla="*/ 155 w 159"/>
                <a:gd name="T1" fmla="*/ 116 h 134"/>
                <a:gd name="T2" fmla="*/ 151 w 159"/>
                <a:gd name="T3" fmla="*/ 107 h 134"/>
                <a:gd name="T4" fmla="*/ 143 w 159"/>
                <a:gd name="T5" fmla="*/ 100 h 134"/>
                <a:gd name="T6" fmla="*/ 137 w 159"/>
                <a:gd name="T7" fmla="*/ 93 h 134"/>
                <a:gd name="T8" fmla="*/ 145 w 159"/>
                <a:gd name="T9" fmla="*/ 82 h 134"/>
                <a:gd name="T10" fmla="*/ 138 w 159"/>
                <a:gd name="T11" fmla="*/ 77 h 134"/>
                <a:gd name="T12" fmla="*/ 136 w 159"/>
                <a:gd name="T13" fmla="*/ 68 h 134"/>
                <a:gd name="T14" fmla="*/ 136 w 159"/>
                <a:gd name="T15" fmla="*/ 60 h 134"/>
                <a:gd name="T16" fmla="*/ 137 w 159"/>
                <a:gd name="T17" fmla="*/ 53 h 134"/>
                <a:gd name="T18" fmla="*/ 140 w 159"/>
                <a:gd name="T19" fmla="*/ 46 h 134"/>
                <a:gd name="T20" fmla="*/ 142 w 159"/>
                <a:gd name="T21" fmla="*/ 43 h 134"/>
                <a:gd name="T22" fmla="*/ 141 w 159"/>
                <a:gd name="T23" fmla="*/ 33 h 134"/>
                <a:gd name="T24" fmla="*/ 135 w 159"/>
                <a:gd name="T25" fmla="*/ 32 h 134"/>
                <a:gd name="T26" fmla="*/ 130 w 159"/>
                <a:gd name="T27" fmla="*/ 27 h 134"/>
                <a:gd name="T28" fmla="*/ 126 w 159"/>
                <a:gd name="T29" fmla="*/ 25 h 134"/>
                <a:gd name="T30" fmla="*/ 119 w 159"/>
                <a:gd name="T31" fmla="*/ 22 h 134"/>
                <a:gd name="T32" fmla="*/ 115 w 159"/>
                <a:gd name="T33" fmla="*/ 21 h 134"/>
                <a:gd name="T34" fmla="*/ 109 w 159"/>
                <a:gd name="T35" fmla="*/ 18 h 134"/>
                <a:gd name="T36" fmla="*/ 100 w 159"/>
                <a:gd name="T37" fmla="*/ 18 h 134"/>
                <a:gd name="T38" fmla="*/ 94 w 159"/>
                <a:gd name="T39" fmla="*/ 18 h 134"/>
                <a:gd name="T40" fmla="*/ 87 w 159"/>
                <a:gd name="T41" fmla="*/ 23 h 134"/>
                <a:gd name="T42" fmla="*/ 81 w 159"/>
                <a:gd name="T43" fmla="*/ 25 h 134"/>
                <a:gd name="T44" fmla="*/ 80 w 159"/>
                <a:gd name="T45" fmla="*/ 29 h 134"/>
                <a:gd name="T46" fmla="*/ 63 w 159"/>
                <a:gd name="T47" fmla="*/ 33 h 134"/>
                <a:gd name="T48" fmla="*/ 48 w 159"/>
                <a:gd name="T49" fmla="*/ 24 h 134"/>
                <a:gd name="T50" fmla="*/ 38 w 159"/>
                <a:gd name="T51" fmla="*/ 14 h 134"/>
                <a:gd name="T52" fmla="*/ 33 w 159"/>
                <a:gd name="T53" fmla="*/ 10 h 134"/>
                <a:gd name="T54" fmla="*/ 31 w 159"/>
                <a:gd name="T55" fmla="*/ 3 h 134"/>
                <a:gd name="T56" fmla="*/ 15 w 159"/>
                <a:gd name="T57" fmla="*/ 10 h 134"/>
                <a:gd name="T58" fmla="*/ 10 w 159"/>
                <a:gd name="T59" fmla="*/ 7 h 134"/>
                <a:gd name="T60" fmla="*/ 5 w 159"/>
                <a:gd name="T61" fmla="*/ 1 h 134"/>
                <a:gd name="T62" fmla="*/ 2 w 159"/>
                <a:gd name="T63" fmla="*/ 5 h 134"/>
                <a:gd name="T64" fmla="*/ 2 w 159"/>
                <a:gd name="T65" fmla="*/ 11 h 134"/>
                <a:gd name="T66" fmla="*/ 2 w 159"/>
                <a:gd name="T67" fmla="*/ 20 h 134"/>
                <a:gd name="T68" fmla="*/ 6 w 159"/>
                <a:gd name="T69" fmla="*/ 26 h 134"/>
                <a:gd name="T70" fmla="*/ 9 w 159"/>
                <a:gd name="T71" fmla="*/ 33 h 134"/>
                <a:gd name="T72" fmla="*/ 13 w 159"/>
                <a:gd name="T73" fmla="*/ 37 h 134"/>
                <a:gd name="T74" fmla="*/ 17 w 159"/>
                <a:gd name="T75" fmla="*/ 40 h 134"/>
                <a:gd name="T76" fmla="*/ 16 w 159"/>
                <a:gd name="T77" fmla="*/ 45 h 134"/>
                <a:gd name="T78" fmla="*/ 12 w 159"/>
                <a:gd name="T79" fmla="*/ 51 h 134"/>
                <a:gd name="T80" fmla="*/ 13 w 159"/>
                <a:gd name="T81" fmla="*/ 59 h 134"/>
                <a:gd name="T82" fmla="*/ 17 w 159"/>
                <a:gd name="T83" fmla="*/ 63 h 134"/>
                <a:gd name="T84" fmla="*/ 26 w 159"/>
                <a:gd name="T85" fmla="*/ 69 h 134"/>
                <a:gd name="T86" fmla="*/ 30 w 159"/>
                <a:gd name="T87" fmla="*/ 74 h 134"/>
                <a:gd name="T88" fmla="*/ 29 w 159"/>
                <a:gd name="T89" fmla="*/ 79 h 134"/>
                <a:gd name="T90" fmla="*/ 32 w 159"/>
                <a:gd name="T91" fmla="*/ 85 h 134"/>
                <a:gd name="T92" fmla="*/ 37 w 159"/>
                <a:gd name="T93" fmla="*/ 91 h 134"/>
                <a:gd name="T94" fmla="*/ 39 w 159"/>
                <a:gd name="T95" fmla="*/ 91 h 134"/>
                <a:gd name="T96" fmla="*/ 42 w 159"/>
                <a:gd name="T97" fmla="*/ 90 h 134"/>
                <a:gd name="T98" fmla="*/ 48 w 159"/>
                <a:gd name="T99" fmla="*/ 90 h 134"/>
                <a:gd name="T100" fmla="*/ 56 w 159"/>
                <a:gd name="T101" fmla="*/ 102 h 134"/>
                <a:gd name="T102" fmla="*/ 61 w 159"/>
                <a:gd name="T103" fmla="*/ 110 h 134"/>
                <a:gd name="T104" fmla="*/ 70 w 159"/>
                <a:gd name="T105" fmla="*/ 114 h 134"/>
                <a:gd name="T106" fmla="*/ 89 w 159"/>
                <a:gd name="T107" fmla="*/ 121 h 134"/>
                <a:gd name="T108" fmla="*/ 102 w 159"/>
                <a:gd name="T109" fmla="*/ 118 h 134"/>
                <a:gd name="T110" fmla="*/ 108 w 159"/>
                <a:gd name="T111" fmla="*/ 128 h 134"/>
                <a:gd name="T112" fmla="*/ 136 w 159"/>
                <a:gd name="T113" fmla="*/ 134 h 134"/>
                <a:gd name="T114" fmla="*/ 144 w 159"/>
                <a:gd name="T115" fmla="*/ 134 h 134"/>
                <a:gd name="T116" fmla="*/ 144 w 159"/>
                <a:gd name="T117" fmla="*/ 132 h 134"/>
                <a:gd name="T118" fmla="*/ 149 w 159"/>
                <a:gd name="T119" fmla="*/ 124 h 134"/>
                <a:gd name="T120" fmla="*/ 157 w 159"/>
                <a:gd name="T121" fmla="*/ 122 h 134"/>
                <a:gd name="T122" fmla="*/ 155 w 159"/>
                <a:gd name="T123" fmla="*/ 11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" h="134">
                  <a:moveTo>
                    <a:pt x="155" y="116"/>
                  </a:moveTo>
                  <a:cubicBezTo>
                    <a:pt x="153" y="115"/>
                    <a:pt x="155" y="109"/>
                    <a:pt x="151" y="107"/>
                  </a:cubicBezTo>
                  <a:cubicBezTo>
                    <a:pt x="147" y="105"/>
                    <a:pt x="144" y="103"/>
                    <a:pt x="143" y="100"/>
                  </a:cubicBezTo>
                  <a:cubicBezTo>
                    <a:pt x="142" y="98"/>
                    <a:pt x="137" y="95"/>
                    <a:pt x="137" y="93"/>
                  </a:cubicBezTo>
                  <a:cubicBezTo>
                    <a:pt x="138" y="91"/>
                    <a:pt x="147" y="85"/>
                    <a:pt x="145" y="82"/>
                  </a:cubicBezTo>
                  <a:cubicBezTo>
                    <a:pt x="144" y="78"/>
                    <a:pt x="138" y="79"/>
                    <a:pt x="138" y="77"/>
                  </a:cubicBezTo>
                  <a:cubicBezTo>
                    <a:pt x="137" y="76"/>
                    <a:pt x="138" y="72"/>
                    <a:pt x="136" y="68"/>
                  </a:cubicBezTo>
                  <a:cubicBezTo>
                    <a:pt x="135" y="65"/>
                    <a:pt x="138" y="62"/>
                    <a:pt x="136" y="60"/>
                  </a:cubicBezTo>
                  <a:cubicBezTo>
                    <a:pt x="135" y="58"/>
                    <a:pt x="137" y="54"/>
                    <a:pt x="137" y="53"/>
                  </a:cubicBezTo>
                  <a:cubicBezTo>
                    <a:pt x="138" y="51"/>
                    <a:pt x="141" y="50"/>
                    <a:pt x="140" y="46"/>
                  </a:cubicBezTo>
                  <a:cubicBezTo>
                    <a:pt x="140" y="44"/>
                    <a:pt x="141" y="43"/>
                    <a:pt x="142" y="43"/>
                  </a:cubicBezTo>
                  <a:cubicBezTo>
                    <a:pt x="141" y="40"/>
                    <a:pt x="141" y="34"/>
                    <a:pt x="141" y="33"/>
                  </a:cubicBezTo>
                  <a:cubicBezTo>
                    <a:pt x="141" y="32"/>
                    <a:pt x="137" y="32"/>
                    <a:pt x="135" y="32"/>
                  </a:cubicBezTo>
                  <a:cubicBezTo>
                    <a:pt x="133" y="32"/>
                    <a:pt x="131" y="27"/>
                    <a:pt x="130" y="27"/>
                  </a:cubicBezTo>
                  <a:cubicBezTo>
                    <a:pt x="128" y="27"/>
                    <a:pt x="126" y="26"/>
                    <a:pt x="126" y="25"/>
                  </a:cubicBezTo>
                  <a:cubicBezTo>
                    <a:pt x="126" y="23"/>
                    <a:pt x="121" y="22"/>
                    <a:pt x="119" y="22"/>
                  </a:cubicBezTo>
                  <a:cubicBezTo>
                    <a:pt x="117" y="23"/>
                    <a:pt x="116" y="21"/>
                    <a:pt x="115" y="21"/>
                  </a:cubicBezTo>
                  <a:cubicBezTo>
                    <a:pt x="114" y="21"/>
                    <a:pt x="111" y="19"/>
                    <a:pt x="109" y="18"/>
                  </a:cubicBezTo>
                  <a:cubicBezTo>
                    <a:pt x="108" y="16"/>
                    <a:pt x="101" y="16"/>
                    <a:pt x="100" y="18"/>
                  </a:cubicBezTo>
                  <a:cubicBezTo>
                    <a:pt x="99" y="19"/>
                    <a:pt x="96" y="18"/>
                    <a:pt x="94" y="18"/>
                  </a:cubicBezTo>
                  <a:cubicBezTo>
                    <a:pt x="92" y="18"/>
                    <a:pt x="88" y="22"/>
                    <a:pt x="87" y="23"/>
                  </a:cubicBezTo>
                  <a:cubicBezTo>
                    <a:pt x="86" y="24"/>
                    <a:pt x="83" y="25"/>
                    <a:pt x="81" y="25"/>
                  </a:cubicBezTo>
                  <a:cubicBezTo>
                    <a:pt x="81" y="27"/>
                    <a:pt x="81" y="28"/>
                    <a:pt x="80" y="29"/>
                  </a:cubicBezTo>
                  <a:cubicBezTo>
                    <a:pt x="79" y="31"/>
                    <a:pt x="70" y="32"/>
                    <a:pt x="63" y="33"/>
                  </a:cubicBezTo>
                  <a:cubicBezTo>
                    <a:pt x="56" y="33"/>
                    <a:pt x="56" y="24"/>
                    <a:pt x="48" y="24"/>
                  </a:cubicBezTo>
                  <a:cubicBezTo>
                    <a:pt x="43" y="24"/>
                    <a:pt x="39" y="19"/>
                    <a:pt x="38" y="14"/>
                  </a:cubicBezTo>
                  <a:cubicBezTo>
                    <a:pt x="35" y="13"/>
                    <a:pt x="32" y="11"/>
                    <a:pt x="33" y="10"/>
                  </a:cubicBezTo>
                  <a:cubicBezTo>
                    <a:pt x="33" y="9"/>
                    <a:pt x="35" y="1"/>
                    <a:pt x="31" y="3"/>
                  </a:cubicBezTo>
                  <a:cubicBezTo>
                    <a:pt x="27" y="5"/>
                    <a:pt x="22" y="11"/>
                    <a:pt x="15" y="10"/>
                  </a:cubicBezTo>
                  <a:cubicBezTo>
                    <a:pt x="8" y="9"/>
                    <a:pt x="13" y="8"/>
                    <a:pt x="10" y="7"/>
                  </a:cubicBezTo>
                  <a:cubicBezTo>
                    <a:pt x="6" y="5"/>
                    <a:pt x="8" y="1"/>
                    <a:pt x="5" y="1"/>
                  </a:cubicBezTo>
                  <a:cubicBezTo>
                    <a:pt x="1" y="0"/>
                    <a:pt x="4" y="5"/>
                    <a:pt x="2" y="5"/>
                  </a:cubicBezTo>
                  <a:cubicBezTo>
                    <a:pt x="0" y="5"/>
                    <a:pt x="2" y="10"/>
                    <a:pt x="2" y="11"/>
                  </a:cubicBezTo>
                  <a:cubicBezTo>
                    <a:pt x="3" y="13"/>
                    <a:pt x="1" y="20"/>
                    <a:pt x="2" y="20"/>
                  </a:cubicBezTo>
                  <a:cubicBezTo>
                    <a:pt x="4" y="20"/>
                    <a:pt x="6" y="25"/>
                    <a:pt x="6" y="26"/>
                  </a:cubicBezTo>
                  <a:cubicBezTo>
                    <a:pt x="6" y="27"/>
                    <a:pt x="9" y="31"/>
                    <a:pt x="9" y="33"/>
                  </a:cubicBezTo>
                  <a:cubicBezTo>
                    <a:pt x="9" y="35"/>
                    <a:pt x="12" y="37"/>
                    <a:pt x="13" y="37"/>
                  </a:cubicBezTo>
                  <a:cubicBezTo>
                    <a:pt x="15" y="37"/>
                    <a:pt x="17" y="38"/>
                    <a:pt x="17" y="40"/>
                  </a:cubicBezTo>
                  <a:cubicBezTo>
                    <a:pt x="16" y="42"/>
                    <a:pt x="17" y="45"/>
                    <a:pt x="16" y="45"/>
                  </a:cubicBezTo>
                  <a:cubicBezTo>
                    <a:pt x="14" y="45"/>
                    <a:pt x="14" y="51"/>
                    <a:pt x="12" y="51"/>
                  </a:cubicBezTo>
                  <a:cubicBezTo>
                    <a:pt x="11" y="52"/>
                    <a:pt x="12" y="58"/>
                    <a:pt x="13" y="59"/>
                  </a:cubicBezTo>
                  <a:cubicBezTo>
                    <a:pt x="15" y="59"/>
                    <a:pt x="17" y="61"/>
                    <a:pt x="17" y="63"/>
                  </a:cubicBezTo>
                  <a:cubicBezTo>
                    <a:pt x="17" y="65"/>
                    <a:pt x="24" y="69"/>
                    <a:pt x="26" y="69"/>
                  </a:cubicBezTo>
                  <a:cubicBezTo>
                    <a:pt x="28" y="70"/>
                    <a:pt x="29" y="73"/>
                    <a:pt x="30" y="74"/>
                  </a:cubicBezTo>
                  <a:cubicBezTo>
                    <a:pt x="31" y="75"/>
                    <a:pt x="29" y="78"/>
                    <a:pt x="29" y="79"/>
                  </a:cubicBezTo>
                  <a:cubicBezTo>
                    <a:pt x="30" y="81"/>
                    <a:pt x="32" y="82"/>
                    <a:pt x="32" y="85"/>
                  </a:cubicBezTo>
                  <a:cubicBezTo>
                    <a:pt x="32" y="86"/>
                    <a:pt x="34" y="89"/>
                    <a:pt x="37" y="91"/>
                  </a:cubicBezTo>
                  <a:cubicBezTo>
                    <a:pt x="37" y="91"/>
                    <a:pt x="38" y="91"/>
                    <a:pt x="39" y="91"/>
                  </a:cubicBezTo>
                  <a:cubicBezTo>
                    <a:pt x="41" y="91"/>
                    <a:pt x="41" y="88"/>
                    <a:pt x="42" y="90"/>
                  </a:cubicBezTo>
                  <a:cubicBezTo>
                    <a:pt x="44" y="91"/>
                    <a:pt x="46" y="90"/>
                    <a:pt x="48" y="90"/>
                  </a:cubicBezTo>
                  <a:cubicBezTo>
                    <a:pt x="50" y="89"/>
                    <a:pt x="54" y="98"/>
                    <a:pt x="56" y="102"/>
                  </a:cubicBezTo>
                  <a:cubicBezTo>
                    <a:pt x="58" y="106"/>
                    <a:pt x="58" y="108"/>
                    <a:pt x="61" y="110"/>
                  </a:cubicBezTo>
                  <a:cubicBezTo>
                    <a:pt x="63" y="111"/>
                    <a:pt x="67" y="110"/>
                    <a:pt x="70" y="114"/>
                  </a:cubicBezTo>
                  <a:cubicBezTo>
                    <a:pt x="74" y="118"/>
                    <a:pt x="84" y="121"/>
                    <a:pt x="89" y="121"/>
                  </a:cubicBezTo>
                  <a:cubicBezTo>
                    <a:pt x="93" y="122"/>
                    <a:pt x="96" y="117"/>
                    <a:pt x="102" y="118"/>
                  </a:cubicBezTo>
                  <a:cubicBezTo>
                    <a:pt x="107" y="119"/>
                    <a:pt x="106" y="126"/>
                    <a:pt x="108" y="128"/>
                  </a:cubicBezTo>
                  <a:cubicBezTo>
                    <a:pt x="110" y="131"/>
                    <a:pt x="132" y="133"/>
                    <a:pt x="136" y="134"/>
                  </a:cubicBezTo>
                  <a:cubicBezTo>
                    <a:pt x="137" y="134"/>
                    <a:pt x="141" y="134"/>
                    <a:pt x="144" y="134"/>
                  </a:cubicBezTo>
                  <a:cubicBezTo>
                    <a:pt x="144" y="134"/>
                    <a:pt x="144" y="133"/>
                    <a:pt x="144" y="132"/>
                  </a:cubicBezTo>
                  <a:cubicBezTo>
                    <a:pt x="144" y="129"/>
                    <a:pt x="147" y="125"/>
                    <a:pt x="149" y="124"/>
                  </a:cubicBezTo>
                  <a:cubicBezTo>
                    <a:pt x="152" y="123"/>
                    <a:pt x="154" y="122"/>
                    <a:pt x="157" y="122"/>
                  </a:cubicBezTo>
                  <a:cubicBezTo>
                    <a:pt x="159" y="122"/>
                    <a:pt x="157" y="117"/>
                    <a:pt x="155" y="116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5" name="Freeform 343">
              <a:extLst>
                <a:ext uri="{FF2B5EF4-FFF2-40B4-BE49-F238E27FC236}">
                  <a16:creationId xmlns:a16="http://schemas.microsoft.com/office/drawing/2014/main" id="{2BBB7DB7-D03A-246F-DE9E-A92AC941B6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70602" y="2403990"/>
              <a:ext cx="1226979" cy="579364"/>
            </a:xfrm>
            <a:custGeom>
              <a:avLst/>
              <a:gdLst>
                <a:gd name="T0" fmla="*/ 316 w 327"/>
                <a:gd name="T1" fmla="*/ 64 h 154"/>
                <a:gd name="T2" fmla="*/ 305 w 327"/>
                <a:gd name="T3" fmla="*/ 53 h 154"/>
                <a:gd name="T4" fmla="*/ 284 w 327"/>
                <a:gd name="T5" fmla="*/ 50 h 154"/>
                <a:gd name="T6" fmla="*/ 265 w 327"/>
                <a:gd name="T7" fmla="*/ 36 h 154"/>
                <a:gd name="T8" fmla="*/ 243 w 327"/>
                <a:gd name="T9" fmla="*/ 12 h 154"/>
                <a:gd name="T10" fmla="*/ 220 w 327"/>
                <a:gd name="T11" fmla="*/ 21 h 154"/>
                <a:gd name="T12" fmla="*/ 215 w 327"/>
                <a:gd name="T13" fmla="*/ 15 h 154"/>
                <a:gd name="T14" fmla="*/ 203 w 327"/>
                <a:gd name="T15" fmla="*/ 14 h 154"/>
                <a:gd name="T16" fmla="*/ 197 w 327"/>
                <a:gd name="T17" fmla="*/ 2 h 154"/>
                <a:gd name="T18" fmla="*/ 169 w 327"/>
                <a:gd name="T19" fmla="*/ 7 h 154"/>
                <a:gd name="T20" fmla="*/ 137 w 327"/>
                <a:gd name="T21" fmla="*/ 14 h 154"/>
                <a:gd name="T22" fmla="*/ 121 w 327"/>
                <a:gd name="T23" fmla="*/ 22 h 154"/>
                <a:gd name="T24" fmla="*/ 118 w 327"/>
                <a:gd name="T25" fmla="*/ 33 h 154"/>
                <a:gd name="T26" fmla="*/ 121 w 327"/>
                <a:gd name="T27" fmla="*/ 43 h 154"/>
                <a:gd name="T28" fmla="*/ 112 w 327"/>
                <a:gd name="T29" fmla="*/ 49 h 154"/>
                <a:gd name="T30" fmla="*/ 100 w 327"/>
                <a:gd name="T31" fmla="*/ 48 h 154"/>
                <a:gd name="T32" fmla="*/ 80 w 327"/>
                <a:gd name="T33" fmla="*/ 50 h 154"/>
                <a:gd name="T34" fmla="*/ 65 w 327"/>
                <a:gd name="T35" fmla="*/ 50 h 154"/>
                <a:gd name="T36" fmla="*/ 44 w 327"/>
                <a:gd name="T37" fmla="*/ 41 h 154"/>
                <a:gd name="T38" fmla="*/ 25 w 327"/>
                <a:gd name="T39" fmla="*/ 47 h 154"/>
                <a:gd name="T40" fmla="*/ 18 w 327"/>
                <a:gd name="T41" fmla="*/ 60 h 154"/>
                <a:gd name="T42" fmla="*/ 2 w 327"/>
                <a:gd name="T43" fmla="*/ 63 h 154"/>
                <a:gd name="T44" fmla="*/ 0 w 327"/>
                <a:gd name="T45" fmla="*/ 74 h 154"/>
                <a:gd name="T46" fmla="*/ 12 w 327"/>
                <a:gd name="T47" fmla="*/ 81 h 154"/>
                <a:gd name="T48" fmla="*/ 20 w 327"/>
                <a:gd name="T49" fmla="*/ 95 h 154"/>
                <a:gd name="T50" fmla="*/ 41 w 327"/>
                <a:gd name="T51" fmla="*/ 90 h 154"/>
                <a:gd name="T52" fmla="*/ 46 w 327"/>
                <a:gd name="T53" fmla="*/ 107 h 154"/>
                <a:gd name="T54" fmla="*/ 31 w 327"/>
                <a:gd name="T55" fmla="*/ 117 h 154"/>
                <a:gd name="T56" fmla="*/ 46 w 327"/>
                <a:gd name="T57" fmla="*/ 132 h 154"/>
                <a:gd name="T58" fmla="*/ 53 w 327"/>
                <a:gd name="T59" fmla="*/ 141 h 154"/>
                <a:gd name="T60" fmla="*/ 77 w 327"/>
                <a:gd name="T61" fmla="*/ 145 h 154"/>
                <a:gd name="T62" fmla="*/ 99 w 327"/>
                <a:gd name="T63" fmla="*/ 103 h 154"/>
                <a:gd name="T64" fmla="*/ 111 w 327"/>
                <a:gd name="T65" fmla="*/ 104 h 154"/>
                <a:gd name="T66" fmla="*/ 136 w 327"/>
                <a:gd name="T67" fmla="*/ 124 h 154"/>
                <a:gd name="T68" fmla="*/ 160 w 327"/>
                <a:gd name="T69" fmla="*/ 137 h 154"/>
                <a:gd name="T70" fmla="*/ 178 w 327"/>
                <a:gd name="T71" fmla="*/ 151 h 154"/>
                <a:gd name="T72" fmla="*/ 195 w 327"/>
                <a:gd name="T73" fmla="*/ 143 h 154"/>
                <a:gd name="T74" fmla="*/ 213 w 327"/>
                <a:gd name="T75" fmla="*/ 133 h 154"/>
                <a:gd name="T76" fmla="*/ 239 w 327"/>
                <a:gd name="T77" fmla="*/ 132 h 154"/>
                <a:gd name="T78" fmla="*/ 274 w 327"/>
                <a:gd name="T79" fmla="*/ 138 h 154"/>
                <a:gd name="T80" fmla="*/ 275 w 327"/>
                <a:gd name="T81" fmla="*/ 119 h 154"/>
                <a:gd name="T82" fmla="*/ 286 w 327"/>
                <a:gd name="T83" fmla="*/ 108 h 154"/>
                <a:gd name="T84" fmla="*/ 296 w 327"/>
                <a:gd name="T85" fmla="*/ 90 h 154"/>
                <a:gd name="T86" fmla="*/ 317 w 327"/>
                <a:gd name="T87" fmla="*/ 88 h 154"/>
                <a:gd name="T88" fmla="*/ 324 w 327"/>
                <a:gd name="T89" fmla="*/ 71 h 154"/>
                <a:gd name="T90" fmla="*/ 122 w 327"/>
                <a:gd name="T91" fmla="*/ 98 h 154"/>
                <a:gd name="T92" fmla="*/ 257 w 327"/>
                <a:gd name="T93" fmla="*/ 97 h 154"/>
                <a:gd name="T94" fmla="*/ 224 w 327"/>
                <a:gd name="T95" fmla="*/ 97 h 154"/>
                <a:gd name="T96" fmla="*/ 257 w 327"/>
                <a:gd name="T97" fmla="*/ 9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7" h="154">
                  <a:moveTo>
                    <a:pt x="325" y="63"/>
                  </a:moveTo>
                  <a:cubicBezTo>
                    <a:pt x="325" y="61"/>
                    <a:pt x="324" y="62"/>
                    <a:pt x="323" y="63"/>
                  </a:cubicBezTo>
                  <a:cubicBezTo>
                    <a:pt x="321" y="63"/>
                    <a:pt x="318" y="64"/>
                    <a:pt x="316" y="64"/>
                  </a:cubicBezTo>
                  <a:cubicBezTo>
                    <a:pt x="315" y="64"/>
                    <a:pt x="312" y="62"/>
                    <a:pt x="312" y="60"/>
                  </a:cubicBezTo>
                  <a:cubicBezTo>
                    <a:pt x="312" y="59"/>
                    <a:pt x="312" y="57"/>
                    <a:pt x="310" y="57"/>
                  </a:cubicBezTo>
                  <a:cubicBezTo>
                    <a:pt x="309" y="57"/>
                    <a:pt x="307" y="57"/>
                    <a:pt x="305" y="53"/>
                  </a:cubicBezTo>
                  <a:cubicBezTo>
                    <a:pt x="304" y="50"/>
                    <a:pt x="302" y="50"/>
                    <a:pt x="300" y="49"/>
                  </a:cubicBezTo>
                  <a:cubicBezTo>
                    <a:pt x="299" y="48"/>
                    <a:pt x="294" y="51"/>
                    <a:pt x="292" y="51"/>
                  </a:cubicBezTo>
                  <a:cubicBezTo>
                    <a:pt x="290" y="52"/>
                    <a:pt x="287" y="51"/>
                    <a:pt x="284" y="50"/>
                  </a:cubicBezTo>
                  <a:cubicBezTo>
                    <a:pt x="282" y="50"/>
                    <a:pt x="280" y="45"/>
                    <a:pt x="278" y="46"/>
                  </a:cubicBezTo>
                  <a:cubicBezTo>
                    <a:pt x="276" y="46"/>
                    <a:pt x="275" y="51"/>
                    <a:pt x="273" y="51"/>
                  </a:cubicBezTo>
                  <a:cubicBezTo>
                    <a:pt x="272" y="51"/>
                    <a:pt x="268" y="41"/>
                    <a:pt x="265" y="36"/>
                  </a:cubicBezTo>
                  <a:cubicBezTo>
                    <a:pt x="262" y="31"/>
                    <a:pt x="256" y="21"/>
                    <a:pt x="250" y="19"/>
                  </a:cubicBezTo>
                  <a:cubicBezTo>
                    <a:pt x="245" y="17"/>
                    <a:pt x="247" y="14"/>
                    <a:pt x="248" y="13"/>
                  </a:cubicBezTo>
                  <a:cubicBezTo>
                    <a:pt x="249" y="11"/>
                    <a:pt x="245" y="11"/>
                    <a:pt x="243" y="12"/>
                  </a:cubicBezTo>
                  <a:cubicBezTo>
                    <a:pt x="240" y="13"/>
                    <a:pt x="238" y="16"/>
                    <a:pt x="235" y="16"/>
                  </a:cubicBezTo>
                  <a:cubicBezTo>
                    <a:pt x="233" y="17"/>
                    <a:pt x="229" y="21"/>
                    <a:pt x="227" y="20"/>
                  </a:cubicBezTo>
                  <a:cubicBezTo>
                    <a:pt x="224" y="19"/>
                    <a:pt x="223" y="23"/>
                    <a:pt x="220" y="21"/>
                  </a:cubicBezTo>
                  <a:cubicBezTo>
                    <a:pt x="218" y="19"/>
                    <a:pt x="223" y="18"/>
                    <a:pt x="223" y="16"/>
                  </a:cubicBezTo>
                  <a:cubicBezTo>
                    <a:pt x="223" y="14"/>
                    <a:pt x="220" y="17"/>
                    <a:pt x="219" y="16"/>
                  </a:cubicBezTo>
                  <a:cubicBezTo>
                    <a:pt x="218" y="15"/>
                    <a:pt x="215" y="13"/>
                    <a:pt x="215" y="15"/>
                  </a:cubicBezTo>
                  <a:cubicBezTo>
                    <a:pt x="215" y="17"/>
                    <a:pt x="213" y="16"/>
                    <a:pt x="213" y="15"/>
                  </a:cubicBezTo>
                  <a:cubicBezTo>
                    <a:pt x="213" y="13"/>
                    <a:pt x="211" y="11"/>
                    <a:pt x="210" y="13"/>
                  </a:cubicBezTo>
                  <a:cubicBezTo>
                    <a:pt x="209" y="14"/>
                    <a:pt x="204" y="15"/>
                    <a:pt x="203" y="14"/>
                  </a:cubicBezTo>
                  <a:cubicBezTo>
                    <a:pt x="202" y="13"/>
                    <a:pt x="203" y="12"/>
                    <a:pt x="204" y="10"/>
                  </a:cubicBezTo>
                  <a:cubicBezTo>
                    <a:pt x="204" y="9"/>
                    <a:pt x="202" y="7"/>
                    <a:pt x="202" y="5"/>
                  </a:cubicBezTo>
                  <a:cubicBezTo>
                    <a:pt x="202" y="3"/>
                    <a:pt x="199" y="1"/>
                    <a:pt x="197" y="2"/>
                  </a:cubicBezTo>
                  <a:cubicBezTo>
                    <a:pt x="195" y="2"/>
                    <a:pt x="193" y="2"/>
                    <a:pt x="191" y="1"/>
                  </a:cubicBezTo>
                  <a:cubicBezTo>
                    <a:pt x="189" y="0"/>
                    <a:pt x="181" y="1"/>
                    <a:pt x="181" y="3"/>
                  </a:cubicBezTo>
                  <a:cubicBezTo>
                    <a:pt x="180" y="5"/>
                    <a:pt x="171" y="6"/>
                    <a:pt x="169" y="7"/>
                  </a:cubicBezTo>
                  <a:cubicBezTo>
                    <a:pt x="167" y="8"/>
                    <a:pt x="160" y="9"/>
                    <a:pt x="158" y="9"/>
                  </a:cubicBezTo>
                  <a:cubicBezTo>
                    <a:pt x="155" y="9"/>
                    <a:pt x="153" y="12"/>
                    <a:pt x="149" y="12"/>
                  </a:cubicBezTo>
                  <a:cubicBezTo>
                    <a:pt x="146" y="12"/>
                    <a:pt x="140" y="12"/>
                    <a:pt x="137" y="14"/>
                  </a:cubicBezTo>
                  <a:cubicBezTo>
                    <a:pt x="134" y="16"/>
                    <a:pt x="130" y="14"/>
                    <a:pt x="128" y="15"/>
                  </a:cubicBezTo>
                  <a:cubicBezTo>
                    <a:pt x="125" y="16"/>
                    <a:pt x="122" y="15"/>
                    <a:pt x="121" y="15"/>
                  </a:cubicBezTo>
                  <a:cubicBezTo>
                    <a:pt x="120" y="16"/>
                    <a:pt x="120" y="20"/>
                    <a:pt x="121" y="22"/>
                  </a:cubicBezTo>
                  <a:cubicBezTo>
                    <a:pt x="122" y="24"/>
                    <a:pt x="128" y="25"/>
                    <a:pt x="128" y="26"/>
                  </a:cubicBezTo>
                  <a:cubicBezTo>
                    <a:pt x="129" y="27"/>
                    <a:pt x="123" y="27"/>
                    <a:pt x="120" y="27"/>
                  </a:cubicBezTo>
                  <a:cubicBezTo>
                    <a:pt x="117" y="28"/>
                    <a:pt x="118" y="31"/>
                    <a:pt x="118" y="33"/>
                  </a:cubicBezTo>
                  <a:cubicBezTo>
                    <a:pt x="119" y="35"/>
                    <a:pt x="115" y="36"/>
                    <a:pt x="113" y="37"/>
                  </a:cubicBezTo>
                  <a:cubicBezTo>
                    <a:pt x="111" y="38"/>
                    <a:pt x="113" y="41"/>
                    <a:pt x="115" y="41"/>
                  </a:cubicBezTo>
                  <a:cubicBezTo>
                    <a:pt x="118" y="41"/>
                    <a:pt x="119" y="43"/>
                    <a:pt x="121" y="43"/>
                  </a:cubicBezTo>
                  <a:cubicBezTo>
                    <a:pt x="123" y="43"/>
                    <a:pt x="123" y="47"/>
                    <a:pt x="123" y="49"/>
                  </a:cubicBezTo>
                  <a:cubicBezTo>
                    <a:pt x="123" y="51"/>
                    <a:pt x="121" y="52"/>
                    <a:pt x="118" y="52"/>
                  </a:cubicBezTo>
                  <a:cubicBezTo>
                    <a:pt x="115" y="52"/>
                    <a:pt x="114" y="50"/>
                    <a:pt x="112" y="49"/>
                  </a:cubicBezTo>
                  <a:cubicBezTo>
                    <a:pt x="110" y="49"/>
                    <a:pt x="111" y="53"/>
                    <a:pt x="109" y="53"/>
                  </a:cubicBezTo>
                  <a:cubicBezTo>
                    <a:pt x="108" y="54"/>
                    <a:pt x="108" y="51"/>
                    <a:pt x="105" y="51"/>
                  </a:cubicBezTo>
                  <a:cubicBezTo>
                    <a:pt x="103" y="51"/>
                    <a:pt x="101" y="50"/>
                    <a:pt x="100" y="48"/>
                  </a:cubicBezTo>
                  <a:cubicBezTo>
                    <a:pt x="99" y="46"/>
                    <a:pt x="94" y="46"/>
                    <a:pt x="92" y="48"/>
                  </a:cubicBezTo>
                  <a:cubicBezTo>
                    <a:pt x="90" y="50"/>
                    <a:pt x="89" y="49"/>
                    <a:pt x="88" y="48"/>
                  </a:cubicBezTo>
                  <a:cubicBezTo>
                    <a:pt x="86" y="46"/>
                    <a:pt x="80" y="48"/>
                    <a:pt x="80" y="50"/>
                  </a:cubicBezTo>
                  <a:cubicBezTo>
                    <a:pt x="79" y="52"/>
                    <a:pt x="75" y="53"/>
                    <a:pt x="72" y="51"/>
                  </a:cubicBezTo>
                  <a:cubicBezTo>
                    <a:pt x="69" y="49"/>
                    <a:pt x="68" y="48"/>
                    <a:pt x="68" y="51"/>
                  </a:cubicBezTo>
                  <a:cubicBezTo>
                    <a:pt x="68" y="53"/>
                    <a:pt x="65" y="51"/>
                    <a:pt x="65" y="50"/>
                  </a:cubicBezTo>
                  <a:cubicBezTo>
                    <a:pt x="65" y="48"/>
                    <a:pt x="61" y="45"/>
                    <a:pt x="59" y="44"/>
                  </a:cubicBezTo>
                  <a:cubicBezTo>
                    <a:pt x="57" y="43"/>
                    <a:pt x="50" y="43"/>
                    <a:pt x="49" y="41"/>
                  </a:cubicBezTo>
                  <a:cubicBezTo>
                    <a:pt x="49" y="40"/>
                    <a:pt x="45" y="39"/>
                    <a:pt x="44" y="41"/>
                  </a:cubicBezTo>
                  <a:cubicBezTo>
                    <a:pt x="43" y="44"/>
                    <a:pt x="41" y="42"/>
                    <a:pt x="39" y="41"/>
                  </a:cubicBezTo>
                  <a:cubicBezTo>
                    <a:pt x="38" y="40"/>
                    <a:pt x="35" y="42"/>
                    <a:pt x="33" y="43"/>
                  </a:cubicBezTo>
                  <a:cubicBezTo>
                    <a:pt x="32" y="44"/>
                    <a:pt x="27" y="47"/>
                    <a:pt x="25" y="47"/>
                  </a:cubicBezTo>
                  <a:cubicBezTo>
                    <a:pt x="22" y="47"/>
                    <a:pt x="24" y="50"/>
                    <a:pt x="21" y="51"/>
                  </a:cubicBezTo>
                  <a:cubicBezTo>
                    <a:pt x="17" y="51"/>
                    <a:pt x="18" y="54"/>
                    <a:pt x="18" y="55"/>
                  </a:cubicBezTo>
                  <a:cubicBezTo>
                    <a:pt x="19" y="56"/>
                    <a:pt x="21" y="59"/>
                    <a:pt x="18" y="60"/>
                  </a:cubicBezTo>
                  <a:cubicBezTo>
                    <a:pt x="15" y="61"/>
                    <a:pt x="14" y="56"/>
                    <a:pt x="11" y="55"/>
                  </a:cubicBezTo>
                  <a:cubicBezTo>
                    <a:pt x="9" y="53"/>
                    <a:pt x="7" y="55"/>
                    <a:pt x="7" y="58"/>
                  </a:cubicBezTo>
                  <a:cubicBezTo>
                    <a:pt x="7" y="60"/>
                    <a:pt x="4" y="60"/>
                    <a:pt x="2" y="63"/>
                  </a:cubicBezTo>
                  <a:cubicBezTo>
                    <a:pt x="1" y="65"/>
                    <a:pt x="5" y="65"/>
                    <a:pt x="5" y="66"/>
                  </a:cubicBezTo>
                  <a:cubicBezTo>
                    <a:pt x="5" y="68"/>
                    <a:pt x="3" y="69"/>
                    <a:pt x="2" y="69"/>
                  </a:cubicBezTo>
                  <a:cubicBezTo>
                    <a:pt x="1" y="69"/>
                    <a:pt x="0" y="73"/>
                    <a:pt x="0" y="74"/>
                  </a:cubicBezTo>
                  <a:cubicBezTo>
                    <a:pt x="1" y="75"/>
                    <a:pt x="5" y="75"/>
                    <a:pt x="5" y="77"/>
                  </a:cubicBezTo>
                  <a:cubicBezTo>
                    <a:pt x="5" y="80"/>
                    <a:pt x="4" y="82"/>
                    <a:pt x="6" y="81"/>
                  </a:cubicBezTo>
                  <a:cubicBezTo>
                    <a:pt x="8" y="81"/>
                    <a:pt x="11" y="81"/>
                    <a:pt x="12" y="81"/>
                  </a:cubicBezTo>
                  <a:cubicBezTo>
                    <a:pt x="13" y="81"/>
                    <a:pt x="14" y="84"/>
                    <a:pt x="17" y="87"/>
                  </a:cubicBezTo>
                  <a:cubicBezTo>
                    <a:pt x="19" y="90"/>
                    <a:pt x="21" y="91"/>
                    <a:pt x="18" y="92"/>
                  </a:cubicBezTo>
                  <a:cubicBezTo>
                    <a:pt x="16" y="92"/>
                    <a:pt x="17" y="94"/>
                    <a:pt x="20" y="95"/>
                  </a:cubicBezTo>
                  <a:cubicBezTo>
                    <a:pt x="21" y="96"/>
                    <a:pt x="22" y="96"/>
                    <a:pt x="22" y="97"/>
                  </a:cubicBezTo>
                  <a:cubicBezTo>
                    <a:pt x="23" y="97"/>
                    <a:pt x="23" y="96"/>
                    <a:pt x="24" y="96"/>
                  </a:cubicBezTo>
                  <a:cubicBezTo>
                    <a:pt x="28" y="92"/>
                    <a:pt x="35" y="89"/>
                    <a:pt x="41" y="90"/>
                  </a:cubicBezTo>
                  <a:cubicBezTo>
                    <a:pt x="46" y="92"/>
                    <a:pt x="51" y="89"/>
                    <a:pt x="53" y="93"/>
                  </a:cubicBezTo>
                  <a:cubicBezTo>
                    <a:pt x="56" y="96"/>
                    <a:pt x="53" y="102"/>
                    <a:pt x="54" y="105"/>
                  </a:cubicBezTo>
                  <a:cubicBezTo>
                    <a:pt x="55" y="107"/>
                    <a:pt x="50" y="107"/>
                    <a:pt x="46" y="107"/>
                  </a:cubicBezTo>
                  <a:cubicBezTo>
                    <a:pt x="43" y="106"/>
                    <a:pt x="35" y="108"/>
                    <a:pt x="36" y="110"/>
                  </a:cubicBezTo>
                  <a:cubicBezTo>
                    <a:pt x="37" y="112"/>
                    <a:pt x="40" y="117"/>
                    <a:pt x="35" y="115"/>
                  </a:cubicBezTo>
                  <a:cubicBezTo>
                    <a:pt x="30" y="112"/>
                    <a:pt x="28" y="117"/>
                    <a:pt x="31" y="117"/>
                  </a:cubicBezTo>
                  <a:cubicBezTo>
                    <a:pt x="34" y="117"/>
                    <a:pt x="37" y="121"/>
                    <a:pt x="37" y="123"/>
                  </a:cubicBezTo>
                  <a:cubicBezTo>
                    <a:pt x="37" y="125"/>
                    <a:pt x="37" y="130"/>
                    <a:pt x="40" y="129"/>
                  </a:cubicBezTo>
                  <a:cubicBezTo>
                    <a:pt x="42" y="128"/>
                    <a:pt x="42" y="132"/>
                    <a:pt x="46" y="132"/>
                  </a:cubicBezTo>
                  <a:cubicBezTo>
                    <a:pt x="49" y="132"/>
                    <a:pt x="52" y="133"/>
                    <a:pt x="49" y="136"/>
                  </a:cubicBezTo>
                  <a:cubicBezTo>
                    <a:pt x="47" y="139"/>
                    <a:pt x="51" y="148"/>
                    <a:pt x="52" y="146"/>
                  </a:cubicBezTo>
                  <a:cubicBezTo>
                    <a:pt x="53" y="145"/>
                    <a:pt x="52" y="142"/>
                    <a:pt x="53" y="141"/>
                  </a:cubicBezTo>
                  <a:cubicBezTo>
                    <a:pt x="51" y="136"/>
                    <a:pt x="59" y="136"/>
                    <a:pt x="61" y="136"/>
                  </a:cubicBezTo>
                  <a:cubicBezTo>
                    <a:pt x="64" y="136"/>
                    <a:pt x="68" y="140"/>
                    <a:pt x="71" y="144"/>
                  </a:cubicBezTo>
                  <a:cubicBezTo>
                    <a:pt x="74" y="148"/>
                    <a:pt x="77" y="145"/>
                    <a:pt x="77" y="145"/>
                  </a:cubicBezTo>
                  <a:cubicBezTo>
                    <a:pt x="78" y="109"/>
                    <a:pt x="78" y="109"/>
                    <a:pt x="78" y="109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8" y="104"/>
                    <a:pt x="99" y="103"/>
                    <a:pt x="99" y="103"/>
                  </a:cubicBezTo>
                  <a:cubicBezTo>
                    <a:pt x="101" y="99"/>
                    <a:pt x="105" y="102"/>
                    <a:pt x="106" y="103"/>
                  </a:cubicBezTo>
                  <a:cubicBezTo>
                    <a:pt x="107" y="104"/>
                    <a:pt x="107" y="99"/>
                    <a:pt x="109" y="99"/>
                  </a:cubicBezTo>
                  <a:cubicBezTo>
                    <a:pt x="112" y="99"/>
                    <a:pt x="109" y="104"/>
                    <a:pt x="111" y="104"/>
                  </a:cubicBezTo>
                  <a:cubicBezTo>
                    <a:pt x="113" y="104"/>
                    <a:pt x="117" y="110"/>
                    <a:pt x="116" y="114"/>
                  </a:cubicBezTo>
                  <a:cubicBezTo>
                    <a:pt x="119" y="117"/>
                    <a:pt x="125" y="123"/>
                    <a:pt x="125" y="125"/>
                  </a:cubicBezTo>
                  <a:cubicBezTo>
                    <a:pt x="126" y="127"/>
                    <a:pt x="134" y="123"/>
                    <a:pt x="136" y="124"/>
                  </a:cubicBezTo>
                  <a:cubicBezTo>
                    <a:pt x="137" y="125"/>
                    <a:pt x="150" y="125"/>
                    <a:pt x="152" y="125"/>
                  </a:cubicBezTo>
                  <a:cubicBezTo>
                    <a:pt x="154" y="125"/>
                    <a:pt x="156" y="129"/>
                    <a:pt x="158" y="129"/>
                  </a:cubicBezTo>
                  <a:cubicBezTo>
                    <a:pt x="161" y="130"/>
                    <a:pt x="160" y="134"/>
                    <a:pt x="160" y="137"/>
                  </a:cubicBezTo>
                  <a:cubicBezTo>
                    <a:pt x="160" y="140"/>
                    <a:pt x="164" y="143"/>
                    <a:pt x="164" y="145"/>
                  </a:cubicBezTo>
                  <a:cubicBezTo>
                    <a:pt x="165" y="148"/>
                    <a:pt x="169" y="147"/>
                    <a:pt x="171" y="147"/>
                  </a:cubicBezTo>
                  <a:cubicBezTo>
                    <a:pt x="174" y="148"/>
                    <a:pt x="178" y="149"/>
                    <a:pt x="178" y="151"/>
                  </a:cubicBezTo>
                  <a:cubicBezTo>
                    <a:pt x="178" y="154"/>
                    <a:pt x="182" y="152"/>
                    <a:pt x="182" y="150"/>
                  </a:cubicBezTo>
                  <a:cubicBezTo>
                    <a:pt x="182" y="148"/>
                    <a:pt x="185" y="146"/>
                    <a:pt x="190" y="144"/>
                  </a:cubicBezTo>
                  <a:cubicBezTo>
                    <a:pt x="192" y="143"/>
                    <a:pt x="194" y="143"/>
                    <a:pt x="195" y="143"/>
                  </a:cubicBezTo>
                  <a:cubicBezTo>
                    <a:pt x="196" y="141"/>
                    <a:pt x="197" y="139"/>
                    <a:pt x="197" y="139"/>
                  </a:cubicBezTo>
                  <a:cubicBezTo>
                    <a:pt x="199" y="138"/>
                    <a:pt x="202" y="136"/>
                    <a:pt x="202" y="133"/>
                  </a:cubicBezTo>
                  <a:cubicBezTo>
                    <a:pt x="202" y="131"/>
                    <a:pt x="209" y="131"/>
                    <a:pt x="213" y="133"/>
                  </a:cubicBezTo>
                  <a:cubicBezTo>
                    <a:pt x="217" y="135"/>
                    <a:pt x="220" y="135"/>
                    <a:pt x="220" y="132"/>
                  </a:cubicBezTo>
                  <a:cubicBezTo>
                    <a:pt x="221" y="129"/>
                    <a:pt x="227" y="128"/>
                    <a:pt x="229" y="129"/>
                  </a:cubicBezTo>
                  <a:cubicBezTo>
                    <a:pt x="231" y="130"/>
                    <a:pt x="236" y="133"/>
                    <a:pt x="239" y="132"/>
                  </a:cubicBezTo>
                  <a:cubicBezTo>
                    <a:pt x="242" y="131"/>
                    <a:pt x="256" y="132"/>
                    <a:pt x="260" y="133"/>
                  </a:cubicBezTo>
                  <a:cubicBezTo>
                    <a:pt x="264" y="134"/>
                    <a:pt x="265" y="131"/>
                    <a:pt x="268" y="135"/>
                  </a:cubicBezTo>
                  <a:cubicBezTo>
                    <a:pt x="270" y="138"/>
                    <a:pt x="271" y="135"/>
                    <a:pt x="274" y="138"/>
                  </a:cubicBezTo>
                  <a:cubicBezTo>
                    <a:pt x="274" y="137"/>
                    <a:pt x="274" y="136"/>
                    <a:pt x="274" y="134"/>
                  </a:cubicBezTo>
                  <a:cubicBezTo>
                    <a:pt x="274" y="132"/>
                    <a:pt x="278" y="130"/>
                    <a:pt x="278" y="128"/>
                  </a:cubicBezTo>
                  <a:cubicBezTo>
                    <a:pt x="279" y="127"/>
                    <a:pt x="275" y="121"/>
                    <a:pt x="275" y="119"/>
                  </a:cubicBezTo>
                  <a:cubicBezTo>
                    <a:pt x="275" y="118"/>
                    <a:pt x="275" y="113"/>
                    <a:pt x="273" y="112"/>
                  </a:cubicBezTo>
                  <a:cubicBezTo>
                    <a:pt x="272" y="112"/>
                    <a:pt x="277" y="109"/>
                    <a:pt x="278" y="109"/>
                  </a:cubicBezTo>
                  <a:cubicBezTo>
                    <a:pt x="281" y="109"/>
                    <a:pt x="284" y="107"/>
                    <a:pt x="286" y="108"/>
                  </a:cubicBezTo>
                  <a:cubicBezTo>
                    <a:pt x="287" y="109"/>
                    <a:pt x="289" y="109"/>
                    <a:pt x="291" y="109"/>
                  </a:cubicBezTo>
                  <a:cubicBezTo>
                    <a:pt x="294" y="109"/>
                    <a:pt x="293" y="107"/>
                    <a:pt x="291" y="106"/>
                  </a:cubicBezTo>
                  <a:cubicBezTo>
                    <a:pt x="290" y="104"/>
                    <a:pt x="296" y="94"/>
                    <a:pt x="296" y="90"/>
                  </a:cubicBezTo>
                  <a:cubicBezTo>
                    <a:pt x="297" y="86"/>
                    <a:pt x="299" y="90"/>
                    <a:pt x="302" y="90"/>
                  </a:cubicBezTo>
                  <a:cubicBezTo>
                    <a:pt x="304" y="90"/>
                    <a:pt x="308" y="90"/>
                    <a:pt x="309" y="91"/>
                  </a:cubicBezTo>
                  <a:cubicBezTo>
                    <a:pt x="311" y="92"/>
                    <a:pt x="316" y="90"/>
                    <a:pt x="317" y="88"/>
                  </a:cubicBezTo>
                  <a:cubicBezTo>
                    <a:pt x="318" y="86"/>
                    <a:pt x="315" y="86"/>
                    <a:pt x="316" y="81"/>
                  </a:cubicBezTo>
                  <a:cubicBezTo>
                    <a:pt x="316" y="77"/>
                    <a:pt x="318" y="75"/>
                    <a:pt x="321" y="75"/>
                  </a:cubicBezTo>
                  <a:cubicBezTo>
                    <a:pt x="323" y="75"/>
                    <a:pt x="324" y="73"/>
                    <a:pt x="324" y="71"/>
                  </a:cubicBezTo>
                  <a:cubicBezTo>
                    <a:pt x="324" y="69"/>
                    <a:pt x="326" y="68"/>
                    <a:pt x="327" y="66"/>
                  </a:cubicBezTo>
                  <a:cubicBezTo>
                    <a:pt x="326" y="65"/>
                    <a:pt x="326" y="64"/>
                    <a:pt x="325" y="63"/>
                  </a:cubicBezTo>
                  <a:close/>
                  <a:moveTo>
                    <a:pt x="122" y="98"/>
                  </a:moveTo>
                  <a:cubicBezTo>
                    <a:pt x="121" y="99"/>
                    <a:pt x="112" y="96"/>
                    <a:pt x="111" y="95"/>
                  </a:cubicBezTo>
                  <a:cubicBezTo>
                    <a:pt x="110" y="93"/>
                    <a:pt x="124" y="95"/>
                    <a:pt x="122" y="98"/>
                  </a:cubicBezTo>
                  <a:close/>
                  <a:moveTo>
                    <a:pt x="257" y="97"/>
                  </a:moveTo>
                  <a:cubicBezTo>
                    <a:pt x="250" y="97"/>
                    <a:pt x="236" y="93"/>
                    <a:pt x="230" y="100"/>
                  </a:cubicBezTo>
                  <a:cubicBezTo>
                    <a:pt x="224" y="106"/>
                    <a:pt x="228" y="110"/>
                    <a:pt x="225" y="110"/>
                  </a:cubicBezTo>
                  <a:cubicBezTo>
                    <a:pt x="222" y="111"/>
                    <a:pt x="221" y="100"/>
                    <a:pt x="224" y="97"/>
                  </a:cubicBezTo>
                  <a:cubicBezTo>
                    <a:pt x="228" y="94"/>
                    <a:pt x="238" y="92"/>
                    <a:pt x="245" y="94"/>
                  </a:cubicBezTo>
                  <a:cubicBezTo>
                    <a:pt x="252" y="96"/>
                    <a:pt x="264" y="92"/>
                    <a:pt x="265" y="93"/>
                  </a:cubicBezTo>
                  <a:cubicBezTo>
                    <a:pt x="267" y="93"/>
                    <a:pt x="264" y="97"/>
                    <a:pt x="257" y="9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6" name="Freeform 344">
              <a:extLst>
                <a:ext uri="{FF2B5EF4-FFF2-40B4-BE49-F238E27FC236}">
                  <a16:creationId xmlns:a16="http://schemas.microsoft.com/office/drawing/2014/main" id="{914BFB4A-8B9A-735D-FF61-167A628CA4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9492" y="978597"/>
              <a:ext cx="5155529" cy="1980942"/>
            </a:xfrm>
            <a:custGeom>
              <a:avLst/>
              <a:gdLst>
                <a:gd name="T0" fmla="*/ 361 w 1374"/>
                <a:gd name="T1" fmla="*/ 10 h 527"/>
                <a:gd name="T2" fmla="*/ 611 w 1374"/>
                <a:gd name="T3" fmla="*/ 5 h 527"/>
                <a:gd name="T4" fmla="*/ 481 w 1374"/>
                <a:gd name="T5" fmla="*/ 150 h 527"/>
                <a:gd name="T6" fmla="*/ 663 w 1374"/>
                <a:gd name="T7" fmla="*/ 49 h 527"/>
                <a:gd name="T8" fmla="*/ 1003 w 1374"/>
                <a:gd name="T9" fmla="*/ 110 h 527"/>
                <a:gd name="T10" fmla="*/ 1054 w 1374"/>
                <a:gd name="T11" fmla="*/ 117 h 527"/>
                <a:gd name="T12" fmla="*/ 982 w 1374"/>
                <a:gd name="T13" fmla="*/ 426 h 527"/>
                <a:gd name="T14" fmla="*/ 244 w 1374"/>
                <a:gd name="T15" fmla="*/ 22 h 527"/>
                <a:gd name="T16" fmla="*/ 1332 w 1374"/>
                <a:gd name="T17" fmla="*/ 242 h 527"/>
                <a:gd name="T18" fmla="*/ 1194 w 1374"/>
                <a:gd name="T19" fmla="*/ 202 h 527"/>
                <a:gd name="T20" fmla="*/ 1063 w 1374"/>
                <a:gd name="T21" fmla="*/ 177 h 527"/>
                <a:gd name="T22" fmla="*/ 974 w 1374"/>
                <a:gd name="T23" fmla="*/ 150 h 527"/>
                <a:gd name="T24" fmla="*/ 903 w 1374"/>
                <a:gd name="T25" fmla="*/ 167 h 527"/>
                <a:gd name="T26" fmla="*/ 845 w 1374"/>
                <a:gd name="T27" fmla="*/ 138 h 527"/>
                <a:gd name="T28" fmla="*/ 748 w 1374"/>
                <a:gd name="T29" fmla="*/ 136 h 527"/>
                <a:gd name="T30" fmla="*/ 738 w 1374"/>
                <a:gd name="T31" fmla="*/ 118 h 527"/>
                <a:gd name="T32" fmla="*/ 699 w 1374"/>
                <a:gd name="T33" fmla="*/ 83 h 527"/>
                <a:gd name="T34" fmla="*/ 631 w 1374"/>
                <a:gd name="T35" fmla="*/ 96 h 527"/>
                <a:gd name="T36" fmla="*/ 547 w 1374"/>
                <a:gd name="T37" fmla="*/ 114 h 527"/>
                <a:gd name="T38" fmla="*/ 519 w 1374"/>
                <a:gd name="T39" fmla="*/ 137 h 527"/>
                <a:gd name="T40" fmla="*/ 479 w 1374"/>
                <a:gd name="T41" fmla="*/ 177 h 527"/>
                <a:gd name="T42" fmla="*/ 456 w 1374"/>
                <a:gd name="T43" fmla="*/ 204 h 527"/>
                <a:gd name="T44" fmla="*/ 422 w 1374"/>
                <a:gd name="T45" fmla="*/ 243 h 527"/>
                <a:gd name="T46" fmla="*/ 438 w 1374"/>
                <a:gd name="T47" fmla="*/ 213 h 527"/>
                <a:gd name="T48" fmla="*/ 387 w 1374"/>
                <a:gd name="T49" fmla="*/ 187 h 527"/>
                <a:gd name="T50" fmla="*/ 326 w 1374"/>
                <a:gd name="T51" fmla="*/ 196 h 527"/>
                <a:gd name="T52" fmla="*/ 269 w 1374"/>
                <a:gd name="T53" fmla="*/ 210 h 527"/>
                <a:gd name="T54" fmla="*/ 196 w 1374"/>
                <a:gd name="T55" fmla="*/ 214 h 527"/>
                <a:gd name="T56" fmla="*/ 150 w 1374"/>
                <a:gd name="T57" fmla="*/ 262 h 527"/>
                <a:gd name="T58" fmla="*/ 103 w 1374"/>
                <a:gd name="T59" fmla="*/ 233 h 527"/>
                <a:gd name="T60" fmla="*/ 107 w 1374"/>
                <a:gd name="T61" fmla="*/ 200 h 527"/>
                <a:gd name="T62" fmla="*/ 79 w 1374"/>
                <a:gd name="T63" fmla="*/ 230 h 527"/>
                <a:gd name="T64" fmla="*/ 70 w 1374"/>
                <a:gd name="T65" fmla="*/ 315 h 527"/>
                <a:gd name="T66" fmla="*/ 74 w 1374"/>
                <a:gd name="T67" fmla="*/ 370 h 527"/>
                <a:gd name="T68" fmla="*/ 115 w 1374"/>
                <a:gd name="T69" fmla="*/ 412 h 527"/>
                <a:gd name="T70" fmla="*/ 161 w 1374"/>
                <a:gd name="T71" fmla="*/ 450 h 527"/>
                <a:gd name="T72" fmla="*/ 165 w 1374"/>
                <a:gd name="T73" fmla="*/ 503 h 527"/>
                <a:gd name="T74" fmla="*/ 238 w 1374"/>
                <a:gd name="T75" fmla="*/ 476 h 527"/>
                <a:gd name="T76" fmla="*/ 237 w 1374"/>
                <a:gd name="T77" fmla="*/ 430 h 527"/>
                <a:gd name="T78" fmla="*/ 325 w 1374"/>
                <a:gd name="T79" fmla="*/ 432 h 527"/>
                <a:gd name="T80" fmla="*/ 374 w 1374"/>
                <a:gd name="T81" fmla="*/ 388 h 527"/>
                <a:gd name="T82" fmla="*/ 451 w 1374"/>
                <a:gd name="T83" fmla="*/ 395 h 527"/>
                <a:gd name="T84" fmla="*/ 541 w 1374"/>
                <a:gd name="T85" fmla="*/ 442 h 527"/>
                <a:gd name="T86" fmla="*/ 625 w 1374"/>
                <a:gd name="T87" fmla="*/ 432 h 527"/>
                <a:gd name="T88" fmla="*/ 697 w 1374"/>
                <a:gd name="T89" fmla="*/ 437 h 527"/>
                <a:gd name="T90" fmla="*/ 804 w 1374"/>
                <a:gd name="T91" fmla="*/ 419 h 527"/>
                <a:gd name="T92" fmla="*/ 888 w 1374"/>
                <a:gd name="T93" fmla="*/ 453 h 527"/>
                <a:gd name="T94" fmla="*/ 899 w 1374"/>
                <a:gd name="T95" fmla="*/ 508 h 527"/>
                <a:gd name="T96" fmla="*/ 961 w 1374"/>
                <a:gd name="T97" fmla="*/ 393 h 527"/>
                <a:gd name="T98" fmla="*/ 970 w 1374"/>
                <a:gd name="T99" fmla="*/ 348 h 527"/>
                <a:gd name="T100" fmla="*/ 1078 w 1374"/>
                <a:gd name="T101" fmla="*/ 337 h 527"/>
                <a:gd name="T102" fmla="*/ 1152 w 1374"/>
                <a:gd name="T103" fmla="*/ 299 h 527"/>
                <a:gd name="T104" fmla="*/ 1098 w 1374"/>
                <a:gd name="T105" fmla="*/ 424 h 527"/>
                <a:gd name="T106" fmla="*/ 1151 w 1374"/>
                <a:gd name="T107" fmla="*/ 352 h 527"/>
                <a:gd name="T108" fmla="*/ 1235 w 1374"/>
                <a:gd name="T109" fmla="*/ 309 h 527"/>
                <a:gd name="T110" fmla="*/ 1292 w 1374"/>
                <a:gd name="T111" fmla="*/ 262 h 527"/>
                <a:gd name="T112" fmla="*/ 1347 w 1374"/>
                <a:gd name="T113" fmla="*/ 267 h 527"/>
                <a:gd name="T114" fmla="*/ 707 w 1374"/>
                <a:gd name="T115" fmla="*/ 392 h 527"/>
                <a:gd name="T116" fmla="*/ 277 w 1374"/>
                <a:gd name="T117" fmla="*/ 23 h 527"/>
                <a:gd name="T118" fmla="*/ 282 w 1374"/>
                <a:gd name="T119" fmla="*/ 14 h 527"/>
                <a:gd name="T120" fmla="*/ 300 w 1374"/>
                <a:gd name="T121" fmla="*/ 145 h 527"/>
                <a:gd name="T122" fmla="*/ 301 w 1374"/>
                <a:gd name="T123" fmla="*/ 111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4" h="527">
                  <a:moveTo>
                    <a:pt x="21" y="381"/>
                  </a:moveTo>
                  <a:cubicBezTo>
                    <a:pt x="20" y="381"/>
                    <a:pt x="17" y="380"/>
                    <a:pt x="16" y="379"/>
                  </a:cubicBezTo>
                  <a:cubicBezTo>
                    <a:pt x="16" y="378"/>
                    <a:pt x="13" y="378"/>
                    <a:pt x="11" y="378"/>
                  </a:cubicBezTo>
                  <a:cubicBezTo>
                    <a:pt x="12" y="379"/>
                    <a:pt x="12" y="379"/>
                    <a:pt x="13" y="380"/>
                  </a:cubicBezTo>
                  <a:cubicBezTo>
                    <a:pt x="14" y="382"/>
                    <a:pt x="8" y="382"/>
                    <a:pt x="10" y="384"/>
                  </a:cubicBezTo>
                  <a:cubicBezTo>
                    <a:pt x="12" y="386"/>
                    <a:pt x="6" y="386"/>
                    <a:pt x="6" y="384"/>
                  </a:cubicBezTo>
                  <a:cubicBezTo>
                    <a:pt x="6" y="382"/>
                    <a:pt x="1" y="383"/>
                    <a:pt x="1" y="384"/>
                  </a:cubicBezTo>
                  <a:cubicBezTo>
                    <a:pt x="1" y="385"/>
                    <a:pt x="1" y="386"/>
                    <a:pt x="0" y="386"/>
                  </a:cubicBezTo>
                  <a:cubicBezTo>
                    <a:pt x="2" y="387"/>
                    <a:pt x="4" y="388"/>
                    <a:pt x="4" y="388"/>
                  </a:cubicBezTo>
                  <a:cubicBezTo>
                    <a:pt x="5" y="388"/>
                    <a:pt x="20" y="390"/>
                    <a:pt x="25" y="389"/>
                  </a:cubicBezTo>
                  <a:cubicBezTo>
                    <a:pt x="25" y="388"/>
                    <a:pt x="26" y="385"/>
                    <a:pt x="26" y="383"/>
                  </a:cubicBezTo>
                  <a:cubicBezTo>
                    <a:pt x="26" y="382"/>
                    <a:pt x="22" y="380"/>
                    <a:pt x="21" y="381"/>
                  </a:cubicBezTo>
                  <a:close/>
                  <a:moveTo>
                    <a:pt x="365" y="14"/>
                  </a:moveTo>
                  <a:cubicBezTo>
                    <a:pt x="374" y="13"/>
                    <a:pt x="374" y="8"/>
                    <a:pt x="369" y="8"/>
                  </a:cubicBezTo>
                  <a:cubicBezTo>
                    <a:pt x="364" y="7"/>
                    <a:pt x="364" y="10"/>
                    <a:pt x="361" y="10"/>
                  </a:cubicBezTo>
                  <a:cubicBezTo>
                    <a:pt x="359" y="10"/>
                    <a:pt x="350" y="12"/>
                    <a:pt x="352" y="14"/>
                  </a:cubicBezTo>
                  <a:cubicBezTo>
                    <a:pt x="354" y="16"/>
                    <a:pt x="361" y="15"/>
                    <a:pt x="365" y="14"/>
                  </a:cubicBezTo>
                  <a:close/>
                  <a:moveTo>
                    <a:pt x="411" y="147"/>
                  </a:moveTo>
                  <a:cubicBezTo>
                    <a:pt x="414" y="147"/>
                    <a:pt x="423" y="145"/>
                    <a:pt x="423" y="144"/>
                  </a:cubicBezTo>
                  <a:cubicBezTo>
                    <a:pt x="424" y="142"/>
                    <a:pt x="420" y="140"/>
                    <a:pt x="415" y="140"/>
                  </a:cubicBezTo>
                  <a:cubicBezTo>
                    <a:pt x="409" y="140"/>
                    <a:pt x="408" y="146"/>
                    <a:pt x="411" y="147"/>
                  </a:cubicBezTo>
                  <a:close/>
                  <a:moveTo>
                    <a:pt x="587" y="25"/>
                  </a:moveTo>
                  <a:cubicBezTo>
                    <a:pt x="591" y="27"/>
                    <a:pt x="590" y="28"/>
                    <a:pt x="585" y="28"/>
                  </a:cubicBezTo>
                  <a:cubicBezTo>
                    <a:pt x="580" y="28"/>
                    <a:pt x="576" y="30"/>
                    <a:pt x="579" y="31"/>
                  </a:cubicBezTo>
                  <a:cubicBezTo>
                    <a:pt x="582" y="32"/>
                    <a:pt x="581" y="35"/>
                    <a:pt x="586" y="36"/>
                  </a:cubicBezTo>
                  <a:cubicBezTo>
                    <a:pt x="591" y="37"/>
                    <a:pt x="596" y="33"/>
                    <a:pt x="596" y="30"/>
                  </a:cubicBezTo>
                  <a:cubicBezTo>
                    <a:pt x="595" y="27"/>
                    <a:pt x="613" y="25"/>
                    <a:pt x="618" y="23"/>
                  </a:cubicBezTo>
                  <a:cubicBezTo>
                    <a:pt x="623" y="22"/>
                    <a:pt x="615" y="17"/>
                    <a:pt x="620" y="17"/>
                  </a:cubicBezTo>
                  <a:cubicBezTo>
                    <a:pt x="625" y="16"/>
                    <a:pt x="623" y="14"/>
                    <a:pt x="617" y="13"/>
                  </a:cubicBezTo>
                  <a:cubicBezTo>
                    <a:pt x="610" y="12"/>
                    <a:pt x="613" y="7"/>
                    <a:pt x="611" y="5"/>
                  </a:cubicBezTo>
                  <a:cubicBezTo>
                    <a:pt x="609" y="3"/>
                    <a:pt x="608" y="7"/>
                    <a:pt x="599" y="9"/>
                  </a:cubicBezTo>
                  <a:cubicBezTo>
                    <a:pt x="591" y="10"/>
                    <a:pt x="587" y="13"/>
                    <a:pt x="590" y="14"/>
                  </a:cubicBezTo>
                  <a:cubicBezTo>
                    <a:pt x="593" y="16"/>
                    <a:pt x="590" y="20"/>
                    <a:pt x="587" y="20"/>
                  </a:cubicBezTo>
                  <a:cubicBezTo>
                    <a:pt x="583" y="19"/>
                    <a:pt x="582" y="23"/>
                    <a:pt x="587" y="25"/>
                  </a:cubicBezTo>
                  <a:close/>
                  <a:moveTo>
                    <a:pt x="599" y="32"/>
                  </a:moveTo>
                  <a:cubicBezTo>
                    <a:pt x="599" y="34"/>
                    <a:pt x="592" y="37"/>
                    <a:pt x="594" y="39"/>
                  </a:cubicBezTo>
                  <a:cubicBezTo>
                    <a:pt x="596" y="41"/>
                    <a:pt x="598" y="40"/>
                    <a:pt x="600" y="41"/>
                  </a:cubicBezTo>
                  <a:cubicBezTo>
                    <a:pt x="602" y="41"/>
                    <a:pt x="603" y="47"/>
                    <a:pt x="608" y="46"/>
                  </a:cubicBezTo>
                  <a:cubicBezTo>
                    <a:pt x="612" y="45"/>
                    <a:pt x="624" y="51"/>
                    <a:pt x="631" y="51"/>
                  </a:cubicBezTo>
                  <a:cubicBezTo>
                    <a:pt x="637" y="51"/>
                    <a:pt x="638" y="45"/>
                    <a:pt x="636" y="45"/>
                  </a:cubicBezTo>
                  <a:cubicBezTo>
                    <a:pt x="634" y="45"/>
                    <a:pt x="636" y="41"/>
                    <a:pt x="640" y="36"/>
                  </a:cubicBezTo>
                  <a:cubicBezTo>
                    <a:pt x="643" y="30"/>
                    <a:pt x="628" y="26"/>
                    <a:pt x="628" y="31"/>
                  </a:cubicBezTo>
                  <a:cubicBezTo>
                    <a:pt x="628" y="35"/>
                    <a:pt x="623" y="30"/>
                    <a:pt x="622" y="27"/>
                  </a:cubicBezTo>
                  <a:cubicBezTo>
                    <a:pt x="620" y="24"/>
                    <a:pt x="599" y="29"/>
                    <a:pt x="599" y="32"/>
                  </a:cubicBezTo>
                  <a:close/>
                  <a:moveTo>
                    <a:pt x="481" y="150"/>
                  </a:moveTo>
                  <a:cubicBezTo>
                    <a:pt x="484" y="152"/>
                    <a:pt x="487" y="151"/>
                    <a:pt x="487" y="148"/>
                  </a:cubicBezTo>
                  <a:cubicBezTo>
                    <a:pt x="486" y="144"/>
                    <a:pt x="478" y="149"/>
                    <a:pt x="481" y="150"/>
                  </a:cubicBezTo>
                  <a:close/>
                  <a:moveTo>
                    <a:pt x="581" y="8"/>
                  </a:moveTo>
                  <a:cubicBezTo>
                    <a:pt x="582" y="5"/>
                    <a:pt x="566" y="6"/>
                    <a:pt x="570" y="10"/>
                  </a:cubicBezTo>
                  <a:cubicBezTo>
                    <a:pt x="571" y="11"/>
                    <a:pt x="580" y="12"/>
                    <a:pt x="581" y="8"/>
                  </a:cubicBezTo>
                  <a:close/>
                  <a:moveTo>
                    <a:pt x="1280" y="181"/>
                  </a:moveTo>
                  <a:cubicBezTo>
                    <a:pt x="1285" y="183"/>
                    <a:pt x="1288" y="178"/>
                    <a:pt x="1292" y="180"/>
                  </a:cubicBezTo>
                  <a:cubicBezTo>
                    <a:pt x="1296" y="183"/>
                    <a:pt x="1305" y="179"/>
                    <a:pt x="1309" y="179"/>
                  </a:cubicBezTo>
                  <a:cubicBezTo>
                    <a:pt x="1313" y="178"/>
                    <a:pt x="1311" y="173"/>
                    <a:pt x="1300" y="172"/>
                  </a:cubicBezTo>
                  <a:cubicBezTo>
                    <a:pt x="1289" y="170"/>
                    <a:pt x="1275" y="178"/>
                    <a:pt x="1280" y="181"/>
                  </a:cubicBezTo>
                  <a:close/>
                  <a:moveTo>
                    <a:pt x="636" y="65"/>
                  </a:moveTo>
                  <a:cubicBezTo>
                    <a:pt x="640" y="67"/>
                    <a:pt x="650" y="63"/>
                    <a:pt x="657" y="63"/>
                  </a:cubicBezTo>
                  <a:cubicBezTo>
                    <a:pt x="665" y="63"/>
                    <a:pt x="685" y="58"/>
                    <a:pt x="685" y="54"/>
                  </a:cubicBezTo>
                  <a:cubicBezTo>
                    <a:pt x="686" y="50"/>
                    <a:pt x="678" y="50"/>
                    <a:pt x="675" y="47"/>
                  </a:cubicBezTo>
                  <a:cubicBezTo>
                    <a:pt x="672" y="44"/>
                    <a:pt x="665" y="47"/>
                    <a:pt x="663" y="49"/>
                  </a:cubicBezTo>
                  <a:cubicBezTo>
                    <a:pt x="661" y="52"/>
                    <a:pt x="660" y="50"/>
                    <a:pt x="664" y="45"/>
                  </a:cubicBezTo>
                  <a:cubicBezTo>
                    <a:pt x="669" y="41"/>
                    <a:pt x="660" y="37"/>
                    <a:pt x="659" y="40"/>
                  </a:cubicBezTo>
                  <a:cubicBezTo>
                    <a:pt x="659" y="43"/>
                    <a:pt x="651" y="40"/>
                    <a:pt x="651" y="43"/>
                  </a:cubicBezTo>
                  <a:cubicBezTo>
                    <a:pt x="651" y="46"/>
                    <a:pt x="648" y="47"/>
                    <a:pt x="648" y="49"/>
                  </a:cubicBezTo>
                  <a:cubicBezTo>
                    <a:pt x="648" y="52"/>
                    <a:pt x="642" y="48"/>
                    <a:pt x="642" y="54"/>
                  </a:cubicBezTo>
                  <a:cubicBezTo>
                    <a:pt x="642" y="60"/>
                    <a:pt x="633" y="63"/>
                    <a:pt x="636" y="65"/>
                  </a:cubicBezTo>
                  <a:close/>
                  <a:moveTo>
                    <a:pt x="943" y="114"/>
                  </a:moveTo>
                  <a:cubicBezTo>
                    <a:pt x="946" y="116"/>
                    <a:pt x="948" y="118"/>
                    <a:pt x="949" y="120"/>
                  </a:cubicBezTo>
                  <a:cubicBezTo>
                    <a:pt x="951" y="121"/>
                    <a:pt x="958" y="119"/>
                    <a:pt x="961" y="118"/>
                  </a:cubicBezTo>
                  <a:cubicBezTo>
                    <a:pt x="964" y="117"/>
                    <a:pt x="964" y="122"/>
                    <a:pt x="969" y="119"/>
                  </a:cubicBezTo>
                  <a:cubicBezTo>
                    <a:pt x="973" y="116"/>
                    <a:pt x="978" y="118"/>
                    <a:pt x="983" y="118"/>
                  </a:cubicBezTo>
                  <a:cubicBezTo>
                    <a:pt x="988" y="118"/>
                    <a:pt x="982" y="111"/>
                    <a:pt x="983" y="108"/>
                  </a:cubicBezTo>
                  <a:cubicBezTo>
                    <a:pt x="983" y="106"/>
                    <a:pt x="989" y="107"/>
                    <a:pt x="987" y="110"/>
                  </a:cubicBezTo>
                  <a:cubicBezTo>
                    <a:pt x="985" y="112"/>
                    <a:pt x="990" y="118"/>
                    <a:pt x="997" y="117"/>
                  </a:cubicBezTo>
                  <a:cubicBezTo>
                    <a:pt x="1005" y="117"/>
                    <a:pt x="999" y="112"/>
                    <a:pt x="1003" y="110"/>
                  </a:cubicBezTo>
                  <a:cubicBezTo>
                    <a:pt x="1007" y="109"/>
                    <a:pt x="1006" y="107"/>
                    <a:pt x="1001" y="103"/>
                  </a:cubicBezTo>
                  <a:cubicBezTo>
                    <a:pt x="995" y="100"/>
                    <a:pt x="988" y="102"/>
                    <a:pt x="983" y="100"/>
                  </a:cubicBezTo>
                  <a:cubicBezTo>
                    <a:pt x="978" y="98"/>
                    <a:pt x="972" y="98"/>
                    <a:pt x="972" y="103"/>
                  </a:cubicBezTo>
                  <a:cubicBezTo>
                    <a:pt x="972" y="108"/>
                    <a:pt x="962" y="97"/>
                    <a:pt x="957" y="96"/>
                  </a:cubicBezTo>
                  <a:cubicBezTo>
                    <a:pt x="951" y="94"/>
                    <a:pt x="935" y="110"/>
                    <a:pt x="943" y="114"/>
                  </a:cubicBezTo>
                  <a:close/>
                  <a:moveTo>
                    <a:pt x="993" y="145"/>
                  </a:moveTo>
                  <a:cubicBezTo>
                    <a:pt x="997" y="144"/>
                    <a:pt x="990" y="136"/>
                    <a:pt x="982" y="135"/>
                  </a:cubicBezTo>
                  <a:cubicBezTo>
                    <a:pt x="975" y="134"/>
                    <a:pt x="968" y="140"/>
                    <a:pt x="969" y="141"/>
                  </a:cubicBezTo>
                  <a:cubicBezTo>
                    <a:pt x="971" y="144"/>
                    <a:pt x="988" y="146"/>
                    <a:pt x="993" y="145"/>
                  </a:cubicBezTo>
                  <a:close/>
                  <a:moveTo>
                    <a:pt x="974" y="129"/>
                  </a:moveTo>
                  <a:cubicBezTo>
                    <a:pt x="974" y="125"/>
                    <a:pt x="961" y="130"/>
                    <a:pt x="966" y="132"/>
                  </a:cubicBezTo>
                  <a:cubicBezTo>
                    <a:pt x="969" y="133"/>
                    <a:pt x="974" y="133"/>
                    <a:pt x="974" y="129"/>
                  </a:cubicBezTo>
                  <a:close/>
                  <a:moveTo>
                    <a:pt x="1015" y="114"/>
                  </a:moveTo>
                  <a:cubicBezTo>
                    <a:pt x="1021" y="115"/>
                    <a:pt x="1024" y="120"/>
                    <a:pt x="1035" y="121"/>
                  </a:cubicBezTo>
                  <a:cubicBezTo>
                    <a:pt x="1046" y="121"/>
                    <a:pt x="1054" y="119"/>
                    <a:pt x="1054" y="117"/>
                  </a:cubicBezTo>
                  <a:cubicBezTo>
                    <a:pt x="1054" y="115"/>
                    <a:pt x="1044" y="111"/>
                    <a:pt x="1041" y="113"/>
                  </a:cubicBezTo>
                  <a:cubicBezTo>
                    <a:pt x="1038" y="115"/>
                    <a:pt x="1035" y="110"/>
                    <a:pt x="1032" y="111"/>
                  </a:cubicBezTo>
                  <a:cubicBezTo>
                    <a:pt x="1028" y="112"/>
                    <a:pt x="1022" y="112"/>
                    <a:pt x="1021" y="109"/>
                  </a:cubicBezTo>
                  <a:cubicBezTo>
                    <a:pt x="1019" y="105"/>
                    <a:pt x="1012" y="114"/>
                    <a:pt x="1015" y="114"/>
                  </a:cubicBezTo>
                  <a:close/>
                  <a:moveTo>
                    <a:pt x="221" y="18"/>
                  </a:moveTo>
                  <a:cubicBezTo>
                    <a:pt x="226" y="13"/>
                    <a:pt x="233" y="17"/>
                    <a:pt x="234" y="15"/>
                  </a:cubicBezTo>
                  <a:cubicBezTo>
                    <a:pt x="235" y="13"/>
                    <a:pt x="224" y="12"/>
                    <a:pt x="220" y="14"/>
                  </a:cubicBezTo>
                  <a:cubicBezTo>
                    <a:pt x="216" y="16"/>
                    <a:pt x="206" y="14"/>
                    <a:pt x="208" y="17"/>
                  </a:cubicBezTo>
                  <a:cubicBezTo>
                    <a:pt x="208" y="19"/>
                    <a:pt x="215" y="23"/>
                    <a:pt x="221" y="18"/>
                  </a:cubicBezTo>
                  <a:close/>
                  <a:moveTo>
                    <a:pt x="991" y="419"/>
                  </a:moveTo>
                  <a:cubicBezTo>
                    <a:pt x="988" y="413"/>
                    <a:pt x="995" y="406"/>
                    <a:pt x="990" y="402"/>
                  </a:cubicBezTo>
                  <a:cubicBezTo>
                    <a:pt x="985" y="399"/>
                    <a:pt x="987" y="391"/>
                    <a:pt x="985" y="393"/>
                  </a:cubicBezTo>
                  <a:cubicBezTo>
                    <a:pt x="982" y="394"/>
                    <a:pt x="985" y="401"/>
                    <a:pt x="981" y="401"/>
                  </a:cubicBezTo>
                  <a:cubicBezTo>
                    <a:pt x="977" y="402"/>
                    <a:pt x="981" y="405"/>
                    <a:pt x="979" y="410"/>
                  </a:cubicBezTo>
                  <a:cubicBezTo>
                    <a:pt x="978" y="415"/>
                    <a:pt x="980" y="422"/>
                    <a:pt x="982" y="426"/>
                  </a:cubicBezTo>
                  <a:cubicBezTo>
                    <a:pt x="984" y="430"/>
                    <a:pt x="979" y="453"/>
                    <a:pt x="981" y="457"/>
                  </a:cubicBezTo>
                  <a:cubicBezTo>
                    <a:pt x="983" y="461"/>
                    <a:pt x="978" y="477"/>
                    <a:pt x="980" y="479"/>
                  </a:cubicBezTo>
                  <a:cubicBezTo>
                    <a:pt x="983" y="483"/>
                    <a:pt x="981" y="475"/>
                    <a:pt x="985" y="474"/>
                  </a:cubicBezTo>
                  <a:cubicBezTo>
                    <a:pt x="989" y="473"/>
                    <a:pt x="989" y="479"/>
                    <a:pt x="992" y="480"/>
                  </a:cubicBezTo>
                  <a:cubicBezTo>
                    <a:pt x="994" y="481"/>
                    <a:pt x="993" y="472"/>
                    <a:pt x="990" y="473"/>
                  </a:cubicBezTo>
                  <a:cubicBezTo>
                    <a:pt x="988" y="473"/>
                    <a:pt x="986" y="467"/>
                    <a:pt x="985" y="463"/>
                  </a:cubicBezTo>
                  <a:cubicBezTo>
                    <a:pt x="984" y="460"/>
                    <a:pt x="987" y="455"/>
                    <a:pt x="987" y="450"/>
                  </a:cubicBezTo>
                  <a:cubicBezTo>
                    <a:pt x="987" y="446"/>
                    <a:pt x="993" y="446"/>
                    <a:pt x="997" y="449"/>
                  </a:cubicBezTo>
                  <a:cubicBezTo>
                    <a:pt x="1000" y="453"/>
                    <a:pt x="1001" y="451"/>
                    <a:pt x="999" y="448"/>
                  </a:cubicBezTo>
                  <a:cubicBezTo>
                    <a:pt x="998" y="445"/>
                    <a:pt x="993" y="426"/>
                    <a:pt x="991" y="419"/>
                  </a:cubicBezTo>
                  <a:close/>
                  <a:moveTo>
                    <a:pt x="243" y="15"/>
                  </a:moveTo>
                  <a:cubicBezTo>
                    <a:pt x="246" y="18"/>
                    <a:pt x="234" y="17"/>
                    <a:pt x="232" y="19"/>
                  </a:cubicBezTo>
                  <a:cubicBezTo>
                    <a:pt x="230" y="22"/>
                    <a:pt x="223" y="21"/>
                    <a:pt x="224" y="24"/>
                  </a:cubicBezTo>
                  <a:cubicBezTo>
                    <a:pt x="226" y="27"/>
                    <a:pt x="238" y="27"/>
                    <a:pt x="238" y="24"/>
                  </a:cubicBezTo>
                  <a:cubicBezTo>
                    <a:pt x="238" y="22"/>
                    <a:pt x="244" y="24"/>
                    <a:pt x="244" y="22"/>
                  </a:cubicBezTo>
                  <a:cubicBezTo>
                    <a:pt x="244" y="20"/>
                    <a:pt x="247" y="18"/>
                    <a:pt x="254" y="17"/>
                  </a:cubicBezTo>
                  <a:cubicBezTo>
                    <a:pt x="260" y="17"/>
                    <a:pt x="260" y="14"/>
                    <a:pt x="254" y="11"/>
                  </a:cubicBezTo>
                  <a:cubicBezTo>
                    <a:pt x="248" y="8"/>
                    <a:pt x="240" y="13"/>
                    <a:pt x="243" y="15"/>
                  </a:cubicBezTo>
                  <a:close/>
                  <a:moveTo>
                    <a:pt x="233" y="208"/>
                  </a:moveTo>
                  <a:cubicBezTo>
                    <a:pt x="239" y="213"/>
                    <a:pt x="245" y="205"/>
                    <a:pt x="248" y="204"/>
                  </a:cubicBezTo>
                  <a:cubicBezTo>
                    <a:pt x="251" y="204"/>
                    <a:pt x="246" y="201"/>
                    <a:pt x="241" y="199"/>
                  </a:cubicBezTo>
                  <a:cubicBezTo>
                    <a:pt x="235" y="198"/>
                    <a:pt x="228" y="203"/>
                    <a:pt x="233" y="208"/>
                  </a:cubicBezTo>
                  <a:close/>
                  <a:moveTo>
                    <a:pt x="1372" y="248"/>
                  </a:moveTo>
                  <a:cubicBezTo>
                    <a:pt x="1370" y="247"/>
                    <a:pt x="1362" y="242"/>
                    <a:pt x="1360" y="240"/>
                  </a:cubicBezTo>
                  <a:cubicBezTo>
                    <a:pt x="1358" y="237"/>
                    <a:pt x="1349" y="236"/>
                    <a:pt x="1349" y="237"/>
                  </a:cubicBezTo>
                  <a:cubicBezTo>
                    <a:pt x="1349" y="238"/>
                    <a:pt x="1346" y="237"/>
                    <a:pt x="1345" y="235"/>
                  </a:cubicBezTo>
                  <a:cubicBezTo>
                    <a:pt x="1345" y="234"/>
                    <a:pt x="1335" y="233"/>
                    <a:pt x="1335" y="235"/>
                  </a:cubicBezTo>
                  <a:cubicBezTo>
                    <a:pt x="1335" y="237"/>
                    <a:pt x="1337" y="237"/>
                    <a:pt x="1338" y="239"/>
                  </a:cubicBezTo>
                  <a:cubicBezTo>
                    <a:pt x="1340" y="241"/>
                    <a:pt x="1337" y="242"/>
                    <a:pt x="1337" y="244"/>
                  </a:cubicBezTo>
                  <a:cubicBezTo>
                    <a:pt x="1338" y="246"/>
                    <a:pt x="1334" y="243"/>
                    <a:pt x="1332" y="242"/>
                  </a:cubicBezTo>
                  <a:cubicBezTo>
                    <a:pt x="1331" y="240"/>
                    <a:pt x="1331" y="236"/>
                    <a:pt x="1332" y="233"/>
                  </a:cubicBezTo>
                  <a:cubicBezTo>
                    <a:pt x="1332" y="231"/>
                    <a:pt x="1329" y="231"/>
                    <a:pt x="1329" y="229"/>
                  </a:cubicBezTo>
                  <a:cubicBezTo>
                    <a:pt x="1328" y="227"/>
                    <a:pt x="1318" y="222"/>
                    <a:pt x="1313" y="220"/>
                  </a:cubicBezTo>
                  <a:cubicBezTo>
                    <a:pt x="1309" y="218"/>
                    <a:pt x="1303" y="216"/>
                    <a:pt x="1301" y="214"/>
                  </a:cubicBezTo>
                  <a:cubicBezTo>
                    <a:pt x="1300" y="212"/>
                    <a:pt x="1292" y="211"/>
                    <a:pt x="1289" y="208"/>
                  </a:cubicBezTo>
                  <a:cubicBezTo>
                    <a:pt x="1285" y="205"/>
                    <a:pt x="1272" y="199"/>
                    <a:pt x="1266" y="199"/>
                  </a:cubicBezTo>
                  <a:cubicBezTo>
                    <a:pt x="1260" y="198"/>
                    <a:pt x="1262" y="195"/>
                    <a:pt x="1259" y="196"/>
                  </a:cubicBezTo>
                  <a:cubicBezTo>
                    <a:pt x="1256" y="196"/>
                    <a:pt x="1244" y="196"/>
                    <a:pt x="1240" y="195"/>
                  </a:cubicBezTo>
                  <a:cubicBezTo>
                    <a:pt x="1236" y="194"/>
                    <a:pt x="1235" y="197"/>
                    <a:pt x="1232" y="196"/>
                  </a:cubicBezTo>
                  <a:cubicBezTo>
                    <a:pt x="1230" y="195"/>
                    <a:pt x="1216" y="190"/>
                    <a:pt x="1214" y="192"/>
                  </a:cubicBezTo>
                  <a:cubicBezTo>
                    <a:pt x="1212" y="194"/>
                    <a:pt x="1213" y="197"/>
                    <a:pt x="1211" y="197"/>
                  </a:cubicBezTo>
                  <a:cubicBezTo>
                    <a:pt x="1210" y="198"/>
                    <a:pt x="1211" y="200"/>
                    <a:pt x="1215" y="203"/>
                  </a:cubicBezTo>
                  <a:cubicBezTo>
                    <a:pt x="1219" y="207"/>
                    <a:pt x="1217" y="210"/>
                    <a:pt x="1213" y="211"/>
                  </a:cubicBezTo>
                  <a:cubicBezTo>
                    <a:pt x="1210" y="213"/>
                    <a:pt x="1204" y="210"/>
                    <a:pt x="1202" y="207"/>
                  </a:cubicBezTo>
                  <a:cubicBezTo>
                    <a:pt x="1200" y="204"/>
                    <a:pt x="1195" y="206"/>
                    <a:pt x="1194" y="202"/>
                  </a:cubicBezTo>
                  <a:cubicBezTo>
                    <a:pt x="1193" y="198"/>
                    <a:pt x="1196" y="198"/>
                    <a:pt x="1198" y="200"/>
                  </a:cubicBezTo>
                  <a:cubicBezTo>
                    <a:pt x="1200" y="202"/>
                    <a:pt x="1204" y="200"/>
                    <a:pt x="1204" y="198"/>
                  </a:cubicBezTo>
                  <a:cubicBezTo>
                    <a:pt x="1204" y="195"/>
                    <a:pt x="1198" y="193"/>
                    <a:pt x="1194" y="194"/>
                  </a:cubicBezTo>
                  <a:cubicBezTo>
                    <a:pt x="1190" y="194"/>
                    <a:pt x="1188" y="199"/>
                    <a:pt x="1184" y="201"/>
                  </a:cubicBezTo>
                  <a:cubicBezTo>
                    <a:pt x="1181" y="203"/>
                    <a:pt x="1166" y="200"/>
                    <a:pt x="1164" y="199"/>
                  </a:cubicBezTo>
                  <a:cubicBezTo>
                    <a:pt x="1163" y="197"/>
                    <a:pt x="1142" y="199"/>
                    <a:pt x="1140" y="200"/>
                  </a:cubicBezTo>
                  <a:cubicBezTo>
                    <a:pt x="1138" y="202"/>
                    <a:pt x="1139" y="207"/>
                    <a:pt x="1138" y="208"/>
                  </a:cubicBezTo>
                  <a:cubicBezTo>
                    <a:pt x="1137" y="208"/>
                    <a:pt x="1136" y="201"/>
                    <a:pt x="1136" y="200"/>
                  </a:cubicBezTo>
                  <a:cubicBezTo>
                    <a:pt x="1136" y="199"/>
                    <a:pt x="1134" y="198"/>
                    <a:pt x="1130" y="198"/>
                  </a:cubicBezTo>
                  <a:cubicBezTo>
                    <a:pt x="1126" y="198"/>
                    <a:pt x="1124" y="198"/>
                    <a:pt x="1126" y="196"/>
                  </a:cubicBezTo>
                  <a:cubicBezTo>
                    <a:pt x="1127" y="194"/>
                    <a:pt x="1124" y="193"/>
                    <a:pt x="1127" y="191"/>
                  </a:cubicBezTo>
                  <a:cubicBezTo>
                    <a:pt x="1130" y="189"/>
                    <a:pt x="1122" y="183"/>
                    <a:pt x="1114" y="179"/>
                  </a:cubicBezTo>
                  <a:cubicBezTo>
                    <a:pt x="1106" y="176"/>
                    <a:pt x="1088" y="178"/>
                    <a:pt x="1084" y="180"/>
                  </a:cubicBezTo>
                  <a:cubicBezTo>
                    <a:pt x="1079" y="181"/>
                    <a:pt x="1069" y="181"/>
                    <a:pt x="1065" y="181"/>
                  </a:cubicBezTo>
                  <a:cubicBezTo>
                    <a:pt x="1060" y="181"/>
                    <a:pt x="1064" y="179"/>
                    <a:pt x="1063" y="177"/>
                  </a:cubicBezTo>
                  <a:cubicBezTo>
                    <a:pt x="1061" y="175"/>
                    <a:pt x="1054" y="172"/>
                    <a:pt x="1053" y="174"/>
                  </a:cubicBezTo>
                  <a:cubicBezTo>
                    <a:pt x="1052" y="176"/>
                    <a:pt x="1050" y="174"/>
                    <a:pt x="1050" y="172"/>
                  </a:cubicBezTo>
                  <a:cubicBezTo>
                    <a:pt x="1050" y="171"/>
                    <a:pt x="1042" y="169"/>
                    <a:pt x="1039" y="169"/>
                  </a:cubicBezTo>
                  <a:cubicBezTo>
                    <a:pt x="1037" y="170"/>
                    <a:pt x="1035" y="167"/>
                    <a:pt x="1039" y="167"/>
                  </a:cubicBezTo>
                  <a:cubicBezTo>
                    <a:pt x="1042" y="167"/>
                    <a:pt x="1048" y="167"/>
                    <a:pt x="1045" y="163"/>
                  </a:cubicBezTo>
                  <a:cubicBezTo>
                    <a:pt x="1043" y="160"/>
                    <a:pt x="1021" y="158"/>
                    <a:pt x="1019" y="159"/>
                  </a:cubicBezTo>
                  <a:cubicBezTo>
                    <a:pt x="1017" y="160"/>
                    <a:pt x="1019" y="163"/>
                    <a:pt x="1015" y="167"/>
                  </a:cubicBezTo>
                  <a:cubicBezTo>
                    <a:pt x="1010" y="171"/>
                    <a:pt x="1005" y="168"/>
                    <a:pt x="1006" y="166"/>
                  </a:cubicBezTo>
                  <a:cubicBezTo>
                    <a:pt x="1007" y="164"/>
                    <a:pt x="1012" y="164"/>
                    <a:pt x="1012" y="162"/>
                  </a:cubicBezTo>
                  <a:cubicBezTo>
                    <a:pt x="1012" y="160"/>
                    <a:pt x="1004" y="161"/>
                    <a:pt x="1003" y="160"/>
                  </a:cubicBezTo>
                  <a:cubicBezTo>
                    <a:pt x="1002" y="158"/>
                    <a:pt x="1005" y="157"/>
                    <a:pt x="1008" y="157"/>
                  </a:cubicBezTo>
                  <a:cubicBezTo>
                    <a:pt x="1011" y="158"/>
                    <a:pt x="1016" y="159"/>
                    <a:pt x="1016" y="157"/>
                  </a:cubicBezTo>
                  <a:cubicBezTo>
                    <a:pt x="1016" y="156"/>
                    <a:pt x="1013" y="156"/>
                    <a:pt x="1008" y="155"/>
                  </a:cubicBezTo>
                  <a:cubicBezTo>
                    <a:pt x="1003" y="154"/>
                    <a:pt x="992" y="152"/>
                    <a:pt x="986" y="152"/>
                  </a:cubicBezTo>
                  <a:cubicBezTo>
                    <a:pt x="980" y="153"/>
                    <a:pt x="977" y="150"/>
                    <a:pt x="974" y="150"/>
                  </a:cubicBezTo>
                  <a:cubicBezTo>
                    <a:pt x="970" y="149"/>
                    <a:pt x="970" y="151"/>
                    <a:pt x="972" y="153"/>
                  </a:cubicBezTo>
                  <a:cubicBezTo>
                    <a:pt x="973" y="155"/>
                    <a:pt x="969" y="156"/>
                    <a:pt x="965" y="156"/>
                  </a:cubicBezTo>
                  <a:cubicBezTo>
                    <a:pt x="961" y="155"/>
                    <a:pt x="955" y="158"/>
                    <a:pt x="957" y="161"/>
                  </a:cubicBezTo>
                  <a:cubicBezTo>
                    <a:pt x="960" y="164"/>
                    <a:pt x="962" y="160"/>
                    <a:pt x="964" y="161"/>
                  </a:cubicBezTo>
                  <a:cubicBezTo>
                    <a:pt x="966" y="162"/>
                    <a:pt x="959" y="164"/>
                    <a:pt x="962" y="165"/>
                  </a:cubicBezTo>
                  <a:cubicBezTo>
                    <a:pt x="964" y="167"/>
                    <a:pt x="964" y="169"/>
                    <a:pt x="964" y="171"/>
                  </a:cubicBezTo>
                  <a:cubicBezTo>
                    <a:pt x="964" y="172"/>
                    <a:pt x="959" y="173"/>
                    <a:pt x="958" y="171"/>
                  </a:cubicBezTo>
                  <a:cubicBezTo>
                    <a:pt x="956" y="169"/>
                    <a:pt x="953" y="170"/>
                    <a:pt x="950" y="170"/>
                  </a:cubicBezTo>
                  <a:cubicBezTo>
                    <a:pt x="947" y="170"/>
                    <a:pt x="944" y="172"/>
                    <a:pt x="948" y="172"/>
                  </a:cubicBezTo>
                  <a:cubicBezTo>
                    <a:pt x="951" y="172"/>
                    <a:pt x="952" y="175"/>
                    <a:pt x="948" y="175"/>
                  </a:cubicBezTo>
                  <a:cubicBezTo>
                    <a:pt x="943" y="176"/>
                    <a:pt x="944" y="171"/>
                    <a:pt x="941" y="171"/>
                  </a:cubicBezTo>
                  <a:cubicBezTo>
                    <a:pt x="938" y="172"/>
                    <a:pt x="932" y="169"/>
                    <a:pt x="929" y="169"/>
                  </a:cubicBezTo>
                  <a:cubicBezTo>
                    <a:pt x="926" y="169"/>
                    <a:pt x="924" y="172"/>
                    <a:pt x="920" y="172"/>
                  </a:cubicBezTo>
                  <a:cubicBezTo>
                    <a:pt x="915" y="173"/>
                    <a:pt x="909" y="170"/>
                    <a:pt x="907" y="168"/>
                  </a:cubicBezTo>
                  <a:cubicBezTo>
                    <a:pt x="906" y="165"/>
                    <a:pt x="905" y="165"/>
                    <a:pt x="903" y="167"/>
                  </a:cubicBezTo>
                  <a:cubicBezTo>
                    <a:pt x="901" y="170"/>
                    <a:pt x="901" y="175"/>
                    <a:pt x="899" y="176"/>
                  </a:cubicBezTo>
                  <a:cubicBezTo>
                    <a:pt x="896" y="176"/>
                    <a:pt x="896" y="181"/>
                    <a:pt x="893" y="182"/>
                  </a:cubicBezTo>
                  <a:cubicBezTo>
                    <a:pt x="891" y="183"/>
                    <a:pt x="891" y="180"/>
                    <a:pt x="888" y="180"/>
                  </a:cubicBezTo>
                  <a:cubicBezTo>
                    <a:pt x="886" y="181"/>
                    <a:pt x="877" y="172"/>
                    <a:pt x="876" y="169"/>
                  </a:cubicBezTo>
                  <a:cubicBezTo>
                    <a:pt x="876" y="167"/>
                    <a:pt x="871" y="162"/>
                    <a:pt x="869" y="161"/>
                  </a:cubicBezTo>
                  <a:cubicBezTo>
                    <a:pt x="868" y="160"/>
                    <a:pt x="871" y="160"/>
                    <a:pt x="872" y="161"/>
                  </a:cubicBezTo>
                  <a:cubicBezTo>
                    <a:pt x="874" y="163"/>
                    <a:pt x="876" y="163"/>
                    <a:pt x="878" y="162"/>
                  </a:cubicBezTo>
                  <a:cubicBezTo>
                    <a:pt x="880" y="161"/>
                    <a:pt x="880" y="157"/>
                    <a:pt x="877" y="157"/>
                  </a:cubicBezTo>
                  <a:cubicBezTo>
                    <a:pt x="873" y="156"/>
                    <a:pt x="875" y="154"/>
                    <a:pt x="876" y="153"/>
                  </a:cubicBezTo>
                  <a:cubicBezTo>
                    <a:pt x="878" y="153"/>
                    <a:pt x="873" y="148"/>
                    <a:pt x="875" y="148"/>
                  </a:cubicBezTo>
                  <a:cubicBezTo>
                    <a:pt x="876" y="147"/>
                    <a:pt x="876" y="145"/>
                    <a:pt x="873" y="145"/>
                  </a:cubicBezTo>
                  <a:cubicBezTo>
                    <a:pt x="870" y="145"/>
                    <a:pt x="868" y="142"/>
                    <a:pt x="868" y="141"/>
                  </a:cubicBezTo>
                  <a:cubicBezTo>
                    <a:pt x="867" y="140"/>
                    <a:pt x="856" y="139"/>
                    <a:pt x="857" y="141"/>
                  </a:cubicBezTo>
                  <a:cubicBezTo>
                    <a:pt x="857" y="143"/>
                    <a:pt x="853" y="142"/>
                    <a:pt x="854" y="141"/>
                  </a:cubicBezTo>
                  <a:cubicBezTo>
                    <a:pt x="854" y="139"/>
                    <a:pt x="850" y="140"/>
                    <a:pt x="845" y="138"/>
                  </a:cubicBezTo>
                  <a:cubicBezTo>
                    <a:pt x="839" y="137"/>
                    <a:pt x="839" y="133"/>
                    <a:pt x="838" y="133"/>
                  </a:cubicBezTo>
                  <a:cubicBezTo>
                    <a:pt x="836" y="133"/>
                    <a:pt x="836" y="138"/>
                    <a:pt x="834" y="137"/>
                  </a:cubicBezTo>
                  <a:cubicBezTo>
                    <a:pt x="831" y="136"/>
                    <a:pt x="828" y="138"/>
                    <a:pt x="830" y="141"/>
                  </a:cubicBezTo>
                  <a:cubicBezTo>
                    <a:pt x="831" y="144"/>
                    <a:pt x="830" y="145"/>
                    <a:pt x="830" y="147"/>
                  </a:cubicBezTo>
                  <a:cubicBezTo>
                    <a:pt x="829" y="150"/>
                    <a:pt x="828" y="149"/>
                    <a:pt x="825" y="148"/>
                  </a:cubicBezTo>
                  <a:cubicBezTo>
                    <a:pt x="822" y="147"/>
                    <a:pt x="822" y="150"/>
                    <a:pt x="815" y="149"/>
                  </a:cubicBezTo>
                  <a:cubicBezTo>
                    <a:pt x="808" y="147"/>
                    <a:pt x="805" y="149"/>
                    <a:pt x="804" y="147"/>
                  </a:cubicBezTo>
                  <a:cubicBezTo>
                    <a:pt x="803" y="144"/>
                    <a:pt x="801" y="144"/>
                    <a:pt x="801" y="146"/>
                  </a:cubicBezTo>
                  <a:cubicBezTo>
                    <a:pt x="801" y="148"/>
                    <a:pt x="790" y="147"/>
                    <a:pt x="790" y="144"/>
                  </a:cubicBezTo>
                  <a:cubicBezTo>
                    <a:pt x="789" y="142"/>
                    <a:pt x="791" y="141"/>
                    <a:pt x="793" y="141"/>
                  </a:cubicBezTo>
                  <a:cubicBezTo>
                    <a:pt x="794" y="140"/>
                    <a:pt x="791" y="139"/>
                    <a:pt x="786" y="139"/>
                  </a:cubicBezTo>
                  <a:cubicBezTo>
                    <a:pt x="780" y="140"/>
                    <a:pt x="776" y="136"/>
                    <a:pt x="771" y="137"/>
                  </a:cubicBezTo>
                  <a:cubicBezTo>
                    <a:pt x="765" y="138"/>
                    <a:pt x="752" y="139"/>
                    <a:pt x="751" y="140"/>
                  </a:cubicBezTo>
                  <a:cubicBezTo>
                    <a:pt x="749" y="140"/>
                    <a:pt x="752" y="144"/>
                    <a:pt x="749" y="144"/>
                  </a:cubicBezTo>
                  <a:cubicBezTo>
                    <a:pt x="747" y="144"/>
                    <a:pt x="749" y="139"/>
                    <a:pt x="748" y="136"/>
                  </a:cubicBezTo>
                  <a:cubicBezTo>
                    <a:pt x="748" y="133"/>
                    <a:pt x="744" y="133"/>
                    <a:pt x="744" y="135"/>
                  </a:cubicBezTo>
                  <a:cubicBezTo>
                    <a:pt x="745" y="137"/>
                    <a:pt x="738" y="138"/>
                    <a:pt x="736" y="136"/>
                  </a:cubicBezTo>
                  <a:cubicBezTo>
                    <a:pt x="734" y="135"/>
                    <a:pt x="731" y="133"/>
                    <a:pt x="727" y="131"/>
                  </a:cubicBezTo>
                  <a:cubicBezTo>
                    <a:pt x="722" y="130"/>
                    <a:pt x="716" y="135"/>
                    <a:pt x="717" y="137"/>
                  </a:cubicBezTo>
                  <a:cubicBezTo>
                    <a:pt x="719" y="138"/>
                    <a:pt x="722" y="137"/>
                    <a:pt x="722" y="138"/>
                  </a:cubicBezTo>
                  <a:cubicBezTo>
                    <a:pt x="723" y="140"/>
                    <a:pt x="713" y="139"/>
                    <a:pt x="713" y="141"/>
                  </a:cubicBezTo>
                  <a:cubicBezTo>
                    <a:pt x="713" y="142"/>
                    <a:pt x="703" y="145"/>
                    <a:pt x="700" y="145"/>
                  </a:cubicBezTo>
                  <a:cubicBezTo>
                    <a:pt x="692" y="146"/>
                    <a:pt x="691" y="146"/>
                    <a:pt x="687" y="149"/>
                  </a:cubicBezTo>
                  <a:cubicBezTo>
                    <a:pt x="683" y="152"/>
                    <a:pt x="686" y="146"/>
                    <a:pt x="689" y="144"/>
                  </a:cubicBezTo>
                  <a:cubicBezTo>
                    <a:pt x="692" y="141"/>
                    <a:pt x="695" y="142"/>
                    <a:pt x="697" y="140"/>
                  </a:cubicBezTo>
                  <a:cubicBezTo>
                    <a:pt x="698" y="137"/>
                    <a:pt x="701" y="138"/>
                    <a:pt x="705" y="137"/>
                  </a:cubicBezTo>
                  <a:cubicBezTo>
                    <a:pt x="710" y="136"/>
                    <a:pt x="710" y="134"/>
                    <a:pt x="712" y="133"/>
                  </a:cubicBezTo>
                  <a:cubicBezTo>
                    <a:pt x="714" y="132"/>
                    <a:pt x="719" y="130"/>
                    <a:pt x="720" y="128"/>
                  </a:cubicBezTo>
                  <a:cubicBezTo>
                    <a:pt x="721" y="125"/>
                    <a:pt x="732" y="122"/>
                    <a:pt x="734" y="122"/>
                  </a:cubicBezTo>
                  <a:cubicBezTo>
                    <a:pt x="736" y="122"/>
                    <a:pt x="737" y="118"/>
                    <a:pt x="738" y="118"/>
                  </a:cubicBezTo>
                  <a:cubicBezTo>
                    <a:pt x="739" y="118"/>
                    <a:pt x="745" y="115"/>
                    <a:pt x="747" y="114"/>
                  </a:cubicBezTo>
                  <a:cubicBezTo>
                    <a:pt x="750" y="113"/>
                    <a:pt x="751" y="111"/>
                    <a:pt x="751" y="109"/>
                  </a:cubicBezTo>
                  <a:cubicBezTo>
                    <a:pt x="751" y="107"/>
                    <a:pt x="748" y="108"/>
                    <a:pt x="748" y="106"/>
                  </a:cubicBezTo>
                  <a:cubicBezTo>
                    <a:pt x="747" y="105"/>
                    <a:pt x="749" y="106"/>
                    <a:pt x="752" y="105"/>
                  </a:cubicBezTo>
                  <a:cubicBezTo>
                    <a:pt x="754" y="104"/>
                    <a:pt x="752" y="101"/>
                    <a:pt x="750" y="101"/>
                  </a:cubicBezTo>
                  <a:cubicBezTo>
                    <a:pt x="748" y="102"/>
                    <a:pt x="751" y="99"/>
                    <a:pt x="749" y="97"/>
                  </a:cubicBezTo>
                  <a:cubicBezTo>
                    <a:pt x="747" y="95"/>
                    <a:pt x="744" y="99"/>
                    <a:pt x="744" y="96"/>
                  </a:cubicBezTo>
                  <a:cubicBezTo>
                    <a:pt x="744" y="94"/>
                    <a:pt x="743" y="91"/>
                    <a:pt x="742" y="90"/>
                  </a:cubicBezTo>
                  <a:cubicBezTo>
                    <a:pt x="741" y="88"/>
                    <a:pt x="738" y="92"/>
                    <a:pt x="735" y="90"/>
                  </a:cubicBezTo>
                  <a:cubicBezTo>
                    <a:pt x="732" y="88"/>
                    <a:pt x="723" y="86"/>
                    <a:pt x="723" y="87"/>
                  </a:cubicBezTo>
                  <a:cubicBezTo>
                    <a:pt x="723" y="88"/>
                    <a:pt x="719" y="86"/>
                    <a:pt x="718" y="87"/>
                  </a:cubicBezTo>
                  <a:cubicBezTo>
                    <a:pt x="717" y="88"/>
                    <a:pt x="711" y="88"/>
                    <a:pt x="708" y="87"/>
                  </a:cubicBezTo>
                  <a:cubicBezTo>
                    <a:pt x="706" y="86"/>
                    <a:pt x="703" y="88"/>
                    <a:pt x="703" y="90"/>
                  </a:cubicBezTo>
                  <a:cubicBezTo>
                    <a:pt x="703" y="92"/>
                    <a:pt x="695" y="91"/>
                    <a:pt x="693" y="91"/>
                  </a:cubicBezTo>
                  <a:cubicBezTo>
                    <a:pt x="692" y="91"/>
                    <a:pt x="699" y="84"/>
                    <a:pt x="699" y="83"/>
                  </a:cubicBezTo>
                  <a:cubicBezTo>
                    <a:pt x="699" y="82"/>
                    <a:pt x="686" y="84"/>
                    <a:pt x="686" y="82"/>
                  </a:cubicBezTo>
                  <a:cubicBezTo>
                    <a:pt x="685" y="81"/>
                    <a:pt x="679" y="81"/>
                    <a:pt x="676" y="81"/>
                  </a:cubicBezTo>
                  <a:cubicBezTo>
                    <a:pt x="674" y="81"/>
                    <a:pt x="676" y="80"/>
                    <a:pt x="679" y="80"/>
                  </a:cubicBezTo>
                  <a:cubicBezTo>
                    <a:pt x="681" y="80"/>
                    <a:pt x="683" y="78"/>
                    <a:pt x="686" y="77"/>
                  </a:cubicBezTo>
                  <a:cubicBezTo>
                    <a:pt x="689" y="77"/>
                    <a:pt x="688" y="76"/>
                    <a:pt x="687" y="74"/>
                  </a:cubicBezTo>
                  <a:cubicBezTo>
                    <a:pt x="686" y="72"/>
                    <a:pt x="683" y="73"/>
                    <a:pt x="680" y="72"/>
                  </a:cubicBezTo>
                  <a:cubicBezTo>
                    <a:pt x="678" y="72"/>
                    <a:pt x="674" y="70"/>
                    <a:pt x="672" y="70"/>
                  </a:cubicBezTo>
                  <a:cubicBezTo>
                    <a:pt x="669" y="70"/>
                    <a:pt x="667" y="72"/>
                    <a:pt x="661" y="73"/>
                  </a:cubicBezTo>
                  <a:cubicBezTo>
                    <a:pt x="656" y="74"/>
                    <a:pt x="655" y="78"/>
                    <a:pt x="652" y="79"/>
                  </a:cubicBezTo>
                  <a:cubicBezTo>
                    <a:pt x="649" y="81"/>
                    <a:pt x="644" y="86"/>
                    <a:pt x="647" y="86"/>
                  </a:cubicBezTo>
                  <a:cubicBezTo>
                    <a:pt x="649" y="87"/>
                    <a:pt x="648" y="88"/>
                    <a:pt x="648" y="90"/>
                  </a:cubicBezTo>
                  <a:cubicBezTo>
                    <a:pt x="649" y="91"/>
                    <a:pt x="647" y="92"/>
                    <a:pt x="644" y="91"/>
                  </a:cubicBezTo>
                  <a:cubicBezTo>
                    <a:pt x="641" y="91"/>
                    <a:pt x="632" y="91"/>
                    <a:pt x="632" y="93"/>
                  </a:cubicBezTo>
                  <a:cubicBezTo>
                    <a:pt x="632" y="95"/>
                    <a:pt x="637" y="96"/>
                    <a:pt x="637" y="97"/>
                  </a:cubicBezTo>
                  <a:cubicBezTo>
                    <a:pt x="637" y="98"/>
                    <a:pt x="633" y="97"/>
                    <a:pt x="631" y="96"/>
                  </a:cubicBezTo>
                  <a:cubicBezTo>
                    <a:pt x="629" y="95"/>
                    <a:pt x="625" y="95"/>
                    <a:pt x="624" y="97"/>
                  </a:cubicBezTo>
                  <a:cubicBezTo>
                    <a:pt x="623" y="99"/>
                    <a:pt x="620" y="99"/>
                    <a:pt x="619" y="98"/>
                  </a:cubicBezTo>
                  <a:cubicBezTo>
                    <a:pt x="618" y="98"/>
                    <a:pt x="615" y="99"/>
                    <a:pt x="613" y="99"/>
                  </a:cubicBezTo>
                  <a:cubicBezTo>
                    <a:pt x="612" y="98"/>
                    <a:pt x="617" y="95"/>
                    <a:pt x="616" y="94"/>
                  </a:cubicBezTo>
                  <a:cubicBezTo>
                    <a:pt x="614" y="93"/>
                    <a:pt x="609" y="94"/>
                    <a:pt x="608" y="96"/>
                  </a:cubicBezTo>
                  <a:cubicBezTo>
                    <a:pt x="607" y="98"/>
                    <a:pt x="604" y="95"/>
                    <a:pt x="603" y="95"/>
                  </a:cubicBezTo>
                  <a:cubicBezTo>
                    <a:pt x="601" y="96"/>
                    <a:pt x="600" y="97"/>
                    <a:pt x="597" y="98"/>
                  </a:cubicBezTo>
                  <a:cubicBezTo>
                    <a:pt x="595" y="99"/>
                    <a:pt x="591" y="97"/>
                    <a:pt x="590" y="99"/>
                  </a:cubicBezTo>
                  <a:cubicBezTo>
                    <a:pt x="589" y="101"/>
                    <a:pt x="594" y="101"/>
                    <a:pt x="595" y="102"/>
                  </a:cubicBezTo>
                  <a:cubicBezTo>
                    <a:pt x="595" y="103"/>
                    <a:pt x="582" y="103"/>
                    <a:pt x="581" y="104"/>
                  </a:cubicBezTo>
                  <a:cubicBezTo>
                    <a:pt x="581" y="105"/>
                    <a:pt x="576" y="105"/>
                    <a:pt x="571" y="105"/>
                  </a:cubicBezTo>
                  <a:cubicBezTo>
                    <a:pt x="566" y="106"/>
                    <a:pt x="568" y="108"/>
                    <a:pt x="564" y="109"/>
                  </a:cubicBezTo>
                  <a:cubicBezTo>
                    <a:pt x="559" y="110"/>
                    <a:pt x="557" y="110"/>
                    <a:pt x="556" y="112"/>
                  </a:cubicBezTo>
                  <a:cubicBezTo>
                    <a:pt x="555" y="114"/>
                    <a:pt x="551" y="115"/>
                    <a:pt x="550" y="113"/>
                  </a:cubicBezTo>
                  <a:cubicBezTo>
                    <a:pt x="548" y="111"/>
                    <a:pt x="544" y="114"/>
                    <a:pt x="547" y="114"/>
                  </a:cubicBezTo>
                  <a:cubicBezTo>
                    <a:pt x="549" y="114"/>
                    <a:pt x="547" y="116"/>
                    <a:pt x="545" y="116"/>
                  </a:cubicBezTo>
                  <a:cubicBezTo>
                    <a:pt x="544" y="115"/>
                    <a:pt x="540" y="118"/>
                    <a:pt x="542" y="118"/>
                  </a:cubicBezTo>
                  <a:cubicBezTo>
                    <a:pt x="545" y="118"/>
                    <a:pt x="546" y="119"/>
                    <a:pt x="545" y="121"/>
                  </a:cubicBezTo>
                  <a:cubicBezTo>
                    <a:pt x="544" y="122"/>
                    <a:pt x="539" y="119"/>
                    <a:pt x="538" y="120"/>
                  </a:cubicBezTo>
                  <a:cubicBezTo>
                    <a:pt x="537" y="122"/>
                    <a:pt x="540" y="123"/>
                    <a:pt x="542" y="123"/>
                  </a:cubicBezTo>
                  <a:cubicBezTo>
                    <a:pt x="544" y="123"/>
                    <a:pt x="545" y="124"/>
                    <a:pt x="546" y="126"/>
                  </a:cubicBezTo>
                  <a:cubicBezTo>
                    <a:pt x="546" y="127"/>
                    <a:pt x="541" y="125"/>
                    <a:pt x="540" y="126"/>
                  </a:cubicBezTo>
                  <a:cubicBezTo>
                    <a:pt x="539" y="127"/>
                    <a:pt x="540" y="128"/>
                    <a:pt x="543" y="128"/>
                  </a:cubicBezTo>
                  <a:cubicBezTo>
                    <a:pt x="545" y="128"/>
                    <a:pt x="543" y="129"/>
                    <a:pt x="545" y="131"/>
                  </a:cubicBezTo>
                  <a:cubicBezTo>
                    <a:pt x="545" y="131"/>
                    <a:pt x="546" y="131"/>
                    <a:pt x="546" y="131"/>
                  </a:cubicBezTo>
                  <a:cubicBezTo>
                    <a:pt x="547" y="133"/>
                    <a:pt x="545" y="133"/>
                    <a:pt x="545" y="135"/>
                  </a:cubicBezTo>
                  <a:cubicBezTo>
                    <a:pt x="545" y="136"/>
                    <a:pt x="543" y="137"/>
                    <a:pt x="543" y="135"/>
                  </a:cubicBezTo>
                  <a:cubicBezTo>
                    <a:pt x="543" y="134"/>
                    <a:pt x="536" y="134"/>
                    <a:pt x="535" y="135"/>
                  </a:cubicBezTo>
                  <a:cubicBezTo>
                    <a:pt x="534" y="137"/>
                    <a:pt x="533" y="138"/>
                    <a:pt x="531" y="136"/>
                  </a:cubicBezTo>
                  <a:cubicBezTo>
                    <a:pt x="530" y="135"/>
                    <a:pt x="525" y="137"/>
                    <a:pt x="519" y="137"/>
                  </a:cubicBezTo>
                  <a:cubicBezTo>
                    <a:pt x="513" y="137"/>
                    <a:pt x="501" y="138"/>
                    <a:pt x="498" y="139"/>
                  </a:cubicBezTo>
                  <a:cubicBezTo>
                    <a:pt x="496" y="140"/>
                    <a:pt x="493" y="144"/>
                    <a:pt x="496" y="147"/>
                  </a:cubicBezTo>
                  <a:cubicBezTo>
                    <a:pt x="498" y="150"/>
                    <a:pt x="496" y="151"/>
                    <a:pt x="496" y="152"/>
                  </a:cubicBezTo>
                  <a:cubicBezTo>
                    <a:pt x="496" y="154"/>
                    <a:pt x="503" y="158"/>
                    <a:pt x="507" y="158"/>
                  </a:cubicBezTo>
                  <a:cubicBezTo>
                    <a:pt x="511" y="159"/>
                    <a:pt x="514" y="163"/>
                    <a:pt x="511" y="166"/>
                  </a:cubicBezTo>
                  <a:cubicBezTo>
                    <a:pt x="509" y="169"/>
                    <a:pt x="502" y="165"/>
                    <a:pt x="498" y="162"/>
                  </a:cubicBezTo>
                  <a:cubicBezTo>
                    <a:pt x="493" y="158"/>
                    <a:pt x="483" y="157"/>
                    <a:pt x="479" y="157"/>
                  </a:cubicBezTo>
                  <a:cubicBezTo>
                    <a:pt x="476" y="157"/>
                    <a:pt x="478" y="154"/>
                    <a:pt x="474" y="154"/>
                  </a:cubicBezTo>
                  <a:cubicBezTo>
                    <a:pt x="469" y="154"/>
                    <a:pt x="465" y="158"/>
                    <a:pt x="468" y="158"/>
                  </a:cubicBezTo>
                  <a:cubicBezTo>
                    <a:pt x="471" y="158"/>
                    <a:pt x="473" y="158"/>
                    <a:pt x="472" y="159"/>
                  </a:cubicBezTo>
                  <a:cubicBezTo>
                    <a:pt x="470" y="161"/>
                    <a:pt x="473" y="160"/>
                    <a:pt x="476" y="162"/>
                  </a:cubicBezTo>
                  <a:cubicBezTo>
                    <a:pt x="480" y="163"/>
                    <a:pt x="473" y="166"/>
                    <a:pt x="469" y="163"/>
                  </a:cubicBezTo>
                  <a:cubicBezTo>
                    <a:pt x="466" y="161"/>
                    <a:pt x="462" y="163"/>
                    <a:pt x="461" y="165"/>
                  </a:cubicBezTo>
                  <a:cubicBezTo>
                    <a:pt x="460" y="167"/>
                    <a:pt x="465" y="172"/>
                    <a:pt x="471" y="173"/>
                  </a:cubicBezTo>
                  <a:cubicBezTo>
                    <a:pt x="478" y="174"/>
                    <a:pt x="476" y="176"/>
                    <a:pt x="479" y="177"/>
                  </a:cubicBezTo>
                  <a:cubicBezTo>
                    <a:pt x="482" y="178"/>
                    <a:pt x="480" y="179"/>
                    <a:pt x="478" y="180"/>
                  </a:cubicBezTo>
                  <a:cubicBezTo>
                    <a:pt x="476" y="180"/>
                    <a:pt x="471" y="177"/>
                    <a:pt x="468" y="175"/>
                  </a:cubicBezTo>
                  <a:cubicBezTo>
                    <a:pt x="465" y="173"/>
                    <a:pt x="456" y="176"/>
                    <a:pt x="455" y="174"/>
                  </a:cubicBezTo>
                  <a:cubicBezTo>
                    <a:pt x="453" y="172"/>
                    <a:pt x="456" y="170"/>
                    <a:pt x="454" y="168"/>
                  </a:cubicBezTo>
                  <a:cubicBezTo>
                    <a:pt x="452" y="167"/>
                    <a:pt x="454" y="164"/>
                    <a:pt x="456" y="160"/>
                  </a:cubicBezTo>
                  <a:cubicBezTo>
                    <a:pt x="458" y="157"/>
                    <a:pt x="456" y="151"/>
                    <a:pt x="453" y="150"/>
                  </a:cubicBezTo>
                  <a:cubicBezTo>
                    <a:pt x="450" y="150"/>
                    <a:pt x="450" y="153"/>
                    <a:pt x="450" y="154"/>
                  </a:cubicBezTo>
                  <a:cubicBezTo>
                    <a:pt x="451" y="155"/>
                    <a:pt x="451" y="159"/>
                    <a:pt x="448" y="162"/>
                  </a:cubicBezTo>
                  <a:cubicBezTo>
                    <a:pt x="446" y="165"/>
                    <a:pt x="439" y="165"/>
                    <a:pt x="439" y="167"/>
                  </a:cubicBezTo>
                  <a:cubicBezTo>
                    <a:pt x="439" y="169"/>
                    <a:pt x="434" y="171"/>
                    <a:pt x="436" y="172"/>
                  </a:cubicBezTo>
                  <a:cubicBezTo>
                    <a:pt x="437" y="174"/>
                    <a:pt x="444" y="181"/>
                    <a:pt x="445" y="183"/>
                  </a:cubicBezTo>
                  <a:cubicBezTo>
                    <a:pt x="446" y="185"/>
                    <a:pt x="439" y="193"/>
                    <a:pt x="440" y="197"/>
                  </a:cubicBezTo>
                  <a:cubicBezTo>
                    <a:pt x="441" y="201"/>
                    <a:pt x="439" y="203"/>
                    <a:pt x="440" y="205"/>
                  </a:cubicBezTo>
                  <a:cubicBezTo>
                    <a:pt x="442" y="207"/>
                    <a:pt x="445" y="205"/>
                    <a:pt x="447" y="206"/>
                  </a:cubicBezTo>
                  <a:cubicBezTo>
                    <a:pt x="448" y="207"/>
                    <a:pt x="452" y="205"/>
                    <a:pt x="456" y="204"/>
                  </a:cubicBezTo>
                  <a:cubicBezTo>
                    <a:pt x="460" y="203"/>
                    <a:pt x="468" y="208"/>
                    <a:pt x="471" y="209"/>
                  </a:cubicBezTo>
                  <a:cubicBezTo>
                    <a:pt x="474" y="211"/>
                    <a:pt x="473" y="213"/>
                    <a:pt x="474" y="215"/>
                  </a:cubicBezTo>
                  <a:cubicBezTo>
                    <a:pt x="476" y="218"/>
                    <a:pt x="471" y="218"/>
                    <a:pt x="471" y="221"/>
                  </a:cubicBezTo>
                  <a:cubicBezTo>
                    <a:pt x="471" y="225"/>
                    <a:pt x="480" y="226"/>
                    <a:pt x="480" y="227"/>
                  </a:cubicBezTo>
                  <a:cubicBezTo>
                    <a:pt x="480" y="228"/>
                    <a:pt x="474" y="228"/>
                    <a:pt x="471" y="227"/>
                  </a:cubicBezTo>
                  <a:cubicBezTo>
                    <a:pt x="468" y="226"/>
                    <a:pt x="468" y="222"/>
                    <a:pt x="467" y="222"/>
                  </a:cubicBezTo>
                  <a:cubicBezTo>
                    <a:pt x="466" y="221"/>
                    <a:pt x="469" y="218"/>
                    <a:pt x="469" y="216"/>
                  </a:cubicBezTo>
                  <a:cubicBezTo>
                    <a:pt x="469" y="213"/>
                    <a:pt x="466" y="212"/>
                    <a:pt x="465" y="211"/>
                  </a:cubicBezTo>
                  <a:cubicBezTo>
                    <a:pt x="464" y="209"/>
                    <a:pt x="462" y="207"/>
                    <a:pt x="460" y="207"/>
                  </a:cubicBezTo>
                  <a:cubicBezTo>
                    <a:pt x="458" y="208"/>
                    <a:pt x="450" y="208"/>
                    <a:pt x="448" y="211"/>
                  </a:cubicBezTo>
                  <a:cubicBezTo>
                    <a:pt x="445" y="213"/>
                    <a:pt x="448" y="219"/>
                    <a:pt x="449" y="222"/>
                  </a:cubicBezTo>
                  <a:cubicBezTo>
                    <a:pt x="451" y="225"/>
                    <a:pt x="442" y="229"/>
                    <a:pt x="443" y="231"/>
                  </a:cubicBezTo>
                  <a:cubicBezTo>
                    <a:pt x="443" y="234"/>
                    <a:pt x="440" y="235"/>
                    <a:pt x="437" y="237"/>
                  </a:cubicBezTo>
                  <a:cubicBezTo>
                    <a:pt x="433" y="239"/>
                    <a:pt x="429" y="240"/>
                    <a:pt x="429" y="243"/>
                  </a:cubicBezTo>
                  <a:cubicBezTo>
                    <a:pt x="429" y="246"/>
                    <a:pt x="425" y="245"/>
                    <a:pt x="422" y="243"/>
                  </a:cubicBezTo>
                  <a:cubicBezTo>
                    <a:pt x="420" y="242"/>
                    <a:pt x="416" y="244"/>
                    <a:pt x="413" y="244"/>
                  </a:cubicBezTo>
                  <a:cubicBezTo>
                    <a:pt x="409" y="244"/>
                    <a:pt x="409" y="241"/>
                    <a:pt x="406" y="242"/>
                  </a:cubicBezTo>
                  <a:cubicBezTo>
                    <a:pt x="403" y="243"/>
                    <a:pt x="402" y="240"/>
                    <a:pt x="402" y="238"/>
                  </a:cubicBezTo>
                  <a:cubicBezTo>
                    <a:pt x="403" y="236"/>
                    <a:pt x="406" y="238"/>
                    <a:pt x="407" y="239"/>
                  </a:cubicBezTo>
                  <a:cubicBezTo>
                    <a:pt x="407" y="241"/>
                    <a:pt x="409" y="240"/>
                    <a:pt x="411" y="239"/>
                  </a:cubicBezTo>
                  <a:cubicBezTo>
                    <a:pt x="414" y="238"/>
                    <a:pt x="413" y="241"/>
                    <a:pt x="416" y="241"/>
                  </a:cubicBezTo>
                  <a:cubicBezTo>
                    <a:pt x="419" y="241"/>
                    <a:pt x="418" y="239"/>
                    <a:pt x="420" y="239"/>
                  </a:cubicBezTo>
                  <a:cubicBezTo>
                    <a:pt x="423" y="240"/>
                    <a:pt x="423" y="239"/>
                    <a:pt x="422" y="237"/>
                  </a:cubicBezTo>
                  <a:cubicBezTo>
                    <a:pt x="421" y="236"/>
                    <a:pt x="424" y="235"/>
                    <a:pt x="426" y="234"/>
                  </a:cubicBezTo>
                  <a:cubicBezTo>
                    <a:pt x="427" y="234"/>
                    <a:pt x="427" y="231"/>
                    <a:pt x="428" y="230"/>
                  </a:cubicBezTo>
                  <a:cubicBezTo>
                    <a:pt x="430" y="229"/>
                    <a:pt x="429" y="228"/>
                    <a:pt x="430" y="228"/>
                  </a:cubicBezTo>
                  <a:cubicBezTo>
                    <a:pt x="432" y="227"/>
                    <a:pt x="433" y="225"/>
                    <a:pt x="434" y="225"/>
                  </a:cubicBezTo>
                  <a:cubicBezTo>
                    <a:pt x="436" y="225"/>
                    <a:pt x="437" y="222"/>
                    <a:pt x="436" y="221"/>
                  </a:cubicBezTo>
                  <a:cubicBezTo>
                    <a:pt x="435" y="220"/>
                    <a:pt x="436" y="216"/>
                    <a:pt x="438" y="216"/>
                  </a:cubicBezTo>
                  <a:cubicBezTo>
                    <a:pt x="439" y="215"/>
                    <a:pt x="439" y="214"/>
                    <a:pt x="438" y="213"/>
                  </a:cubicBezTo>
                  <a:cubicBezTo>
                    <a:pt x="437" y="212"/>
                    <a:pt x="431" y="208"/>
                    <a:pt x="432" y="206"/>
                  </a:cubicBezTo>
                  <a:cubicBezTo>
                    <a:pt x="432" y="204"/>
                    <a:pt x="431" y="199"/>
                    <a:pt x="431" y="198"/>
                  </a:cubicBezTo>
                  <a:cubicBezTo>
                    <a:pt x="432" y="196"/>
                    <a:pt x="432" y="192"/>
                    <a:pt x="431" y="190"/>
                  </a:cubicBezTo>
                  <a:cubicBezTo>
                    <a:pt x="431" y="188"/>
                    <a:pt x="433" y="186"/>
                    <a:pt x="433" y="182"/>
                  </a:cubicBezTo>
                  <a:cubicBezTo>
                    <a:pt x="434" y="178"/>
                    <a:pt x="429" y="174"/>
                    <a:pt x="427" y="172"/>
                  </a:cubicBezTo>
                  <a:cubicBezTo>
                    <a:pt x="424" y="171"/>
                    <a:pt x="426" y="169"/>
                    <a:pt x="429" y="166"/>
                  </a:cubicBezTo>
                  <a:cubicBezTo>
                    <a:pt x="433" y="164"/>
                    <a:pt x="433" y="155"/>
                    <a:pt x="433" y="153"/>
                  </a:cubicBezTo>
                  <a:cubicBezTo>
                    <a:pt x="433" y="151"/>
                    <a:pt x="426" y="149"/>
                    <a:pt x="423" y="149"/>
                  </a:cubicBezTo>
                  <a:cubicBezTo>
                    <a:pt x="420" y="150"/>
                    <a:pt x="410" y="149"/>
                    <a:pt x="408" y="149"/>
                  </a:cubicBezTo>
                  <a:cubicBezTo>
                    <a:pt x="405" y="148"/>
                    <a:pt x="404" y="151"/>
                    <a:pt x="403" y="153"/>
                  </a:cubicBezTo>
                  <a:cubicBezTo>
                    <a:pt x="402" y="156"/>
                    <a:pt x="399" y="159"/>
                    <a:pt x="398" y="165"/>
                  </a:cubicBezTo>
                  <a:cubicBezTo>
                    <a:pt x="396" y="170"/>
                    <a:pt x="390" y="172"/>
                    <a:pt x="387" y="173"/>
                  </a:cubicBezTo>
                  <a:cubicBezTo>
                    <a:pt x="384" y="174"/>
                    <a:pt x="382" y="178"/>
                    <a:pt x="384" y="180"/>
                  </a:cubicBezTo>
                  <a:cubicBezTo>
                    <a:pt x="385" y="182"/>
                    <a:pt x="387" y="180"/>
                    <a:pt x="388" y="181"/>
                  </a:cubicBezTo>
                  <a:cubicBezTo>
                    <a:pt x="389" y="182"/>
                    <a:pt x="388" y="187"/>
                    <a:pt x="387" y="187"/>
                  </a:cubicBezTo>
                  <a:cubicBezTo>
                    <a:pt x="386" y="188"/>
                    <a:pt x="389" y="190"/>
                    <a:pt x="387" y="191"/>
                  </a:cubicBezTo>
                  <a:cubicBezTo>
                    <a:pt x="385" y="192"/>
                    <a:pt x="383" y="195"/>
                    <a:pt x="384" y="197"/>
                  </a:cubicBezTo>
                  <a:cubicBezTo>
                    <a:pt x="385" y="198"/>
                    <a:pt x="391" y="199"/>
                    <a:pt x="393" y="200"/>
                  </a:cubicBezTo>
                  <a:cubicBezTo>
                    <a:pt x="396" y="202"/>
                    <a:pt x="395" y="204"/>
                    <a:pt x="397" y="207"/>
                  </a:cubicBezTo>
                  <a:cubicBezTo>
                    <a:pt x="399" y="209"/>
                    <a:pt x="401" y="208"/>
                    <a:pt x="402" y="209"/>
                  </a:cubicBezTo>
                  <a:cubicBezTo>
                    <a:pt x="403" y="211"/>
                    <a:pt x="398" y="217"/>
                    <a:pt x="397" y="217"/>
                  </a:cubicBezTo>
                  <a:cubicBezTo>
                    <a:pt x="395" y="217"/>
                    <a:pt x="389" y="211"/>
                    <a:pt x="387" y="209"/>
                  </a:cubicBezTo>
                  <a:cubicBezTo>
                    <a:pt x="385" y="208"/>
                    <a:pt x="378" y="206"/>
                    <a:pt x="374" y="204"/>
                  </a:cubicBezTo>
                  <a:cubicBezTo>
                    <a:pt x="370" y="202"/>
                    <a:pt x="367" y="202"/>
                    <a:pt x="363" y="199"/>
                  </a:cubicBezTo>
                  <a:cubicBezTo>
                    <a:pt x="359" y="197"/>
                    <a:pt x="356" y="195"/>
                    <a:pt x="349" y="196"/>
                  </a:cubicBezTo>
                  <a:cubicBezTo>
                    <a:pt x="341" y="196"/>
                    <a:pt x="336" y="194"/>
                    <a:pt x="334" y="194"/>
                  </a:cubicBezTo>
                  <a:cubicBezTo>
                    <a:pt x="331" y="195"/>
                    <a:pt x="332" y="192"/>
                    <a:pt x="328" y="190"/>
                  </a:cubicBezTo>
                  <a:cubicBezTo>
                    <a:pt x="324" y="188"/>
                    <a:pt x="321" y="185"/>
                    <a:pt x="318" y="187"/>
                  </a:cubicBezTo>
                  <a:cubicBezTo>
                    <a:pt x="316" y="188"/>
                    <a:pt x="317" y="193"/>
                    <a:pt x="321" y="193"/>
                  </a:cubicBezTo>
                  <a:cubicBezTo>
                    <a:pt x="324" y="194"/>
                    <a:pt x="322" y="196"/>
                    <a:pt x="326" y="196"/>
                  </a:cubicBezTo>
                  <a:cubicBezTo>
                    <a:pt x="330" y="195"/>
                    <a:pt x="332" y="197"/>
                    <a:pt x="332" y="199"/>
                  </a:cubicBezTo>
                  <a:cubicBezTo>
                    <a:pt x="331" y="202"/>
                    <a:pt x="333" y="204"/>
                    <a:pt x="335" y="206"/>
                  </a:cubicBezTo>
                  <a:cubicBezTo>
                    <a:pt x="337" y="208"/>
                    <a:pt x="336" y="210"/>
                    <a:pt x="333" y="210"/>
                  </a:cubicBezTo>
                  <a:cubicBezTo>
                    <a:pt x="330" y="210"/>
                    <a:pt x="326" y="211"/>
                    <a:pt x="327" y="213"/>
                  </a:cubicBezTo>
                  <a:cubicBezTo>
                    <a:pt x="329" y="215"/>
                    <a:pt x="326" y="216"/>
                    <a:pt x="323" y="215"/>
                  </a:cubicBezTo>
                  <a:cubicBezTo>
                    <a:pt x="320" y="214"/>
                    <a:pt x="322" y="211"/>
                    <a:pt x="323" y="210"/>
                  </a:cubicBezTo>
                  <a:cubicBezTo>
                    <a:pt x="324" y="209"/>
                    <a:pt x="320" y="207"/>
                    <a:pt x="318" y="206"/>
                  </a:cubicBezTo>
                  <a:cubicBezTo>
                    <a:pt x="316" y="206"/>
                    <a:pt x="308" y="212"/>
                    <a:pt x="306" y="213"/>
                  </a:cubicBezTo>
                  <a:cubicBezTo>
                    <a:pt x="304" y="213"/>
                    <a:pt x="298" y="211"/>
                    <a:pt x="292" y="213"/>
                  </a:cubicBezTo>
                  <a:cubicBezTo>
                    <a:pt x="287" y="214"/>
                    <a:pt x="287" y="218"/>
                    <a:pt x="285" y="218"/>
                  </a:cubicBezTo>
                  <a:cubicBezTo>
                    <a:pt x="283" y="218"/>
                    <a:pt x="276" y="219"/>
                    <a:pt x="274" y="217"/>
                  </a:cubicBezTo>
                  <a:cubicBezTo>
                    <a:pt x="272" y="216"/>
                    <a:pt x="274" y="215"/>
                    <a:pt x="276" y="215"/>
                  </a:cubicBezTo>
                  <a:cubicBezTo>
                    <a:pt x="279" y="215"/>
                    <a:pt x="279" y="214"/>
                    <a:pt x="278" y="213"/>
                  </a:cubicBezTo>
                  <a:cubicBezTo>
                    <a:pt x="277" y="211"/>
                    <a:pt x="280" y="208"/>
                    <a:pt x="280" y="207"/>
                  </a:cubicBezTo>
                  <a:cubicBezTo>
                    <a:pt x="280" y="206"/>
                    <a:pt x="270" y="209"/>
                    <a:pt x="269" y="210"/>
                  </a:cubicBezTo>
                  <a:cubicBezTo>
                    <a:pt x="267" y="212"/>
                    <a:pt x="269" y="214"/>
                    <a:pt x="267" y="215"/>
                  </a:cubicBezTo>
                  <a:cubicBezTo>
                    <a:pt x="266" y="216"/>
                    <a:pt x="266" y="213"/>
                    <a:pt x="264" y="213"/>
                  </a:cubicBezTo>
                  <a:cubicBezTo>
                    <a:pt x="262" y="212"/>
                    <a:pt x="248" y="215"/>
                    <a:pt x="245" y="218"/>
                  </a:cubicBezTo>
                  <a:cubicBezTo>
                    <a:pt x="243" y="221"/>
                    <a:pt x="238" y="221"/>
                    <a:pt x="238" y="223"/>
                  </a:cubicBezTo>
                  <a:cubicBezTo>
                    <a:pt x="238" y="225"/>
                    <a:pt x="231" y="225"/>
                    <a:pt x="229" y="226"/>
                  </a:cubicBezTo>
                  <a:cubicBezTo>
                    <a:pt x="226" y="227"/>
                    <a:pt x="228" y="232"/>
                    <a:pt x="227" y="234"/>
                  </a:cubicBezTo>
                  <a:cubicBezTo>
                    <a:pt x="226" y="237"/>
                    <a:pt x="216" y="236"/>
                    <a:pt x="213" y="236"/>
                  </a:cubicBezTo>
                  <a:cubicBezTo>
                    <a:pt x="210" y="236"/>
                    <a:pt x="209" y="230"/>
                    <a:pt x="207" y="230"/>
                  </a:cubicBezTo>
                  <a:cubicBezTo>
                    <a:pt x="204" y="230"/>
                    <a:pt x="206" y="226"/>
                    <a:pt x="207" y="225"/>
                  </a:cubicBezTo>
                  <a:cubicBezTo>
                    <a:pt x="207" y="223"/>
                    <a:pt x="209" y="225"/>
                    <a:pt x="212" y="223"/>
                  </a:cubicBezTo>
                  <a:cubicBezTo>
                    <a:pt x="215" y="221"/>
                    <a:pt x="218" y="224"/>
                    <a:pt x="219" y="222"/>
                  </a:cubicBezTo>
                  <a:cubicBezTo>
                    <a:pt x="221" y="221"/>
                    <a:pt x="215" y="218"/>
                    <a:pt x="214" y="215"/>
                  </a:cubicBezTo>
                  <a:cubicBezTo>
                    <a:pt x="214" y="212"/>
                    <a:pt x="208" y="211"/>
                    <a:pt x="204" y="212"/>
                  </a:cubicBezTo>
                  <a:cubicBezTo>
                    <a:pt x="201" y="213"/>
                    <a:pt x="197" y="212"/>
                    <a:pt x="194" y="211"/>
                  </a:cubicBezTo>
                  <a:cubicBezTo>
                    <a:pt x="192" y="209"/>
                    <a:pt x="192" y="213"/>
                    <a:pt x="196" y="214"/>
                  </a:cubicBezTo>
                  <a:cubicBezTo>
                    <a:pt x="199" y="215"/>
                    <a:pt x="197" y="218"/>
                    <a:pt x="198" y="219"/>
                  </a:cubicBezTo>
                  <a:cubicBezTo>
                    <a:pt x="199" y="221"/>
                    <a:pt x="197" y="225"/>
                    <a:pt x="195" y="228"/>
                  </a:cubicBezTo>
                  <a:cubicBezTo>
                    <a:pt x="193" y="231"/>
                    <a:pt x="194" y="231"/>
                    <a:pt x="198" y="231"/>
                  </a:cubicBezTo>
                  <a:cubicBezTo>
                    <a:pt x="201" y="231"/>
                    <a:pt x="201" y="235"/>
                    <a:pt x="201" y="238"/>
                  </a:cubicBezTo>
                  <a:cubicBezTo>
                    <a:pt x="201" y="241"/>
                    <a:pt x="198" y="242"/>
                    <a:pt x="198" y="244"/>
                  </a:cubicBezTo>
                  <a:cubicBezTo>
                    <a:pt x="198" y="247"/>
                    <a:pt x="195" y="243"/>
                    <a:pt x="195" y="244"/>
                  </a:cubicBezTo>
                  <a:cubicBezTo>
                    <a:pt x="194" y="245"/>
                    <a:pt x="193" y="244"/>
                    <a:pt x="192" y="242"/>
                  </a:cubicBezTo>
                  <a:cubicBezTo>
                    <a:pt x="192" y="240"/>
                    <a:pt x="187" y="241"/>
                    <a:pt x="184" y="240"/>
                  </a:cubicBezTo>
                  <a:cubicBezTo>
                    <a:pt x="181" y="240"/>
                    <a:pt x="180" y="241"/>
                    <a:pt x="179" y="243"/>
                  </a:cubicBezTo>
                  <a:cubicBezTo>
                    <a:pt x="178" y="245"/>
                    <a:pt x="174" y="246"/>
                    <a:pt x="172" y="246"/>
                  </a:cubicBezTo>
                  <a:cubicBezTo>
                    <a:pt x="170" y="246"/>
                    <a:pt x="166" y="250"/>
                    <a:pt x="164" y="252"/>
                  </a:cubicBezTo>
                  <a:cubicBezTo>
                    <a:pt x="162" y="253"/>
                    <a:pt x="162" y="256"/>
                    <a:pt x="165" y="259"/>
                  </a:cubicBezTo>
                  <a:cubicBezTo>
                    <a:pt x="168" y="261"/>
                    <a:pt x="168" y="263"/>
                    <a:pt x="168" y="265"/>
                  </a:cubicBezTo>
                  <a:cubicBezTo>
                    <a:pt x="168" y="266"/>
                    <a:pt x="160" y="266"/>
                    <a:pt x="158" y="264"/>
                  </a:cubicBezTo>
                  <a:cubicBezTo>
                    <a:pt x="157" y="263"/>
                    <a:pt x="152" y="262"/>
                    <a:pt x="150" y="262"/>
                  </a:cubicBezTo>
                  <a:cubicBezTo>
                    <a:pt x="148" y="263"/>
                    <a:pt x="143" y="257"/>
                    <a:pt x="141" y="257"/>
                  </a:cubicBezTo>
                  <a:cubicBezTo>
                    <a:pt x="138" y="257"/>
                    <a:pt x="137" y="260"/>
                    <a:pt x="136" y="261"/>
                  </a:cubicBezTo>
                  <a:cubicBezTo>
                    <a:pt x="135" y="263"/>
                    <a:pt x="137" y="263"/>
                    <a:pt x="138" y="266"/>
                  </a:cubicBezTo>
                  <a:cubicBezTo>
                    <a:pt x="140" y="269"/>
                    <a:pt x="144" y="269"/>
                    <a:pt x="146" y="269"/>
                  </a:cubicBezTo>
                  <a:cubicBezTo>
                    <a:pt x="148" y="269"/>
                    <a:pt x="148" y="272"/>
                    <a:pt x="147" y="274"/>
                  </a:cubicBezTo>
                  <a:cubicBezTo>
                    <a:pt x="146" y="275"/>
                    <a:pt x="142" y="276"/>
                    <a:pt x="141" y="275"/>
                  </a:cubicBezTo>
                  <a:cubicBezTo>
                    <a:pt x="140" y="273"/>
                    <a:pt x="135" y="275"/>
                    <a:pt x="135" y="273"/>
                  </a:cubicBezTo>
                  <a:cubicBezTo>
                    <a:pt x="134" y="271"/>
                    <a:pt x="131" y="268"/>
                    <a:pt x="127" y="269"/>
                  </a:cubicBezTo>
                  <a:cubicBezTo>
                    <a:pt x="123" y="269"/>
                    <a:pt x="123" y="267"/>
                    <a:pt x="123" y="264"/>
                  </a:cubicBezTo>
                  <a:cubicBezTo>
                    <a:pt x="123" y="261"/>
                    <a:pt x="121" y="259"/>
                    <a:pt x="121" y="258"/>
                  </a:cubicBezTo>
                  <a:cubicBezTo>
                    <a:pt x="121" y="257"/>
                    <a:pt x="119" y="254"/>
                    <a:pt x="121" y="253"/>
                  </a:cubicBezTo>
                  <a:cubicBezTo>
                    <a:pt x="123" y="252"/>
                    <a:pt x="122" y="250"/>
                    <a:pt x="122" y="248"/>
                  </a:cubicBezTo>
                  <a:cubicBezTo>
                    <a:pt x="122" y="246"/>
                    <a:pt x="119" y="243"/>
                    <a:pt x="116" y="243"/>
                  </a:cubicBezTo>
                  <a:cubicBezTo>
                    <a:pt x="113" y="243"/>
                    <a:pt x="113" y="240"/>
                    <a:pt x="111" y="240"/>
                  </a:cubicBezTo>
                  <a:cubicBezTo>
                    <a:pt x="108" y="239"/>
                    <a:pt x="103" y="235"/>
                    <a:pt x="103" y="233"/>
                  </a:cubicBezTo>
                  <a:cubicBezTo>
                    <a:pt x="103" y="231"/>
                    <a:pt x="99" y="231"/>
                    <a:pt x="100" y="230"/>
                  </a:cubicBezTo>
                  <a:cubicBezTo>
                    <a:pt x="101" y="230"/>
                    <a:pt x="104" y="231"/>
                    <a:pt x="107" y="233"/>
                  </a:cubicBezTo>
                  <a:cubicBezTo>
                    <a:pt x="109" y="235"/>
                    <a:pt x="112" y="237"/>
                    <a:pt x="118" y="238"/>
                  </a:cubicBezTo>
                  <a:cubicBezTo>
                    <a:pt x="123" y="238"/>
                    <a:pt x="126" y="241"/>
                    <a:pt x="132" y="242"/>
                  </a:cubicBezTo>
                  <a:cubicBezTo>
                    <a:pt x="138" y="243"/>
                    <a:pt x="142" y="244"/>
                    <a:pt x="151" y="245"/>
                  </a:cubicBezTo>
                  <a:cubicBezTo>
                    <a:pt x="160" y="246"/>
                    <a:pt x="171" y="237"/>
                    <a:pt x="174" y="235"/>
                  </a:cubicBezTo>
                  <a:cubicBezTo>
                    <a:pt x="176" y="232"/>
                    <a:pt x="173" y="227"/>
                    <a:pt x="173" y="225"/>
                  </a:cubicBezTo>
                  <a:cubicBezTo>
                    <a:pt x="173" y="223"/>
                    <a:pt x="169" y="223"/>
                    <a:pt x="169" y="222"/>
                  </a:cubicBezTo>
                  <a:cubicBezTo>
                    <a:pt x="168" y="220"/>
                    <a:pt x="165" y="218"/>
                    <a:pt x="162" y="218"/>
                  </a:cubicBezTo>
                  <a:cubicBezTo>
                    <a:pt x="158" y="218"/>
                    <a:pt x="158" y="214"/>
                    <a:pt x="155" y="214"/>
                  </a:cubicBezTo>
                  <a:cubicBezTo>
                    <a:pt x="152" y="214"/>
                    <a:pt x="151" y="213"/>
                    <a:pt x="143" y="208"/>
                  </a:cubicBezTo>
                  <a:cubicBezTo>
                    <a:pt x="136" y="203"/>
                    <a:pt x="126" y="200"/>
                    <a:pt x="125" y="201"/>
                  </a:cubicBezTo>
                  <a:cubicBezTo>
                    <a:pt x="123" y="202"/>
                    <a:pt x="122" y="202"/>
                    <a:pt x="121" y="200"/>
                  </a:cubicBezTo>
                  <a:cubicBezTo>
                    <a:pt x="119" y="198"/>
                    <a:pt x="117" y="199"/>
                    <a:pt x="115" y="200"/>
                  </a:cubicBezTo>
                  <a:cubicBezTo>
                    <a:pt x="113" y="202"/>
                    <a:pt x="111" y="199"/>
                    <a:pt x="107" y="200"/>
                  </a:cubicBezTo>
                  <a:cubicBezTo>
                    <a:pt x="104" y="201"/>
                    <a:pt x="102" y="198"/>
                    <a:pt x="103" y="197"/>
                  </a:cubicBezTo>
                  <a:cubicBezTo>
                    <a:pt x="104" y="196"/>
                    <a:pt x="109" y="197"/>
                    <a:pt x="109" y="195"/>
                  </a:cubicBezTo>
                  <a:cubicBezTo>
                    <a:pt x="109" y="193"/>
                    <a:pt x="107" y="195"/>
                    <a:pt x="103" y="193"/>
                  </a:cubicBezTo>
                  <a:cubicBezTo>
                    <a:pt x="100" y="191"/>
                    <a:pt x="98" y="192"/>
                    <a:pt x="98" y="194"/>
                  </a:cubicBezTo>
                  <a:cubicBezTo>
                    <a:pt x="97" y="196"/>
                    <a:pt x="94" y="195"/>
                    <a:pt x="93" y="194"/>
                  </a:cubicBezTo>
                  <a:cubicBezTo>
                    <a:pt x="93" y="194"/>
                    <a:pt x="92" y="194"/>
                    <a:pt x="92" y="193"/>
                  </a:cubicBezTo>
                  <a:cubicBezTo>
                    <a:pt x="92" y="196"/>
                    <a:pt x="90" y="197"/>
                    <a:pt x="88" y="196"/>
                  </a:cubicBezTo>
                  <a:cubicBezTo>
                    <a:pt x="86" y="196"/>
                    <a:pt x="84" y="199"/>
                    <a:pt x="82" y="199"/>
                  </a:cubicBezTo>
                  <a:cubicBezTo>
                    <a:pt x="79" y="199"/>
                    <a:pt x="77" y="202"/>
                    <a:pt x="76" y="204"/>
                  </a:cubicBezTo>
                  <a:cubicBezTo>
                    <a:pt x="76" y="206"/>
                    <a:pt x="73" y="205"/>
                    <a:pt x="73" y="207"/>
                  </a:cubicBezTo>
                  <a:cubicBezTo>
                    <a:pt x="73" y="208"/>
                    <a:pt x="73" y="209"/>
                    <a:pt x="72" y="211"/>
                  </a:cubicBezTo>
                  <a:cubicBezTo>
                    <a:pt x="71" y="212"/>
                    <a:pt x="72" y="213"/>
                    <a:pt x="73" y="215"/>
                  </a:cubicBezTo>
                  <a:cubicBezTo>
                    <a:pt x="74" y="218"/>
                    <a:pt x="77" y="218"/>
                    <a:pt x="78" y="218"/>
                  </a:cubicBezTo>
                  <a:cubicBezTo>
                    <a:pt x="79" y="219"/>
                    <a:pt x="84" y="223"/>
                    <a:pt x="84" y="224"/>
                  </a:cubicBezTo>
                  <a:cubicBezTo>
                    <a:pt x="84" y="226"/>
                    <a:pt x="80" y="229"/>
                    <a:pt x="79" y="230"/>
                  </a:cubicBezTo>
                  <a:cubicBezTo>
                    <a:pt x="77" y="231"/>
                    <a:pt x="75" y="233"/>
                    <a:pt x="76" y="235"/>
                  </a:cubicBezTo>
                  <a:cubicBezTo>
                    <a:pt x="77" y="236"/>
                    <a:pt x="81" y="242"/>
                    <a:pt x="84" y="247"/>
                  </a:cubicBezTo>
                  <a:cubicBezTo>
                    <a:pt x="87" y="252"/>
                    <a:pt x="83" y="250"/>
                    <a:pt x="81" y="252"/>
                  </a:cubicBezTo>
                  <a:cubicBezTo>
                    <a:pt x="80" y="254"/>
                    <a:pt x="82" y="257"/>
                    <a:pt x="82" y="258"/>
                  </a:cubicBezTo>
                  <a:cubicBezTo>
                    <a:pt x="83" y="259"/>
                    <a:pt x="80" y="259"/>
                    <a:pt x="81" y="260"/>
                  </a:cubicBezTo>
                  <a:cubicBezTo>
                    <a:pt x="81" y="262"/>
                    <a:pt x="84" y="262"/>
                    <a:pt x="85" y="263"/>
                  </a:cubicBezTo>
                  <a:cubicBezTo>
                    <a:pt x="85" y="264"/>
                    <a:pt x="82" y="265"/>
                    <a:pt x="83" y="267"/>
                  </a:cubicBezTo>
                  <a:cubicBezTo>
                    <a:pt x="85" y="269"/>
                    <a:pt x="87" y="269"/>
                    <a:pt x="88" y="271"/>
                  </a:cubicBezTo>
                  <a:cubicBezTo>
                    <a:pt x="88" y="274"/>
                    <a:pt x="82" y="274"/>
                    <a:pt x="83" y="276"/>
                  </a:cubicBezTo>
                  <a:cubicBezTo>
                    <a:pt x="83" y="278"/>
                    <a:pt x="90" y="280"/>
                    <a:pt x="93" y="284"/>
                  </a:cubicBezTo>
                  <a:cubicBezTo>
                    <a:pt x="96" y="287"/>
                    <a:pt x="96" y="288"/>
                    <a:pt x="95" y="290"/>
                  </a:cubicBezTo>
                  <a:cubicBezTo>
                    <a:pt x="94" y="294"/>
                    <a:pt x="85" y="297"/>
                    <a:pt x="83" y="301"/>
                  </a:cubicBezTo>
                  <a:cubicBezTo>
                    <a:pt x="81" y="306"/>
                    <a:pt x="74" y="308"/>
                    <a:pt x="71" y="311"/>
                  </a:cubicBezTo>
                  <a:cubicBezTo>
                    <a:pt x="69" y="313"/>
                    <a:pt x="68" y="315"/>
                    <a:pt x="67" y="316"/>
                  </a:cubicBezTo>
                  <a:cubicBezTo>
                    <a:pt x="68" y="316"/>
                    <a:pt x="70" y="316"/>
                    <a:pt x="70" y="315"/>
                  </a:cubicBezTo>
                  <a:cubicBezTo>
                    <a:pt x="72" y="314"/>
                    <a:pt x="74" y="319"/>
                    <a:pt x="75" y="320"/>
                  </a:cubicBezTo>
                  <a:cubicBezTo>
                    <a:pt x="77" y="322"/>
                    <a:pt x="81" y="320"/>
                    <a:pt x="82" y="322"/>
                  </a:cubicBezTo>
                  <a:cubicBezTo>
                    <a:pt x="84" y="323"/>
                    <a:pt x="81" y="323"/>
                    <a:pt x="79" y="323"/>
                  </a:cubicBezTo>
                  <a:cubicBezTo>
                    <a:pt x="76" y="323"/>
                    <a:pt x="75" y="324"/>
                    <a:pt x="71" y="326"/>
                  </a:cubicBezTo>
                  <a:cubicBezTo>
                    <a:pt x="68" y="327"/>
                    <a:pt x="68" y="328"/>
                    <a:pt x="67" y="329"/>
                  </a:cubicBezTo>
                  <a:cubicBezTo>
                    <a:pt x="69" y="331"/>
                    <a:pt x="66" y="332"/>
                    <a:pt x="65" y="334"/>
                  </a:cubicBezTo>
                  <a:cubicBezTo>
                    <a:pt x="64" y="336"/>
                    <a:pt x="63" y="337"/>
                    <a:pt x="63" y="338"/>
                  </a:cubicBezTo>
                  <a:cubicBezTo>
                    <a:pt x="62" y="340"/>
                    <a:pt x="63" y="341"/>
                    <a:pt x="63" y="343"/>
                  </a:cubicBezTo>
                  <a:cubicBezTo>
                    <a:pt x="63" y="345"/>
                    <a:pt x="64" y="345"/>
                    <a:pt x="65" y="347"/>
                  </a:cubicBezTo>
                  <a:cubicBezTo>
                    <a:pt x="66" y="349"/>
                    <a:pt x="64" y="349"/>
                    <a:pt x="63" y="350"/>
                  </a:cubicBezTo>
                  <a:cubicBezTo>
                    <a:pt x="62" y="351"/>
                    <a:pt x="62" y="353"/>
                    <a:pt x="64" y="354"/>
                  </a:cubicBezTo>
                  <a:cubicBezTo>
                    <a:pt x="65" y="355"/>
                    <a:pt x="65" y="357"/>
                    <a:pt x="65" y="358"/>
                  </a:cubicBezTo>
                  <a:cubicBezTo>
                    <a:pt x="64" y="360"/>
                    <a:pt x="66" y="362"/>
                    <a:pt x="67" y="363"/>
                  </a:cubicBezTo>
                  <a:cubicBezTo>
                    <a:pt x="69" y="364"/>
                    <a:pt x="68" y="368"/>
                    <a:pt x="69" y="369"/>
                  </a:cubicBezTo>
                  <a:cubicBezTo>
                    <a:pt x="71" y="369"/>
                    <a:pt x="72" y="370"/>
                    <a:pt x="74" y="370"/>
                  </a:cubicBezTo>
                  <a:cubicBezTo>
                    <a:pt x="76" y="369"/>
                    <a:pt x="77" y="370"/>
                    <a:pt x="78" y="372"/>
                  </a:cubicBezTo>
                  <a:cubicBezTo>
                    <a:pt x="79" y="373"/>
                    <a:pt x="80" y="373"/>
                    <a:pt x="82" y="372"/>
                  </a:cubicBezTo>
                  <a:cubicBezTo>
                    <a:pt x="84" y="371"/>
                    <a:pt x="89" y="373"/>
                    <a:pt x="90" y="374"/>
                  </a:cubicBezTo>
                  <a:cubicBezTo>
                    <a:pt x="91" y="374"/>
                    <a:pt x="90" y="377"/>
                    <a:pt x="90" y="379"/>
                  </a:cubicBezTo>
                  <a:cubicBezTo>
                    <a:pt x="90" y="381"/>
                    <a:pt x="89" y="384"/>
                    <a:pt x="91" y="385"/>
                  </a:cubicBezTo>
                  <a:cubicBezTo>
                    <a:pt x="93" y="386"/>
                    <a:pt x="93" y="389"/>
                    <a:pt x="95" y="390"/>
                  </a:cubicBezTo>
                  <a:cubicBezTo>
                    <a:pt x="97" y="391"/>
                    <a:pt x="98" y="394"/>
                    <a:pt x="100" y="395"/>
                  </a:cubicBezTo>
                  <a:cubicBezTo>
                    <a:pt x="101" y="395"/>
                    <a:pt x="104" y="397"/>
                    <a:pt x="104" y="399"/>
                  </a:cubicBezTo>
                  <a:cubicBezTo>
                    <a:pt x="104" y="400"/>
                    <a:pt x="102" y="402"/>
                    <a:pt x="100" y="402"/>
                  </a:cubicBezTo>
                  <a:cubicBezTo>
                    <a:pt x="98" y="403"/>
                    <a:pt x="95" y="400"/>
                    <a:pt x="94" y="402"/>
                  </a:cubicBezTo>
                  <a:cubicBezTo>
                    <a:pt x="93" y="403"/>
                    <a:pt x="95" y="405"/>
                    <a:pt x="95" y="409"/>
                  </a:cubicBezTo>
                  <a:cubicBezTo>
                    <a:pt x="96" y="413"/>
                    <a:pt x="97" y="413"/>
                    <a:pt x="99" y="413"/>
                  </a:cubicBezTo>
                  <a:cubicBezTo>
                    <a:pt x="101" y="413"/>
                    <a:pt x="101" y="412"/>
                    <a:pt x="103" y="411"/>
                  </a:cubicBezTo>
                  <a:cubicBezTo>
                    <a:pt x="104" y="411"/>
                    <a:pt x="107" y="412"/>
                    <a:pt x="108" y="411"/>
                  </a:cubicBezTo>
                  <a:cubicBezTo>
                    <a:pt x="109" y="411"/>
                    <a:pt x="114" y="410"/>
                    <a:pt x="115" y="412"/>
                  </a:cubicBezTo>
                  <a:cubicBezTo>
                    <a:pt x="115" y="413"/>
                    <a:pt x="116" y="417"/>
                    <a:pt x="116" y="418"/>
                  </a:cubicBezTo>
                  <a:cubicBezTo>
                    <a:pt x="115" y="419"/>
                    <a:pt x="117" y="421"/>
                    <a:pt x="117" y="422"/>
                  </a:cubicBezTo>
                  <a:cubicBezTo>
                    <a:pt x="118" y="424"/>
                    <a:pt x="122" y="423"/>
                    <a:pt x="123" y="424"/>
                  </a:cubicBezTo>
                  <a:cubicBezTo>
                    <a:pt x="125" y="424"/>
                    <a:pt x="127" y="428"/>
                    <a:pt x="127" y="430"/>
                  </a:cubicBezTo>
                  <a:cubicBezTo>
                    <a:pt x="126" y="432"/>
                    <a:pt x="129" y="432"/>
                    <a:pt x="130" y="432"/>
                  </a:cubicBezTo>
                  <a:cubicBezTo>
                    <a:pt x="131" y="431"/>
                    <a:pt x="132" y="433"/>
                    <a:pt x="134" y="433"/>
                  </a:cubicBezTo>
                  <a:cubicBezTo>
                    <a:pt x="135" y="434"/>
                    <a:pt x="137" y="434"/>
                    <a:pt x="138" y="433"/>
                  </a:cubicBezTo>
                  <a:cubicBezTo>
                    <a:pt x="139" y="432"/>
                    <a:pt x="142" y="432"/>
                    <a:pt x="142" y="433"/>
                  </a:cubicBezTo>
                  <a:cubicBezTo>
                    <a:pt x="143" y="434"/>
                    <a:pt x="146" y="436"/>
                    <a:pt x="146" y="437"/>
                  </a:cubicBezTo>
                  <a:cubicBezTo>
                    <a:pt x="146" y="438"/>
                    <a:pt x="150" y="437"/>
                    <a:pt x="153" y="438"/>
                  </a:cubicBezTo>
                  <a:cubicBezTo>
                    <a:pt x="155" y="439"/>
                    <a:pt x="157" y="439"/>
                    <a:pt x="159" y="440"/>
                  </a:cubicBezTo>
                  <a:cubicBezTo>
                    <a:pt x="162" y="441"/>
                    <a:pt x="164" y="441"/>
                    <a:pt x="164" y="443"/>
                  </a:cubicBezTo>
                  <a:cubicBezTo>
                    <a:pt x="164" y="444"/>
                    <a:pt x="162" y="445"/>
                    <a:pt x="162" y="446"/>
                  </a:cubicBezTo>
                  <a:cubicBezTo>
                    <a:pt x="162" y="447"/>
                    <a:pt x="164" y="447"/>
                    <a:pt x="164" y="448"/>
                  </a:cubicBezTo>
                  <a:cubicBezTo>
                    <a:pt x="164" y="450"/>
                    <a:pt x="161" y="450"/>
                    <a:pt x="161" y="450"/>
                  </a:cubicBezTo>
                  <a:cubicBezTo>
                    <a:pt x="160" y="451"/>
                    <a:pt x="162" y="453"/>
                    <a:pt x="163" y="453"/>
                  </a:cubicBezTo>
                  <a:cubicBezTo>
                    <a:pt x="163" y="454"/>
                    <a:pt x="161" y="457"/>
                    <a:pt x="161" y="458"/>
                  </a:cubicBezTo>
                  <a:cubicBezTo>
                    <a:pt x="161" y="459"/>
                    <a:pt x="156" y="458"/>
                    <a:pt x="155" y="458"/>
                  </a:cubicBezTo>
                  <a:cubicBezTo>
                    <a:pt x="153" y="458"/>
                    <a:pt x="150" y="462"/>
                    <a:pt x="148" y="462"/>
                  </a:cubicBezTo>
                  <a:cubicBezTo>
                    <a:pt x="147" y="463"/>
                    <a:pt x="148" y="465"/>
                    <a:pt x="148" y="466"/>
                  </a:cubicBezTo>
                  <a:cubicBezTo>
                    <a:pt x="152" y="465"/>
                    <a:pt x="156" y="465"/>
                    <a:pt x="156" y="466"/>
                  </a:cubicBezTo>
                  <a:cubicBezTo>
                    <a:pt x="157" y="467"/>
                    <a:pt x="148" y="471"/>
                    <a:pt x="146" y="472"/>
                  </a:cubicBezTo>
                  <a:cubicBezTo>
                    <a:pt x="145" y="472"/>
                    <a:pt x="150" y="475"/>
                    <a:pt x="149" y="476"/>
                  </a:cubicBezTo>
                  <a:cubicBezTo>
                    <a:pt x="149" y="478"/>
                    <a:pt x="144" y="478"/>
                    <a:pt x="145" y="481"/>
                  </a:cubicBezTo>
                  <a:cubicBezTo>
                    <a:pt x="145" y="484"/>
                    <a:pt x="143" y="484"/>
                    <a:pt x="140" y="484"/>
                  </a:cubicBezTo>
                  <a:cubicBezTo>
                    <a:pt x="138" y="484"/>
                    <a:pt x="137" y="486"/>
                    <a:pt x="138" y="486"/>
                  </a:cubicBezTo>
                  <a:cubicBezTo>
                    <a:pt x="139" y="487"/>
                    <a:pt x="139" y="490"/>
                    <a:pt x="144" y="491"/>
                  </a:cubicBezTo>
                  <a:cubicBezTo>
                    <a:pt x="150" y="493"/>
                    <a:pt x="155" y="498"/>
                    <a:pt x="159" y="502"/>
                  </a:cubicBezTo>
                  <a:cubicBezTo>
                    <a:pt x="160" y="503"/>
                    <a:pt x="161" y="503"/>
                    <a:pt x="161" y="504"/>
                  </a:cubicBezTo>
                  <a:cubicBezTo>
                    <a:pt x="163" y="503"/>
                    <a:pt x="164" y="503"/>
                    <a:pt x="165" y="503"/>
                  </a:cubicBezTo>
                  <a:cubicBezTo>
                    <a:pt x="167" y="502"/>
                    <a:pt x="172" y="504"/>
                    <a:pt x="174" y="505"/>
                  </a:cubicBezTo>
                  <a:cubicBezTo>
                    <a:pt x="177" y="507"/>
                    <a:pt x="186" y="505"/>
                    <a:pt x="187" y="506"/>
                  </a:cubicBezTo>
                  <a:cubicBezTo>
                    <a:pt x="188" y="508"/>
                    <a:pt x="190" y="510"/>
                    <a:pt x="192" y="510"/>
                  </a:cubicBezTo>
                  <a:cubicBezTo>
                    <a:pt x="193" y="510"/>
                    <a:pt x="195" y="513"/>
                    <a:pt x="197" y="512"/>
                  </a:cubicBezTo>
                  <a:cubicBezTo>
                    <a:pt x="198" y="511"/>
                    <a:pt x="203" y="511"/>
                    <a:pt x="205" y="511"/>
                  </a:cubicBezTo>
                  <a:cubicBezTo>
                    <a:pt x="206" y="511"/>
                    <a:pt x="206" y="512"/>
                    <a:pt x="208" y="512"/>
                  </a:cubicBezTo>
                  <a:cubicBezTo>
                    <a:pt x="209" y="512"/>
                    <a:pt x="209" y="517"/>
                    <a:pt x="210" y="517"/>
                  </a:cubicBezTo>
                  <a:cubicBezTo>
                    <a:pt x="211" y="517"/>
                    <a:pt x="215" y="520"/>
                    <a:pt x="218" y="521"/>
                  </a:cubicBezTo>
                  <a:cubicBezTo>
                    <a:pt x="220" y="521"/>
                    <a:pt x="223" y="525"/>
                    <a:pt x="224" y="525"/>
                  </a:cubicBezTo>
                  <a:cubicBezTo>
                    <a:pt x="225" y="525"/>
                    <a:pt x="227" y="527"/>
                    <a:pt x="227" y="525"/>
                  </a:cubicBezTo>
                  <a:cubicBezTo>
                    <a:pt x="228" y="523"/>
                    <a:pt x="231" y="524"/>
                    <a:pt x="232" y="521"/>
                  </a:cubicBezTo>
                  <a:cubicBezTo>
                    <a:pt x="228" y="516"/>
                    <a:pt x="223" y="510"/>
                    <a:pt x="223" y="507"/>
                  </a:cubicBezTo>
                  <a:cubicBezTo>
                    <a:pt x="223" y="503"/>
                    <a:pt x="225" y="500"/>
                    <a:pt x="220" y="496"/>
                  </a:cubicBezTo>
                  <a:cubicBezTo>
                    <a:pt x="215" y="492"/>
                    <a:pt x="221" y="489"/>
                    <a:pt x="224" y="485"/>
                  </a:cubicBezTo>
                  <a:cubicBezTo>
                    <a:pt x="227" y="481"/>
                    <a:pt x="234" y="479"/>
                    <a:pt x="238" y="476"/>
                  </a:cubicBezTo>
                  <a:cubicBezTo>
                    <a:pt x="238" y="475"/>
                    <a:pt x="237" y="475"/>
                    <a:pt x="236" y="474"/>
                  </a:cubicBezTo>
                  <a:cubicBezTo>
                    <a:pt x="233" y="473"/>
                    <a:pt x="232" y="471"/>
                    <a:pt x="234" y="471"/>
                  </a:cubicBezTo>
                  <a:cubicBezTo>
                    <a:pt x="237" y="470"/>
                    <a:pt x="235" y="469"/>
                    <a:pt x="233" y="466"/>
                  </a:cubicBezTo>
                  <a:cubicBezTo>
                    <a:pt x="230" y="463"/>
                    <a:pt x="229" y="460"/>
                    <a:pt x="228" y="460"/>
                  </a:cubicBezTo>
                  <a:cubicBezTo>
                    <a:pt x="227" y="460"/>
                    <a:pt x="224" y="460"/>
                    <a:pt x="222" y="460"/>
                  </a:cubicBezTo>
                  <a:cubicBezTo>
                    <a:pt x="220" y="461"/>
                    <a:pt x="221" y="459"/>
                    <a:pt x="221" y="456"/>
                  </a:cubicBezTo>
                  <a:cubicBezTo>
                    <a:pt x="221" y="454"/>
                    <a:pt x="217" y="454"/>
                    <a:pt x="216" y="453"/>
                  </a:cubicBezTo>
                  <a:cubicBezTo>
                    <a:pt x="216" y="452"/>
                    <a:pt x="217" y="448"/>
                    <a:pt x="218" y="448"/>
                  </a:cubicBezTo>
                  <a:cubicBezTo>
                    <a:pt x="219" y="448"/>
                    <a:pt x="221" y="447"/>
                    <a:pt x="221" y="445"/>
                  </a:cubicBezTo>
                  <a:cubicBezTo>
                    <a:pt x="221" y="444"/>
                    <a:pt x="217" y="444"/>
                    <a:pt x="218" y="442"/>
                  </a:cubicBezTo>
                  <a:cubicBezTo>
                    <a:pt x="220" y="439"/>
                    <a:pt x="223" y="439"/>
                    <a:pt x="223" y="437"/>
                  </a:cubicBezTo>
                  <a:cubicBezTo>
                    <a:pt x="223" y="434"/>
                    <a:pt x="225" y="432"/>
                    <a:pt x="227" y="434"/>
                  </a:cubicBezTo>
                  <a:cubicBezTo>
                    <a:pt x="230" y="435"/>
                    <a:pt x="231" y="440"/>
                    <a:pt x="234" y="439"/>
                  </a:cubicBezTo>
                  <a:cubicBezTo>
                    <a:pt x="237" y="438"/>
                    <a:pt x="235" y="435"/>
                    <a:pt x="234" y="434"/>
                  </a:cubicBezTo>
                  <a:cubicBezTo>
                    <a:pt x="234" y="433"/>
                    <a:pt x="233" y="430"/>
                    <a:pt x="237" y="430"/>
                  </a:cubicBezTo>
                  <a:cubicBezTo>
                    <a:pt x="240" y="429"/>
                    <a:pt x="238" y="426"/>
                    <a:pt x="241" y="426"/>
                  </a:cubicBezTo>
                  <a:cubicBezTo>
                    <a:pt x="243" y="426"/>
                    <a:pt x="248" y="423"/>
                    <a:pt x="249" y="422"/>
                  </a:cubicBezTo>
                  <a:cubicBezTo>
                    <a:pt x="251" y="421"/>
                    <a:pt x="254" y="419"/>
                    <a:pt x="255" y="420"/>
                  </a:cubicBezTo>
                  <a:cubicBezTo>
                    <a:pt x="257" y="421"/>
                    <a:pt x="259" y="423"/>
                    <a:pt x="260" y="420"/>
                  </a:cubicBezTo>
                  <a:cubicBezTo>
                    <a:pt x="261" y="418"/>
                    <a:pt x="265" y="419"/>
                    <a:pt x="265" y="420"/>
                  </a:cubicBezTo>
                  <a:cubicBezTo>
                    <a:pt x="266" y="422"/>
                    <a:pt x="273" y="422"/>
                    <a:pt x="275" y="423"/>
                  </a:cubicBezTo>
                  <a:cubicBezTo>
                    <a:pt x="277" y="424"/>
                    <a:pt x="281" y="427"/>
                    <a:pt x="281" y="429"/>
                  </a:cubicBezTo>
                  <a:cubicBezTo>
                    <a:pt x="281" y="430"/>
                    <a:pt x="284" y="432"/>
                    <a:pt x="284" y="430"/>
                  </a:cubicBezTo>
                  <a:cubicBezTo>
                    <a:pt x="284" y="427"/>
                    <a:pt x="285" y="428"/>
                    <a:pt x="288" y="430"/>
                  </a:cubicBezTo>
                  <a:cubicBezTo>
                    <a:pt x="291" y="432"/>
                    <a:pt x="295" y="431"/>
                    <a:pt x="296" y="429"/>
                  </a:cubicBezTo>
                  <a:cubicBezTo>
                    <a:pt x="296" y="427"/>
                    <a:pt x="302" y="425"/>
                    <a:pt x="304" y="427"/>
                  </a:cubicBezTo>
                  <a:cubicBezTo>
                    <a:pt x="305" y="428"/>
                    <a:pt x="306" y="429"/>
                    <a:pt x="308" y="427"/>
                  </a:cubicBezTo>
                  <a:cubicBezTo>
                    <a:pt x="310" y="425"/>
                    <a:pt x="315" y="425"/>
                    <a:pt x="316" y="427"/>
                  </a:cubicBezTo>
                  <a:cubicBezTo>
                    <a:pt x="317" y="429"/>
                    <a:pt x="319" y="430"/>
                    <a:pt x="321" y="430"/>
                  </a:cubicBezTo>
                  <a:cubicBezTo>
                    <a:pt x="324" y="430"/>
                    <a:pt x="324" y="433"/>
                    <a:pt x="325" y="432"/>
                  </a:cubicBezTo>
                  <a:cubicBezTo>
                    <a:pt x="327" y="432"/>
                    <a:pt x="326" y="428"/>
                    <a:pt x="328" y="428"/>
                  </a:cubicBezTo>
                  <a:cubicBezTo>
                    <a:pt x="330" y="429"/>
                    <a:pt x="331" y="431"/>
                    <a:pt x="334" y="431"/>
                  </a:cubicBezTo>
                  <a:cubicBezTo>
                    <a:pt x="337" y="431"/>
                    <a:pt x="339" y="430"/>
                    <a:pt x="339" y="428"/>
                  </a:cubicBezTo>
                  <a:cubicBezTo>
                    <a:pt x="339" y="426"/>
                    <a:pt x="339" y="422"/>
                    <a:pt x="337" y="422"/>
                  </a:cubicBezTo>
                  <a:cubicBezTo>
                    <a:pt x="335" y="422"/>
                    <a:pt x="334" y="420"/>
                    <a:pt x="331" y="420"/>
                  </a:cubicBezTo>
                  <a:cubicBezTo>
                    <a:pt x="329" y="420"/>
                    <a:pt x="327" y="417"/>
                    <a:pt x="329" y="416"/>
                  </a:cubicBezTo>
                  <a:cubicBezTo>
                    <a:pt x="331" y="415"/>
                    <a:pt x="335" y="414"/>
                    <a:pt x="334" y="412"/>
                  </a:cubicBezTo>
                  <a:cubicBezTo>
                    <a:pt x="334" y="410"/>
                    <a:pt x="333" y="407"/>
                    <a:pt x="336" y="406"/>
                  </a:cubicBezTo>
                  <a:cubicBezTo>
                    <a:pt x="339" y="406"/>
                    <a:pt x="345" y="406"/>
                    <a:pt x="344" y="405"/>
                  </a:cubicBezTo>
                  <a:cubicBezTo>
                    <a:pt x="344" y="404"/>
                    <a:pt x="338" y="403"/>
                    <a:pt x="337" y="401"/>
                  </a:cubicBezTo>
                  <a:cubicBezTo>
                    <a:pt x="336" y="399"/>
                    <a:pt x="336" y="395"/>
                    <a:pt x="337" y="394"/>
                  </a:cubicBezTo>
                  <a:cubicBezTo>
                    <a:pt x="338" y="394"/>
                    <a:pt x="341" y="395"/>
                    <a:pt x="344" y="394"/>
                  </a:cubicBezTo>
                  <a:cubicBezTo>
                    <a:pt x="346" y="393"/>
                    <a:pt x="350" y="395"/>
                    <a:pt x="353" y="393"/>
                  </a:cubicBezTo>
                  <a:cubicBezTo>
                    <a:pt x="356" y="391"/>
                    <a:pt x="362" y="391"/>
                    <a:pt x="365" y="391"/>
                  </a:cubicBezTo>
                  <a:cubicBezTo>
                    <a:pt x="369" y="391"/>
                    <a:pt x="371" y="388"/>
                    <a:pt x="374" y="388"/>
                  </a:cubicBezTo>
                  <a:cubicBezTo>
                    <a:pt x="376" y="388"/>
                    <a:pt x="383" y="387"/>
                    <a:pt x="385" y="386"/>
                  </a:cubicBezTo>
                  <a:cubicBezTo>
                    <a:pt x="387" y="385"/>
                    <a:pt x="396" y="384"/>
                    <a:pt x="397" y="382"/>
                  </a:cubicBezTo>
                  <a:cubicBezTo>
                    <a:pt x="397" y="380"/>
                    <a:pt x="405" y="379"/>
                    <a:pt x="407" y="380"/>
                  </a:cubicBezTo>
                  <a:cubicBezTo>
                    <a:pt x="409" y="381"/>
                    <a:pt x="411" y="381"/>
                    <a:pt x="413" y="381"/>
                  </a:cubicBezTo>
                  <a:cubicBezTo>
                    <a:pt x="415" y="380"/>
                    <a:pt x="418" y="382"/>
                    <a:pt x="418" y="384"/>
                  </a:cubicBezTo>
                  <a:cubicBezTo>
                    <a:pt x="418" y="386"/>
                    <a:pt x="420" y="388"/>
                    <a:pt x="420" y="389"/>
                  </a:cubicBezTo>
                  <a:cubicBezTo>
                    <a:pt x="419" y="391"/>
                    <a:pt x="418" y="392"/>
                    <a:pt x="419" y="393"/>
                  </a:cubicBezTo>
                  <a:cubicBezTo>
                    <a:pt x="420" y="394"/>
                    <a:pt x="425" y="393"/>
                    <a:pt x="426" y="392"/>
                  </a:cubicBezTo>
                  <a:cubicBezTo>
                    <a:pt x="427" y="390"/>
                    <a:pt x="429" y="392"/>
                    <a:pt x="429" y="394"/>
                  </a:cubicBezTo>
                  <a:cubicBezTo>
                    <a:pt x="429" y="395"/>
                    <a:pt x="431" y="396"/>
                    <a:pt x="431" y="394"/>
                  </a:cubicBezTo>
                  <a:cubicBezTo>
                    <a:pt x="431" y="392"/>
                    <a:pt x="434" y="394"/>
                    <a:pt x="435" y="395"/>
                  </a:cubicBezTo>
                  <a:cubicBezTo>
                    <a:pt x="436" y="396"/>
                    <a:pt x="439" y="393"/>
                    <a:pt x="439" y="395"/>
                  </a:cubicBezTo>
                  <a:cubicBezTo>
                    <a:pt x="439" y="397"/>
                    <a:pt x="434" y="398"/>
                    <a:pt x="436" y="400"/>
                  </a:cubicBezTo>
                  <a:cubicBezTo>
                    <a:pt x="439" y="402"/>
                    <a:pt x="440" y="398"/>
                    <a:pt x="443" y="399"/>
                  </a:cubicBezTo>
                  <a:cubicBezTo>
                    <a:pt x="445" y="400"/>
                    <a:pt x="449" y="396"/>
                    <a:pt x="451" y="395"/>
                  </a:cubicBezTo>
                  <a:cubicBezTo>
                    <a:pt x="454" y="395"/>
                    <a:pt x="456" y="392"/>
                    <a:pt x="459" y="391"/>
                  </a:cubicBezTo>
                  <a:cubicBezTo>
                    <a:pt x="461" y="390"/>
                    <a:pt x="465" y="390"/>
                    <a:pt x="464" y="392"/>
                  </a:cubicBezTo>
                  <a:cubicBezTo>
                    <a:pt x="463" y="393"/>
                    <a:pt x="461" y="396"/>
                    <a:pt x="466" y="398"/>
                  </a:cubicBezTo>
                  <a:cubicBezTo>
                    <a:pt x="472" y="400"/>
                    <a:pt x="478" y="410"/>
                    <a:pt x="481" y="415"/>
                  </a:cubicBezTo>
                  <a:cubicBezTo>
                    <a:pt x="484" y="420"/>
                    <a:pt x="488" y="430"/>
                    <a:pt x="489" y="430"/>
                  </a:cubicBezTo>
                  <a:cubicBezTo>
                    <a:pt x="491" y="430"/>
                    <a:pt x="492" y="425"/>
                    <a:pt x="494" y="425"/>
                  </a:cubicBezTo>
                  <a:cubicBezTo>
                    <a:pt x="496" y="424"/>
                    <a:pt x="498" y="429"/>
                    <a:pt x="500" y="429"/>
                  </a:cubicBezTo>
                  <a:cubicBezTo>
                    <a:pt x="503" y="430"/>
                    <a:pt x="506" y="431"/>
                    <a:pt x="508" y="430"/>
                  </a:cubicBezTo>
                  <a:cubicBezTo>
                    <a:pt x="510" y="430"/>
                    <a:pt x="515" y="427"/>
                    <a:pt x="516" y="428"/>
                  </a:cubicBezTo>
                  <a:cubicBezTo>
                    <a:pt x="518" y="429"/>
                    <a:pt x="520" y="429"/>
                    <a:pt x="521" y="432"/>
                  </a:cubicBezTo>
                  <a:cubicBezTo>
                    <a:pt x="523" y="436"/>
                    <a:pt x="525" y="436"/>
                    <a:pt x="526" y="436"/>
                  </a:cubicBezTo>
                  <a:cubicBezTo>
                    <a:pt x="528" y="436"/>
                    <a:pt x="528" y="438"/>
                    <a:pt x="528" y="439"/>
                  </a:cubicBezTo>
                  <a:cubicBezTo>
                    <a:pt x="528" y="441"/>
                    <a:pt x="531" y="443"/>
                    <a:pt x="532" y="443"/>
                  </a:cubicBezTo>
                  <a:cubicBezTo>
                    <a:pt x="534" y="443"/>
                    <a:pt x="537" y="442"/>
                    <a:pt x="539" y="442"/>
                  </a:cubicBezTo>
                  <a:cubicBezTo>
                    <a:pt x="540" y="441"/>
                    <a:pt x="541" y="440"/>
                    <a:pt x="541" y="442"/>
                  </a:cubicBezTo>
                  <a:cubicBezTo>
                    <a:pt x="542" y="443"/>
                    <a:pt x="544" y="446"/>
                    <a:pt x="545" y="446"/>
                  </a:cubicBezTo>
                  <a:cubicBezTo>
                    <a:pt x="547" y="446"/>
                    <a:pt x="549" y="447"/>
                    <a:pt x="550" y="446"/>
                  </a:cubicBezTo>
                  <a:cubicBezTo>
                    <a:pt x="550" y="445"/>
                    <a:pt x="554" y="444"/>
                    <a:pt x="555" y="444"/>
                  </a:cubicBezTo>
                  <a:cubicBezTo>
                    <a:pt x="557" y="444"/>
                    <a:pt x="562" y="443"/>
                    <a:pt x="563" y="441"/>
                  </a:cubicBezTo>
                  <a:cubicBezTo>
                    <a:pt x="564" y="438"/>
                    <a:pt x="568" y="438"/>
                    <a:pt x="569" y="437"/>
                  </a:cubicBezTo>
                  <a:cubicBezTo>
                    <a:pt x="570" y="436"/>
                    <a:pt x="573" y="435"/>
                    <a:pt x="574" y="433"/>
                  </a:cubicBezTo>
                  <a:cubicBezTo>
                    <a:pt x="575" y="432"/>
                    <a:pt x="579" y="432"/>
                    <a:pt x="579" y="431"/>
                  </a:cubicBezTo>
                  <a:cubicBezTo>
                    <a:pt x="580" y="430"/>
                    <a:pt x="583" y="430"/>
                    <a:pt x="585" y="430"/>
                  </a:cubicBezTo>
                  <a:cubicBezTo>
                    <a:pt x="587" y="431"/>
                    <a:pt x="595" y="432"/>
                    <a:pt x="596" y="432"/>
                  </a:cubicBezTo>
                  <a:cubicBezTo>
                    <a:pt x="598" y="432"/>
                    <a:pt x="598" y="436"/>
                    <a:pt x="599" y="437"/>
                  </a:cubicBezTo>
                  <a:cubicBezTo>
                    <a:pt x="600" y="437"/>
                    <a:pt x="604" y="440"/>
                    <a:pt x="606" y="439"/>
                  </a:cubicBezTo>
                  <a:cubicBezTo>
                    <a:pt x="607" y="438"/>
                    <a:pt x="610" y="437"/>
                    <a:pt x="612" y="439"/>
                  </a:cubicBezTo>
                  <a:cubicBezTo>
                    <a:pt x="614" y="440"/>
                    <a:pt x="617" y="442"/>
                    <a:pt x="618" y="440"/>
                  </a:cubicBezTo>
                  <a:cubicBezTo>
                    <a:pt x="619" y="439"/>
                    <a:pt x="624" y="438"/>
                    <a:pt x="624" y="437"/>
                  </a:cubicBezTo>
                  <a:cubicBezTo>
                    <a:pt x="625" y="436"/>
                    <a:pt x="626" y="433"/>
                    <a:pt x="625" y="432"/>
                  </a:cubicBezTo>
                  <a:cubicBezTo>
                    <a:pt x="623" y="431"/>
                    <a:pt x="622" y="427"/>
                    <a:pt x="622" y="426"/>
                  </a:cubicBezTo>
                  <a:cubicBezTo>
                    <a:pt x="621" y="424"/>
                    <a:pt x="625" y="423"/>
                    <a:pt x="625" y="422"/>
                  </a:cubicBezTo>
                  <a:cubicBezTo>
                    <a:pt x="626" y="420"/>
                    <a:pt x="628" y="420"/>
                    <a:pt x="629" y="419"/>
                  </a:cubicBezTo>
                  <a:cubicBezTo>
                    <a:pt x="630" y="418"/>
                    <a:pt x="631" y="416"/>
                    <a:pt x="632" y="416"/>
                  </a:cubicBezTo>
                  <a:cubicBezTo>
                    <a:pt x="634" y="417"/>
                    <a:pt x="637" y="418"/>
                    <a:pt x="638" y="418"/>
                  </a:cubicBezTo>
                  <a:cubicBezTo>
                    <a:pt x="639" y="419"/>
                    <a:pt x="642" y="420"/>
                    <a:pt x="643" y="420"/>
                  </a:cubicBezTo>
                  <a:cubicBezTo>
                    <a:pt x="645" y="420"/>
                    <a:pt x="647" y="421"/>
                    <a:pt x="649" y="422"/>
                  </a:cubicBezTo>
                  <a:cubicBezTo>
                    <a:pt x="651" y="423"/>
                    <a:pt x="656" y="423"/>
                    <a:pt x="657" y="424"/>
                  </a:cubicBezTo>
                  <a:cubicBezTo>
                    <a:pt x="658" y="426"/>
                    <a:pt x="657" y="430"/>
                    <a:pt x="658" y="431"/>
                  </a:cubicBezTo>
                  <a:cubicBezTo>
                    <a:pt x="659" y="433"/>
                    <a:pt x="662" y="436"/>
                    <a:pt x="663" y="435"/>
                  </a:cubicBezTo>
                  <a:cubicBezTo>
                    <a:pt x="664" y="434"/>
                    <a:pt x="668" y="437"/>
                    <a:pt x="670" y="437"/>
                  </a:cubicBezTo>
                  <a:cubicBezTo>
                    <a:pt x="672" y="437"/>
                    <a:pt x="674" y="434"/>
                    <a:pt x="676" y="434"/>
                  </a:cubicBezTo>
                  <a:cubicBezTo>
                    <a:pt x="677" y="434"/>
                    <a:pt x="682" y="433"/>
                    <a:pt x="683" y="433"/>
                  </a:cubicBezTo>
                  <a:cubicBezTo>
                    <a:pt x="685" y="434"/>
                    <a:pt x="690" y="436"/>
                    <a:pt x="691" y="435"/>
                  </a:cubicBezTo>
                  <a:cubicBezTo>
                    <a:pt x="691" y="435"/>
                    <a:pt x="696" y="435"/>
                    <a:pt x="697" y="437"/>
                  </a:cubicBezTo>
                  <a:cubicBezTo>
                    <a:pt x="697" y="438"/>
                    <a:pt x="703" y="438"/>
                    <a:pt x="703" y="440"/>
                  </a:cubicBezTo>
                  <a:cubicBezTo>
                    <a:pt x="703" y="442"/>
                    <a:pt x="707" y="442"/>
                    <a:pt x="708" y="444"/>
                  </a:cubicBezTo>
                  <a:cubicBezTo>
                    <a:pt x="709" y="446"/>
                    <a:pt x="716" y="445"/>
                    <a:pt x="718" y="446"/>
                  </a:cubicBezTo>
                  <a:cubicBezTo>
                    <a:pt x="719" y="447"/>
                    <a:pt x="728" y="447"/>
                    <a:pt x="729" y="446"/>
                  </a:cubicBezTo>
                  <a:cubicBezTo>
                    <a:pt x="729" y="445"/>
                    <a:pt x="737" y="445"/>
                    <a:pt x="739" y="444"/>
                  </a:cubicBezTo>
                  <a:cubicBezTo>
                    <a:pt x="741" y="442"/>
                    <a:pt x="745" y="443"/>
                    <a:pt x="745" y="441"/>
                  </a:cubicBezTo>
                  <a:cubicBezTo>
                    <a:pt x="746" y="440"/>
                    <a:pt x="750" y="438"/>
                    <a:pt x="752" y="437"/>
                  </a:cubicBezTo>
                  <a:cubicBezTo>
                    <a:pt x="754" y="436"/>
                    <a:pt x="761" y="436"/>
                    <a:pt x="762" y="437"/>
                  </a:cubicBezTo>
                  <a:cubicBezTo>
                    <a:pt x="762" y="439"/>
                    <a:pt x="767" y="440"/>
                    <a:pt x="769" y="439"/>
                  </a:cubicBezTo>
                  <a:cubicBezTo>
                    <a:pt x="771" y="438"/>
                    <a:pt x="776" y="439"/>
                    <a:pt x="776" y="441"/>
                  </a:cubicBezTo>
                  <a:cubicBezTo>
                    <a:pt x="777" y="442"/>
                    <a:pt x="783" y="443"/>
                    <a:pt x="784" y="443"/>
                  </a:cubicBezTo>
                  <a:cubicBezTo>
                    <a:pt x="786" y="442"/>
                    <a:pt x="790" y="439"/>
                    <a:pt x="792" y="439"/>
                  </a:cubicBezTo>
                  <a:cubicBezTo>
                    <a:pt x="793" y="439"/>
                    <a:pt x="796" y="437"/>
                    <a:pt x="795" y="435"/>
                  </a:cubicBezTo>
                  <a:cubicBezTo>
                    <a:pt x="795" y="434"/>
                    <a:pt x="799" y="429"/>
                    <a:pt x="799" y="427"/>
                  </a:cubicBezTo>
                  <a:cubicBezTo>
                    <a:pt x="800" y="425"/>
                    <a:pt x="803" y="420"/>
                    <a:pt x="804" y="419"/>
                  </a:cubicBezTo>
                  <a:cubicBezTo>
                    <a:pt x="805" y="419"/>
                    <a:pt x="808" y="417"/>
                    <a:pt x="808" y="415"/>
                  </a:cubicBezTo>
                  <a:cubicBezTo>
                    <a:pt x="808" y="414"/>
                    <a:pt x="807" y="410"/>
                    <a:pt x="805" y="410"/>
                  </a:cubicBezTo>
                  <a:cubicBezTo>
                    <a:pt x="804" y="410"/>
                    <a:pt x="801" y="410"/>
                    <a:pt x="805" y="405"/>
                  </a:cubicBezTo>
                  <a:cubicBezTo>
                    <a:pt x="808" y="401"/>
                    <a:pt x="814" y="402"/>
                    <a:pt x="815" y="402"/>
                  </a:cubicBezTo>
                  <a:cubicBezTo>
                    <a:pt x="816" y="402"/>
                    <a:pt x="823" y="400"/>
                    <a:pt x="827" y="401"/>
                  </a:cubicBezTo>
                  <a:cubicBezTo>
                    <a:pt x="830" y="402"/>
                    <a:pt x="832" y="401"/>
                    <a:pt x="836" y="403"/>
                  </a:cubicBezTo>
                  <a:cubicBezTo>
                    <a:pt x="839" y="404"/>
                    <a:pt x="844" y="404"/>
                    <a:pt x="846" y="405"/>
                  </a:cubicBezTo>
                  <a:cubicBezTo>
                    <a:pt x="847" y="407"/>
                    <a:pt x="851" y="408"/>
                    <a:pt x="851" y="411"/>
                  </a:cubicBezTo>
                  <a:cubicBezTo>
                    <a:pt x="850" y="414"/>
                    <a:pt x="853" y="413"/>
                    <a:pt x="855" y="419"/>
                  </a:cubicBezTo>
                  <a:cubicBezTo>
                    <a:pt x="856" y="425"/>
                    <a:pt x="859" y="425"/>
                    <a:pt x="859" y="428"/>
                  </a:cubicBezTo>
                  <a:cubicBezTo>
                    <a:pt x="860" y="431"/>
                    <a:pt x="864" y="436"/>
                    <a:pt x="863" y="438"/>
                  </a:cubicBezTo>
                  <a:cubicBezTo>
                    <a:pt x="863" y="440"/>
                    <a:pt x="862" y="442"/>
                    <a:pt x="866" y="442"/>
                  </a:cubicBezTo>
                  <a:cubicBezTo>
                    <a:pt x="871" y="443"/>
                    <a:pt x="873" y="446"/>
                    <a:pt x="874" y="445"/>
                  </a:cubicBezTo>
                  <a:cubicBezTo>
                    <a:pt x="875" y="445"/>
                    <a:pt x="880" y="447"/>
                    <a:pt x="882" y="449"/>
                  </a:cubicBezTo>
                  <a:cubicBezTo>
                    <a:pt x="885" y="451"/>
                    <a:pt x="888" y="450"/>
                    <a:pt x="888" y="453"/>
                  </a:cubicBezTo>
                  <a:cubicBezTo>
                    <a:pt x="888" y="455"/>
                    <a:pt x="890" y="457"/>
                    <a:pt x="890" y="460"/>
                  </a:cubicBezTo>
                  <a:cubicBezTo>
                    <a:pt x="890" y="462"/>
                    <a:pt x="894" y="463"/>
                    <a:pt x="898" y="463"/>
                  </a:cubicBezTo>
                  <a:cubicBezTo>
                    <a:pt x="901" y="462"/>
                    <a:pt x="903" y="464"/>
                    <a:pt x="905" y="461"/>
                  </a:cubicBezTo>
                  <a:cubicBezTo>
                    <a:pt x="906" y="458"/>
                    <a:pt x="911" y="459"/>
                    <a:pt x="913" y="458"/>
                  </a:cubicBezTo>
                  <a:cubicBezTo>
                    <a:pt x="914" y="457"/>
                    <a:pt x="919" y="456"/>
                    <a:pt x="919" y="460"/>
                  </a:cubicBezTo>
                  <a:cubicBezTo>
                    <a:pt x="919" y="464"/>
                    <a:pt x="922" y="465"/>
                    <a:pt x="919" y="466"/>
                  </a:cubicBezTo>
                  <a:cubicBezTo>
                    <a:pt x="917" y="468"/>
                    <a:pt x="916" y="474"/>
                    <a:pt x="915" y="477"/>
                  </a:cubicBezTo>
                  <a:cubicBezTo>
                    <a:pt x="914" y="479"/>
                    <a:pt x="911" y="480"/>
                    <a:pt x="910" y="483"/>
                  </a:cubicBezTo>
                  <a:cubicBezTo>
                    <a:pt x="910" y="486"/>
                    <a:pt x="906" y="486"/>
                    <a:pt x="906" y="488"/>
                  </a:cubicBezTo>
                  <a:cubicBezTo>
                    <a:pt x="906" y="490"/>
                    <a:pt x="902" y="490"/>
                    <a:pt x="899" y="488"/>
                  </a:cubicBezTo>
                  <a:cubicBezTo>
                    <a:pt x="897" y="486"/>
                    <a:pt x="895" y="491"/>
                    <a:pt x="893" y="491"/>
                  </a:cubicBezTo>
                  <a:cubicBezTo>
                    <a:pt x="891" y="491"/>
                    <a:pt x="891" y="495"/>
                    <a:pt x="891" y="497"/>
                  </a:cubicBezTo>
                  <a:cubicBezTo>
                    <a:pt x="892" y="499"/>
                    <a:pt x="891" y="501"/>
                    <a:pt x="892" y="504"/>
                  </a:cubicBezTo>
                  <a:cubicBezTo>
                    <a:pt x="893" y="505"/>
                    <a:pt x="892" y="508"/>
                    <a:pt x="892" y="511"/>
                  </a:cubicBezTo>
                  <a:cubicBezTo>
                    <a:pt x="895" y="509"/>
                    <a:pt x="898" y="508"/>
                    <a:pt x="899" y="508"/>
                  </a:cubicBezTo>
                  <a:cubicBezTo>
                    <a:pt x="902" y="508"/>
                    <a:pt x="905" y="513"/>
                    <a:pt x="908" y="513"/>
                  </a:cubicBezTo>
                  <a:cubicBezTo>
                    <a:pt x="912" y="513"/>
                    <a:pt x="927" y="503"/>
                    <a:pt x="927" y="501"/>
                  </a:cubicBezTo>
                  <a:cubicBezTo>
                    <a:pt x="927" y="500"/>
                    <a:pt x="936" y="491"/>
                    <a:pt x="940" y="487"/>
                  </a:cubicBezTo>
                  <a:cubicBezTo>
                    <a:pt x="944" y="482"/>
                    <a:pt x="950" y="476"/>
                    <a:pt x="952" y="471"/>
                  </a:cubicBezTo>
                  <a:cubicBezTo>
                    <a:pt x="953" y="468"/>
                    <a:pt x="959" y="462"/>
                    <a:pt x="960" y="459"/>
                  </a:cubicBezTo>
                  <a:cubicBezTo>
                    <a:pt x="962" y="457"/>
                    <a:pt x="963" y="457"/>
                    <a:pt x="965" y="451"/>
                  </a:cubicBezTo>
                  <a:cubicBezTo>
                    <a:pt x="968" y="446"/>
                    <a:pt x="968" y="431"/>
                    <a:pt x="969" y="430"/>
                  </a:cubicBezTo>
                  <a:cubicBezTo>
                    <a:pt x="970" y="429"/>
                    <a:pt x="969" y="427"/>
                    <a:pt x="970" y="425"/>
                  </a:cubicBezTo>
                  <a:cubicBezTo>
                    <a:pt x="972" y="424"/>
                    <a:pt x="971" y="421"/>
                    <a:pt x="973" y="419"/>
                  </a:cubicBezTo>
                  <a:cubicBezTo>
                    <a:pt x="976" y="417"/>
                    <a:pt x="975" y="416"/>
                    <a:pt x="975" y="414"/>
                  </a:cubicBezTo>
                  <a:cubicBezTo>
                    <a:pt x="974" y="413"/>
                    <a:pt x="975" y="409"/>
                    <a:pt x="974" y="408"/>
                  </a:cubicBezTo>
                  <a:cubicBezTo>
                    <a:pt x="974" y="407"/>
                    <a:pt x="974" y="406"/>
                    <a:pt x="975" y="406"/>
                  </a:cubicBezTo>
                  <a:cubicBezTo>
                    <a:pt x="977" y="405"/>
                    <a:pt x="974" y="403"/>
                    <a:pt x="972" y="402"/>
                  </a:cubicBezTo>
                  <a:cubicBezTo>
                    <a:pt x="970" y="401"/>
                    <a:pt x="968" y="400"/>
                    <a:pt x="967" y="398"/>
                  </a:cubicBezTo>
                  <a:cubicBezTo>
                    <a:pt x="967" y="395"/>
                    <a:pt x="964" y="393"/>
                    <a:pt x="961" y="393"/>
                  </a:cubicBezTo>
                  <a:cubicBezTo>
                    <a:pt x="958" y="393"/>
                    <a:pt x="954" y="391"/>
                    <a:pt x="954" y="393"/>
                  </a:cubicBezTo>
                  <a:cubicBezTo>
                    <a:pt x="955" y="395"/>
                    <a:pt x="954" y="396"/>
                    <a:pt x="953" y="396"/>
                  </a:cubicBezTo>
                  <a:cubicBezTo>
                    <a:pt x="951" y="396"/>
                    <a:pt x="951" y="397"/>
                    <a:pt x="949" y="399"/>
                  </a:cubicBezTo>
                  <a:cubicBezTo>
                    <a:pt x="948" y="401"/>
                    <a:pt x="942" y="402"/>
                    <a:pt x="945" y="399"/>
                  </a:cubicBezTo>
                  <a:cubicBezTo>
                    <a:pt x="947" y="397"/>
                    <a:pt x="944" y="397"/>
                    <a:pt x="944" y="395"/>
                  </a:cubicBezTo>
                  <a:cubicBezTo>
                    <a:pt x="945" y="392"/>
                    <a:pt x="947" y="390"/>
                    <a:pt x="944" y="391"/>
                  </a:cubicBezTo>
                  <a:cubicBezTo>
                    <a:pt x="941" y="393"/>
                    <a:pt x="941" y="397"/>
                    <a:pt x="939" y="397"/>
                  </a:cubicBezTo>
                  <a:cubicBezTo>
                    <a:pt x="937" y="398"/>
                    <a:pt x="937" y="391"/>
                    <a:pt x="938" y="389"/>
                  </a:cubicBezTo>
                  <a:cubicBezTo>
                    <a:pt x="939" y="387"/>
                    <a:pt x="934" y="389"/>
                    <a:pt x="929" y="389"/>
                  </a:cubicBezTo>
                  <a:cubicBezTo>
                    <a:pt x="924" y="388"/>
                    <a:pt x="925" y="385"/>
                    <a:pt x="929" y="383"/>
                  </a:cubicBezTo>
                  <a:cubicBezTo>
                    <a:pt x="933" y="381"/>
                    <a:pt x="933" y="379"/>
                    <a:pt x="935" y="378"/>
                  </a:cubicBezTo>
                  <a:cubicBezTo>
                    <a:pt x="937" y="377"/>
                    <a:pt x="942" y="373"/>
                    <a:pt x="945" y="372"/>
                  </a:cubicBezTo>
                  <a:cubicBezTo>
                    <a:pt x="948" y="370"/>
                    <a:pt x="949" y="368"/>
                    <a:pt x="949" y="366"/>
                  </a:cubicBezTo>
                  <a:cubicBezTo>
                    <a:pt x="950" y="364"/>
                    <a:pt x="956" y="361"/>
                    <a:pt x="961" y="357"/>
                  </a:cubicBezTo>
                  <a:cubicBezTo>
                    <a:pt x="966" y="353"/>
                    <a:pt x="968" y="351"/>
                    <a:pt x="970" y="348"/>
                  </a:cubicBezTo>
                  <a:cubicBezTo>
                    <a:pt x="971" y="346"/>
                    <a:pt x="978" y="342"/>
                    <a:pt x="979" y="341"/>
                  </a:cubicBezTo>
                  <a:cubicBezTo>
                    <a:pt x="979" y="339"/>
                    <a:pt x="988" y="334"/>
                    <a:pt x="994" y="333"/>
                  </a:cubicBezTo>
                  <a:cubicBezTo>
                    <a:pt x="1000" y="332"/>
                    <a:pt x="1009" y="333"/>
                    <a:pt x="1011" y="335"/>
                  </a:cubicBezTo>
                  <a:cubicBezTo>
                    <a:pt x="1013" y="337"/>
                    <a:pt x="1014" y="336"/>
                    <a:pt x="1015" y="335"/>
                  </a:cubicBezTo>
                  <a:cubicBezTo>
                    <a:pt x="1016" y="334"/>
                    <a:pt x="1019" y="334"/>
                    <a:pt x="1023" y="335"/>
                  </a:cubicBezTo>
                  <a:cubicBezTo>
                    <a:pt x="1027" y="335"/>
                    <a:pt x="1028" y="333"/>
                    <a:pt x="1031" y="334"/>
                  </a:cubicBezTo>
                  <a:cubicBezTo>
                    <a:pt x="1033" y="334"/>
                    <a:pt x="1036" y="335"/>
                    <a:pt x="1037" y="332"/>
                  </a:cubicBezTo>
                  <a:cubicBezTo>
                    <a:pt x="1039" y="328"/>
                    <a:pt x="1047" y="329"/>
                    <a:pt x="1049" y="330"/>
                  </a:cubicBezTo>
                  <a:cubicBezTo>
                    <a:pt x="1050" y="332"/>
                    <a:pt x="1052" y="333"/>
                    <a:pt x="1055" y="332"/>
                  </a:cubicBezTo>
                  <a:cubicBezTo>
                    <a:pt x="1057" y="330"/>
                    <a:pt x="1057" y="334"/>
                    <a:pt x="1060" y="334"/>
                  </a:cubicBezTo>
                  <a:cubicBezTo>
                    <a:pt x="1063" y="335"/>
                    <a:pt x="1061" y="337"/>
                    <a:pt x="1059" y="337"/>
                  </a:cubicBezTo>
                  <a:cubicBezTo>
                    <a:pt x="1056" y="337"/>
                    <a:pt x="1053" y="338"/>
                    <a:pt x="1056" y="340"/>
                  </a:cubicBezTo>
                  <a:cubicBezTo>
                    <a:pt x="1059" y="341"/>
                    <a:pt x="1062" y="338"/>
                    <a:pt x="1064" y="338"/>
                  </a:cubicBezTo>
                  <a:cubicBezTo>
                    <a:pt x="1066" y="339"/>
                    <a:pt x="1070" y="339"/>
                    <a:pt x="1073" y="337"/>
                  </a:cubicBezTo>
                  <a:cubicBezTo>
                    <a:pt x="1076" y="335"/>
                    <a:pt x="1076" y="339"/>
                    <a:pt x="1078" y="337"/>
                  </a:cubicBezTo>
                  <a:cubicBezTo>
                    <a:pt x="1080" y="335"/>
                    <a:pt x="1085" y="335"/>
                    <a:pt x="1087" y="335"/>
                  </a:cubicBezTo>
                  <a:cubicBezTo>
                    <a:pt x="1089" y="335"/>
                    <a:pt x="1087" y="332"/>
                    <a:pt x="1083" y="332"/>
                  </a:cubicBezTo>
                  <a:cubicBezTo>
                    <a:pt x="1080" y="332"/>
                    <a:pt x="1080" y="330"/>
                    <a:pt x="1083" y="326"/>
                  </a:cubicBezTo>
                  <a:cubicBezTo>
                    <a:pt x="1086" y="321"/>
                    <a:pt x="1091" y="318"/>
                    <a:pt x="1095" y="315"/>
                  </a:cubicBezTo>
                  <a:cubicBezTo>
                    <a:pt x="1098" y="312"/>
                    <a:pt x="1101" y="314"/>
                    <a:pt x="1101" y="312"/>
                  </a:cubicBezTo>
                  <a:cubicBezTo>
                    <a:pt x="1101" y="310"/>
                    <a:pt x="1102" y="304"/>
                    <a:pt x="1105" y="304"/>
                  </a:cubicBezTo>
                  <a:cubicBezTo>
                    <a:pt x="1107" y="304"/>
                    <a:pt x="1114" y="305"/>
                    <a:pt x="1118" y="303"/>
                  </a:cubicBezTo>
                  <a:cubicBezTo>
                    <a:pt x="1122" y="301"/>
                    <a:pt x="1122" y="305"/>
                    <a:pt x="1123" y="305"/>
                  </a:cubicBezTo>
                  <a:cubicBezTo>
                    <a:pt x="1125" y="306"/>
                    <a:pt x="1127" y="302"/>
                    <a:pt x="1129" y="303"/>
                  </a:cubicBezTo>
                  <a:cubicBezTo>
                    <a:pt x="1131" y="304"/>
                    <a:pt x="1126" y="307"/>
                    <a:pt x="1125" y="311"/>
                  </a:cubicBezTo>
                  <a:cubicBezTo>
                    <a:pt x="1124" y="314"/>
                    <a:pt x="1128" y="313"/>
                    <a:pt x="1130" y="314"/>
                  </a:cubicBezTo>
                  <a:cubicBezTo>
                    <a:pt x="1132" y="315"/>
                    <a:pt x="1127" y="316"/>
                    <a:pt x="1128" y="317"/>
                  </a:cubicBezTo>
                  <a:cubicBezTo>
                    <a:pt x="1128" y="318"/>
                    <a:pt x="1132" y="318"/>
                    <a:pt x="1137" y="313"/>
                  </a:cubicBezTo>
                  <a:cubicBezTo>
                    <a:pt x="1143" y="308"/>
                    <a:pt x="1147" y="306"/>
                    <a:pt x="1151" y="306"/>
                  </a:cubicBezTo>
                  <a:cubicBezTo>
                    <a:pt x="1154" y="307"/>
                    <a:pt x="1152" y="303"/>
                    <a:pt x="1152" y="299"/>
                  </a:cubicBezTo>
                  <a:cubicBezTo>
                    <a:pt x="1153" y="294"/>
                    <a:pt x="1163" y="292"/>
                    <a:pt x="1166" y="294"/>
                  </a:cubicBezTo>
                  <a:cubicBezTo>
                    <a:pt x="1170" y="295"/>
                    <a:pt x="1169" y="296"/>
                    <a:pt x="1166" y="296"/>
                  </a:cubicBezTo>
                  <a:cubicBezTo>
                    <a:pt x="1163" y="295"/>
                    <a:pt x="1160" y="298"/>
                    <a:pt x="1160" y="302"/>
                  </a:cubicBezTo>
                  <a:cubicBezTo>
                    <a:pt x="1160" y="306"/>
                    <a:pt x="1157" y="307"/>
                    <a:pt x="1159" y="309"/>
                  </a:cubicBezTo>
                  <a:cubicBezTo>
                    <a:pt x="1160" y="310"/>
                    <a:pt x="1156" y="311"/>
                    <a:pt x="1156" y="312"/>
                  </a:cubicBezTo>
                  <a:cubicBezTo>
                    <a:pt x="1156" y="314"/>
                    <a:pt x="1156" y="315"/>
                    <a:pt x="1154" y="316"/>
                  </a:cubicBezTo>
                  <a:cubicBezTo>
                    <a:pt x="1152" y="317"/>
                    <a:pt x="1144" y="317"/>
                    <a:pt x="1143" y="320"/>
                  </a:cubicBezTo>
                  <a:cubicBezTo>
                    <a:pt x="1143" y="324"/>
                    <a:pt x="1139" y="324"/>
                    <a:pt x="1137" y="328"/>
                  </a:cubicBezTo>
                  <a:cubicBezTo>
                    <a:pt x="1135" y="332"/>
                    <a:pt x="1127" y="334"/>
                    <a:pt x="1122" y="341"/>
                  </a:cubicBezTo>
                  <a:cubicBezTo>
                    <a:pt x="1117" y="349"/>
                    <a:pt x="1109" y="349"/>
                    <a:pt x="1109" y="350"/>
                  </a:cubicBezTo>
                  <a:cubicBezTo>
                    <a:pt x="1109" y="352"/>
                    <a:pt x="1103" y="352"/>
                    <a:pt x="1101" y="352"/>
                  </a:cubicBezTo>
                  <a:cubicBezTo>
                    <a:pt x="1099" y="352"/>
                    <a:pt x="1103" y="357"/>
                    <a:pt x="1099" y="362"/>
                  </a:cubicBezTo>
                  <a:cubicBezTo>
                    <a:pt x="1094" y="367"/>
                    <a:pt x="1091" y="373"/>
                    <a:pt x="1091" y="380"/>
                  </a:cubicBezTo>
                  <a:cubicBezTo>
                    <a:pt x="1091" y="387"/>
                    <a:pt x="1094" y="406"/>
                    <a:pt x="1096" y="410"/>
                  </a:cubicBezTo>
                  <a:cubicBezTo>
                    <a:pt x="1098" y="413"/>
                    <a:pt x="1096" y="422"/>
                    <a:pt x="1098" y="424"/>
                  </a:cubicBezTo>
                  <a:cubicBezTo>
                    <a:pt x="1100" y="425"/>
                    <a:pt x="1099" y="428"/>
                    <a:pt x="1100" y="429"/>
                  </a:cubicBezTo>
                  <a:cubicBezTo>
                    <a:pt x="1101" y="430"/>
                    <a:pt x="1106" y="425"/>
                    <a:pt x="1109" y="422"/>
                  </a:cubicBezTo>
                  <a:cubicBezTo>
                    <a:pt x="1112" y="420"/>
                    <a:pt x="1111" y="419"/>
                    <a:pt x="1113" y="418"/>
                  </a:cubicBezTo>
                  <a:cubicBezTo>
                    <a:pt x="1115" y="416"/>
                    <a:pt x="1114" y="411"/>
                    <a:pt x="1114" y="409"/>
                  </a:cubicBezTo>
                  <a:cubicBezTo>
                    <a:pt x="1115" y="408"/>
                    <a:pt x="1119" y="407"/>
                    <a:pt x="1120" y="406"/>
                  </a:cubicBezTo>
                  <a:cubicBezTo>
                    <a:pt x="1121" y="404"/>
                    <a:pt x="1124" y="405"/>
                    <a:pt x="1126" y="404"/>
                  </a:cubicBezTo>
                  <a:cubicBezTo>
                    <a:pt x="1128" y="404"/>
                    <a:pt x="1126" y="400"/>
                    <a:pt x="1125" y="398"/>
                  </a:cubicBezTo>
                  <a:cubicBezTo>
                    <a:pt x="1125" y="395"/>
                    <a:pt x="1130" y="392"/>
                    <a:pt x="1133" y="390"/>
                  </a:cubicBezTo>
                  <a:cubicBezTo>
                    <a:pt x="1136" y="388"/>
                    <a:pt x="1139" y="392"/>
                    <a:pt x="1143" y="389"/>
                  </a:cubicBezTo>
                  <a:cubicBezTo>
                    <a:pt x="1146" y="386"/>
                    <a:pt x="1142" y="382"/>
                    <a:pt x="1141" y="381"/>
                  </a:cubicBezTo>
                  <a:cubicBezTo>
                    <a:pt x="1140" y="379"/>
                    <a:pt x="1144" y="372"/>
                    <a:pt x="1147" y="371"/>
                  </a:cubicBezTo>
                  <a:cubicBezTo>
                    <a:pt x="1149" y="370"/>
                    <a:pt x="1151" y="373"/>
                    <a:pt x="1153" y="371"/>
                  </a:cubicBezTo>
                  <a:cubicBezTo>
                    <a:pt x="1155" y="368"/>
                    <a:pt x="1151" y="365"/>
                    <a:pt x="1149" y="365"/>
                  </a:cubicBezTo>
                  <a:cubicBezTo>
                    <a:pt x="1148" y="365"/>
                    <a:pt x="1147" y="359"/>
                    <a:pt x="1151" y="356"/>
                  </a:cubicBezTo>
                  <a:cubicBezTo>
                    <a:pt x="1155" y="353"/>
                    <a:pt x="1153" y="353"/>
                    <a:pt x="1151" y="352"/>
                  </a:cubicBezTo>
                  <a:cubicBezTo>
                    <a:pt x="1148" y="351"/>
                    <a:pt x="1148" y="352"/>
                    <a:pt x="1146" y="352"/>
                  </a:cubicBezTo>
                  <a:cubicBezTo>
                    <a:pt x="1144" y="352"/>
                    <a:pt x="1141" y="348"/>
                    <a:pt x="1145" y="344"/>
                  </a:cubicBezTo>
                  <a:cubicBezTo>
                    <a:pt x="1148" y="340"/>
                    <a:pt x="1151" y="340"/>
                    <a:pt x="1151" y="337"/>
                  </a:cubicBezTo>
                  <a:cubicBezTo>
                    <a:pt x="1152" y="333"/>
                    <a:pt x="1156" y="328"/>
                    <a:pt x="1157" y="327"/>
                  </a:cubicBezTo>
                  <a:cubicBezTo>
                    <a:pt x="1158" y="325"/>
                    <a:pt x="1163" y="327"/>
                    <a:pt x="1164" y="326"/>
                  </a:cubicBezTo>
                  <a:cubicBezTo>
                    <a:pt x="1166" y="326"/>
                    <a:pt x="1166" y="330"/>
                    <a:pt x="1168" y="328"/>
                  </a:cubicBezTo>
                  <a:cubicBezTo>
                    <a:pt x="1170" y="326"/>
                    <a:pt x="1173" y="320"/>
                    <a:pt x="1176" y="320"/>
                  </a:cubicBezTo>
                  <a:cubicBezTo>
                    <a:pt x="1178" y="320"/>
                    <a:pt x="1177" y="324"/>
                    <a:pt x="1177" y="327"/>
                  </a:cubicBezTo>
                  <a:cubicBezTo>
                    <a:pt x="1178" y="330"/>
                    <a:pt x="1180" y="326"/>
                    <a:pt x="1185" y="323"/>
                  </a:cubicBezTo>
                  <a:cubicBezTo>
                    <a:pt x="1190" y="319"/>
                    <a:pt x="1201" y="320"/>
                    <a:pt x="1205" y="321"/>
                  </a:cubicBezTo>
                  <a:cubicBezTo>
                    <a:pt x="1208" y="323"/>
                    <a:pt x="1209" y="327"/>
                    <a:pt x="1211" y="326"/>
                  </a:cubicBezTo>
                  <a:cubicBezTo>
                    <a:pt x="1214" y="326"/>
                    <a:pt x="1211" y="322"/>
                    <a:pt x="1214" y="322"/>
                  </a:cubicBezTo>
                  <a:cubicBezTo>
                    <a:pt x="1217" y="321"/>
                    <a:pt x="1222" y="318"/>
                    <a:pt x="1226" y="315"/>
                  </a:cubicBezTo>
                  <a:cubicBezTo>
                    <a:pt x="1230" y="312"/>
                    <a:pt x="1229" y="314"/>
                    <a:pt x="1231" y="312"/>
                  </a:cubicBezTo>
                  <a:cubicBezTo>
                    <a:pt x="1233" y="309"/>
                    <a:pt x="1235" y="310"/>
                    <a:pt x="1235" y="309"/>
                  </a:cubicBezTo>
                  <a:cubicBezTo>
                    <a:pt x="1236" y="307"/>
                    <a:pt x="1241" y="304"/>
                    <a:pt x="1249" y="303"/>
                  </a:cubicBezTo>
                  <a:cubicBezTo>
                    <a:pt x="1256" y="301"/>
                    <a:pt x="1266" y="296"/>
                    <a:pt x="1265" y="294"/>
                  </a:cubicBezTo>
                  <a:cubicBezTo>
                    <a:pt x="1265" y="293"/>
                    <a:pt x="1268" y="292"/>
                    <a:pt x="1269" y="294"/>
                  </a:cubicBezTo>
                  <a:cubicBezTo>
                    <a:pt x="1269" y="295"/>
                    <a:pt x="1272" y="295"/>
                    <a:pt x="1276" y="296"/>
                  </a:cubicBezTo>
                  <a:cubicBezTo>
                    <a:pt x="1280" y="296"/>
                    <a:pt x="1282" y="298"/>
                    <a:pt x="1285" y="295"/>
                  </a:cubicBezTo>
                  <a:cubicBezTo>
                    <a:pt x="1288" y="292"/>
                    <a:pt x="1284" y="291"/>
                    <a:pt x="1284" y="288"/>
                  </a:cubicBezTo>
                  <a:cubicBezTo>
                    <a:pt x="1285" y="286"/>
                    <a:pt x="1279" y="283"/>
                    <a:pt x="1280" y="281"/>
                  </a:cubicBezTo>
                  <a:cubicBezTo>
                    <a:pt x="1280" y="278"/>
                    <a:pt x="1276" y="272"/>
                    <a:pt x="1274" y="273"/>
                  </a:cubicBezTo>
                  <a:cubicBezTo>
                    <a:pt x="1273" y="274"/>
                    <a:pt x="1270" y="272"/>
                    <a:pt x="1270" y="270"/>
                  </a:cubicBezTo>
                  <a:cubicBezTo>
                    <a:pt x="1270" y="268"/>
                    <a:pt x="1269" y="266"/>
                    <a:pt x="1267" y="267"/>
                  </a:cubicBezTo>
                  <a:cubicBezTo>
                    <a:pt x="1265" y="269"/>
                    <a:pt x="1261" y="268"/>
                    <a:pt x="1260" y="266"/>
                  </a:cubicBezTo>
                  <a:cubicBezTo>
                    <a:pt x="1260" y="264"/>
                    <a:pt x="1265" y="262"/>
                    <a:pt x="1268" y="264"/>
                  </a:cubicBezTo>
                  <a:cubicBezTo>
                    <a:pt x="1272" y="265"/>
                    <a:pt x="1271" y="267"/>
                    <a:pt x="1273" y="268"/>
                  </a:cubicBezTo>
                  <a:cubicBezTo>
                    <a:pt x="1274" y="269"/>
                    <a:pt x="1279" y="268"/>
                    <a:pt x="1282" y="267"/>
                  </a:cubicBezTo>
                  <a:cubicBezTo>
                    <a:pt x="1284" y="266"/>
                    <a:pt x="1291" y="264"/>
                    <a:pt x="1292" y="262"/>
                  </a:cubicBezTo>
                  <a:cubicBezTo>
                    <a:pt x="1294" y="259"/>
                    <a:pt x="1292" y="259"/>
                    <a:pt x="1295" y="257"/>
                  </a:cubicBezTo>
                  <a:cubicBezTo>
                    <a:pt x="1297" y="256"/>
                    <a:pt x="1295" y="254"/>
                    <a:pt x="1293" y="253"/>
                  </a:cubicBezTo>
                  <a:cubicBezTo>
                    <a:pt x="1291" y="252"/>
                    <a:pt x="1292" y="249"/>
                    <a:pt x="1294" y="249"/>
                  </a:cubicBezTo>
                  <a:cubicBezTo>
                    <a:pt x="1296" y="249"/>
                    <a:pt x="1295" y="246"/>
                    <a:pt x="1297" y="246"/>
                  </a:cubicBezTo>
                  <a:cubicBezTo>
                    <a:pt x="1298" y="246"/>
                    <a:pt x="1298" y="247"/>
                    <a:pt x="1301" y="246"/>
                  </a:cubicBezTo>
                  <a:cubicBezTo>
                    <a:pt x="1304" y="245"/>
                    <a:pt x="1301" y="248"/>
                    <a:pt x="1300" y="250"/>
                  </a:cubicBezTo>
                  <a:cubicBezTo>
                    <a:pt x="1299" y="252"/>
                    <a:pt x="1302" y="254"/>
                    <a:pt x="1303" y="256"/>
                  </a:cubicBezTo>
                  <a:cubicBezTo>
                    <a:pt x="1303" y="257"/>
                    <a:pt x="1308" y="257"/>
                    <a:pt x="1311" y="256"/>
                  </a:cubicBezTo>
                  <a:cubicBezTo>
                    <a:pt x="1314" y="254"/>
                    <a:pt x="1323" y="258"/>
                    <a:pt x="1324" y="260"/>
                  </a:cubicBezTo>
                  <a:cubicBezTo>
                    <a:pt x="1324" y="262"/>
                    <a:pt x="1326" y="265"/>
                    <a:pt x="1329" y="267"/>
                  </a:cubicBezTo>
                  <a:cubicBezTo>
                    <a:pt x="1333" y="269"/>
                    <a:pt x="1337" y="268"/>
                    <a:pt x="1337" y="270"/>
                  </a:cubicBezTo>
                  <a:cubicBezTo>
                    <a:pt x="1338" y="272"/>
                    <a:pt x="1340" y="272"/>
                    <a:pt x="1342" y="272"/>
                  </a:cubicBezTo>
                  <a:cubicBezTo>
                    <a:pt x="1344" y="272"/>
                    <a:pt x="1345" y="274"/>
                    <a:pt x="1347" y="272"/>
                  </a:cubicBezTo>
                  <a:cubicBezTo>
                    <a:pt x="1348" y="271"/>
                    <a:pt x="1349" y="273"/>
                    <a:pt x="1351" y="272"/>
                  </a:cubicBezTo>
                  <a:cubicBezTo>
                    <a:pt x="1353" y="270"/>
                    <a:pt x="1347" y="269"/>
                    <a:pt x="1347" y="267"/>
                  </a:cubicBezTo>
                  <a:cubicBezTo>
                    <a:pt x="1348" y="266"/>
                    <a:pt x="1350" y="268"/>
                    <a:pt x="1351" y="268"/>
                  </a:cubicBezTo>
                  <a:cubicBezTo>
                    <a:pt x="1353" y="268"/>
                    <a:pt x="1351" y="264"/>
                    <a:pt x="1352" y="264"/>
                  </a:cubicBezTo>
                  <a:cubicBezTo>
                    <a:pt x="1353" y="264"/>
                    <a:pt x="1352" y="257"/>
                    <a:pt x="1351" y="256"/>
                  </a:cubicBezTo>
                  <a:cubicBezTo>
                    <a:pt x="1350" y="256"/>
                    <a:pt x="1351" y="253"/>
                    <a:pt x="1353" y="255"/>
                  </a:cubicBezTo>
                  <a:cubicBezTo>
                    <a:pt x="1356" y="257"/>
                    <a:pt x="1360" y="257"/>
                    <a:pt x="1363" y="257"/>
                  </a:cubicBezTo>
                  <a:cubicBezTo>
                    <a:pt x="1365" y="257"/>
                    <a:pt x="1363" y="255"/>
                    <a:pt x="1361" y="255"/>
                  </a:cubicBezTo>
                  <a:cubicBezTo>
                    <a:pt x="1359" y="255"/>
                    <a:pt x="1361" y="253"/>
                    <a:pt x="1362" y="254"/>
                  </a:cubicBezTo>
                  <a:cubicBezTo>
                    <a:pt x="1364" y="255"/>
                    <a:pt x="1367" y="256"/>
                    <a:pt x="1367" y="255"/>
                  </a:cubicBezTo>
                  <a:cubicBezTo>
                    <a:pt x="1367" y="253"/>
                    <a:pt x="1368" y="250"/>
                    <a:pt x="1371" y="250"/>
                  </a:cubicBezTo>
                  <a:cubicBezTo>
                    <a:pt x="1373" y="250"/>
                    <a:pt x="1374" y="249"/>
                    <a:pt x="1372" y="248"/>
                  </a:cubicBezTo>
                  <a:close/>
                  <a:moveTo>
                    <a:pt x="709" y="404"/>
                  </a:moveTo>
                  <a:cubicBezTo>
                    <a:pt x="702" y="410"/>
                    <a:pt x="688" y="412"/>
                    <a:pt x="688" y="417"/>
                  </a:cubicBezTo>
                  <a:cubicBezTo>
                    <a:pt x="688" y="422"/>
                    <a:pt x="672" y="424"/>
                    <a:pt x="671" y="422"/>
                  </a:cubicBezTo>
                  <a:cubicBezTo>
                    <a:pt x="669" y="420"/>
                    <a:pt x="683" y="419"/>
                    <a:pt x="686" y="412"/>
                  </a:cubicBezTo>
                  <a:cubicBezTo>
                    <a:pt x="689" y="405"/>
                    <a:pt x="701" y="401"/>
                    <a:pt x="707" y="392"/>
                  </a:cubicBezTo>
                  <a:cubicBezTo>
                    <a:pt x="712" y="385"/>
                    <a:pt x="715" y="375"/>
                    <a:pt x="718" y="376"/>
                  </a:cubicBezTo>
                  <a:cubicBezTo>
                    <a:pt x="720" y="376"/>
                    <a:pt x="716" y="398"/>
                    <a:pt x="709" y="404"/>
                  </a:cubicBezTo>
                  <a:close/>
                  <a:moveTo>
                    <a:pt x="739" y="125"/>
                  </a:moveTo>
                  <a:cubicBezTo>
                    <a:pt x="738" y="127"/>
                    <a:pt x="733" y="127"/>
                    <a:pt x="734" y="129"/>
                  </a:cubicBezTo>
                  <a:cubicBezTo>
                    <a:pt x="737" y="132"/>
                    <a:pt x="749" y="130"/>
                    <a:pt x="749" y="126"/>
                  </a:cubicBezTo>
                  <a:cubicBezTo>
                    <a:pt x="749" y="122"/>
                    <a:pt x="740" y="123"/>
                    <a:pt x="739" y="125"/>
                  </a:cubicBezTo>
                  <a:close/>
                  <a:moveTo>
                    <a:pt x="306" y="7"/>
                  </a:moveTo>
                  <a:cubicBezTo>
                    <a:pt x="312" y="7"/>
                    <a:pt x="310" y="4"/>
                    <a:pt x="314" y="4"/>
                  </a:cubicBezTo>
                  <a:cubicBezTo>
                    <a:pt x="318" y="5"/>
                    <a:pt x="323" y="4"/>
                    <a:pt x="321" y="2"/>
                  </a:cubicBezTo>
                  <a:cubicBezTo>
                    <a:pt x="319" y="0"/>
                    <a:pt x="305" y="1"/>
                    <a:pt x="306" y="3"/>
                  </a:cubicBezTo>
                  <a:cubicBezTo>
                    <a:pt x="308" y="4"/>
                    <a:pt x="295" y="4"/>
                    <a:pt x="296" y="4"/>
                  </a:cubicBezTo>
                  <a:cubicBezTo>
                    <a:pt x="296" y="6"/>
                    <a:pt x="300" y="7"/>
                    <a:pt x="306" y="7"/>
                  </a:cubicBezTo>
                  <a:close/>
                  <a:moveTo>
                    <a:pt x="277" y="23"/>
                  </a:moveTo>
                  <a:cubicBezTo>
                    <a:pt x="277" y="19"/>
                    <a:pt x="264" y="24"/>
                    <a:pt x="267" y="24"/>
                  </a:cubicBezTo>
                  <a:cubicBezTo>
                    <a:pt x="269" y="25"/>
                    <a:pt x="277" y="27"/>
                    <a:pt x="277" y="23"/>
                  </a:cubicBezTo>
                  <a:close/>
                  <a:moveTo>
                    <a:pt x="307" y="20"/>
                  </a:moveTo>
                  <a:cubicBezTo>
                    <a:pt x="308" y="22"/>
                    <a:pt x="306" y="22"/>
                    <a:pt x="301" y="22"/>
                  </a:cubicBezTo>
                  <a:cubicBezTo>
                    <a:pt x="296" y="22"/>
                    <a:pt x="294" y="25"/>
                    <a:pt x="296" y="27"/>
                  </a:cubicBezTo>
                  <a:cubicBezTo>
                    <a:pt x="299" y="29"/>
                    <a:pt x="312" y="28"/>
                    <a:pt x="314" y="26"/>
                  </a:cubicBezTo>
                  <a:cubicBezTo>
                    <a:pt x="316" y="23"/>
                    <a:pt x="322" y="25"/>
                    <a:pt x="323" y="22"/>
                  </a:cubicBezTo>
                  <a:cubicBezTo>
                    <a:pt x="324" y="19"/>
                    <a:pt x="306" y="18"/>
                    <a:pt x="307" y="20"/>
                  </a:cubicBezTo>
                  <a:close/>
                  <a:moveTo>
                    <a:pt x="348" y="16"/>
                  </a:moveTo>
                  <a:cubicBezTo>
                    <a:pt x="350" y="13"/>
                    <a:pt x="345" y="13"/>
                    <a:pt x="344" y="11"/>
                  </a:cubicBezTo>
                  <a:cubicBezTo>
                    <a:pt x="344" y="9"/>
                    <a:pt x="330" y="9"/>
                    <a:pt x="331" y="11"/>
                  </a:cubicBezTo>
                  <a:cubicBezTo>
                    <a:pt x="332" y="13"/>
                    <a:pt x="322" y="16"/>
                    <a:pt x="325" y="18"/>
                  </a:cubicBezTo>
                  <a:cubicBezTo>
                    <a:pt x="331" y="23"/>
                    <a:pt x="346" y="18"/>
                    <a:pt x="348" y="16"/>
                  </a:cubicBezTo>
                  <a:close/>
                  <a:moveTo>
                    <a:pt x="310" y="12"/>
                  </a:moveTo>
                  <a:cubicBezTo>
                    <a:pt x="311" y="7"/>
                    <a:pt x="302" y="11"/>
                    <a:pt x="296" y="8"/>
                  </a:cubicBezTo>
                  <a:cubicBezTo>
                    <a:pt x="290" y="6"/>
                    <a:pt x="286" y="6"/>
                    <a:pt x="291" y="9"/>
                  </a:cubicBezTo>
                  <a:cubicBezTo>
                    <a:pt x="292" y="11"/>
                    <a:pt x="280" y="12"/>
                    <a:pt x="282" y="14"/>
                  </a:cubicBezTo>
                  <a:cubicBezTo>
                    <a:pt x="286" y="19"/>
                    <a:pt x="309" y="17"/>
                    <a:pt x="310" y="12"/>
                  </a:cubicBezTo>
                  <a:close/>
                  <a:moveTo>
                    <a:pt x="275" y="144"/>
                  </a:moveTo>
                  <a:cubicBezTo>
                    <a:pt x="275" y="146"/>
                    <a:pt x="273" y="148"/>
                    <a:pt x="269" y="148"/>
                  </a:cubicBezTo>
                  <a:cubicBezTo>
                    <a:pt x="264" y="148"/>
                    <a:pt x="271" y="151"/>
                    <a:pt x="272" y="153"/>
                  </a:cubicBezTo>
                  <a:cubicBezTo>
                    <a:pt x="272" y="156"/>
                    <a:pt x="267" y="154"/>
                    <a:pt x="267" y="158"/>
                  </a:cubicBezTo>
                  <a:cubicBezTo>
                    <a:pt x="267" y="162"/>
                    <a:pt x="258" y="158"/>
                    <a:pt x="257" y="163"/>
                  </a:cubicBezTo>
                  <a:cubicBezTo>
                    <a:pt x="256" y="169"/>
                    <a:pt x="261" y="168"/>
                    <a:pt x="265" y="168"/>
                  </a:cubicBezTo>
                  <a:cubicBezTo>
                    <a:pt x="269" y="168"/>
                    <a:pt x="263" y="172"/>
                    <a:pt x="266" y="174"/>
                  </a:cubicBezTo>
                  <a:cubicBezTo>
                    <a:pt x="269" y="176"/>
                    <a:pt x="271" y="175"/>
                    <a:pt x="269" y="171"/>
                  </a:cubicBezTo>
                  <a:cubicBezTo>
                    <a:pt x="267" y="167"/>
                    <a:pt x="279" y="173"/>
                    <a:pt x="276" y="176"/>
                  </a:cubicBezTo>
                  <a:cubicBezTo>
                    <a:pt x="272" y="179"/>
                    <a:pt x="281" y="181"/>
                    <a:pt x="286" y="182"/>
                  </a:cubicBezTo>
                  <a:cubicBezTo>
                    <a:pt x="291" y="182"/>
                    <a:pt x="307" y="185"/>
                    <a:pt x="307" y="182"/>
                  </a:cubicBezTo>
                  <a:cubicBezTo>
                    <a:pt x="307" y="179"/>
                    <a:pt x="301" y="177"/>
                    <a:pt x="296" y="172"/>
                  </a:cubicBezTo>
                  <a:cubicBezTo>
                    <a:pt x="291" y="167"/>
                    <a:pt x="287" y="158"/>
                    <a:pt x="293" y="155"/>
                  </a:cubicBezTo>
                  <a:cubicBezTo>
                    <a:pt x="299" y="151"/>
                    <a:pt x="294" y="149"/>
                    <a:pt x="300" y="145"/>
                  </a:cubicBezTo>
                  <a:cubicBezTo>
                    <a:pt x="305" y="141"/>
                    <a:pt x="302" y="137"/>
                    <a:pt x="307" y="137"/>
                  </a:cubicBezTo>
                  <a:cubicBezTo>
                    <a:pt x="311" y="136"/>
                    <a:pt x="306" y="132"/>
                    <a:pt x="311" y="131"/>
                  </a:cubicBezTo>
                  <a:cubicBezTo>
                    <a:pt x="316" y="131"/>
                    <a:pt x="317" y="125"/>
                    <a:pt x="316" y="124"/>
                  </a:cubicBezTo>
                  <a:cubicBezTo>
                    <a:pt x="315" y="122"/>
                    <a:pt x="321" y="124"/>
                    <a:pt x="324" y="121"/>
                  </a:cubicBezTo>
                  <a:cubicBezTo>
                    <a:pt x="326" y="118"/>
                    <a:pt x="332" y="120"/>
                    <a:pt x="334" y="116"/>
                  </a:cubicBezTo>
                  <a:cubicBezTo>
                    <a:pt x="336" y="112"/>
                    <a:pt x="364" y="103"/>
                    <a:pt x="379" y="99"/>
                  </a:cubicBezTo>
                  <a:cubicBezTo>
                    <a:pt x="394" y="96"/>
                    <a:pt x="405" y="89"/>
                    <a:pt x="400" y="85"/>
                  </a:cubicBezTo>
                  <a:cubicBezTo>
                    <a:pt x="394" y="81"/>
                    <a:pt x="379" y="86"/>
                    <a:pt x="375" y="90"/>
                  </a:cubicBezTo>
                  <a:cubicBezTo>
                    <a:pt x="371" y="93"/>
                    <a:pt x="366" y="91"/>
                    <a:pt x="362" y="93"/>
                  </a:cubicBezTo>
                  <a:cubicBezTo>
                    <a:pt x="358" y="95"/>
                    <a:pt x="350" y="97"/>
                    <a:pt x="346" y="94"/>
                  </a:cubicBezTo>
                  <a:cubicBezTo>
                    <a:pt x="342" y="91"/>
                    <a:pt x="337" y="97"/>
                    <a:pt x="334" y="97"/>
                  </a:cubicBezTo>
                  <a:cubicBezTo>
                    <a:pt x="331" y="97"/>
                    <a:pt x="327" y="100"/>
                    <a:pt x="324" y="100"/>
                  </a:cubicBezTo>
                  <a:cubicBezTo>
                    <a:pt x="321" y="100"/>
                    <a:pt x="314" y="102"/>
                    <a:pt x="314" y="104"/>
                  </a:cubicBezTo>
                  <a:cubicBezTo>
                    <a:pt x="313" y="106"/>
                    <a:pt x="307" y="106"/>
                    <a:pt x="307" y="108"/>
                  </a:cubicBezTo>
                  <a:cubicBezTo>
                    <a:pt x="307" y="111"/>
                    <a:pt x="303" y="113"/>
                    <a:pt x="301" y="111"/>
                  </a:cubicBezTo>
                  <a:cubicBezTo>
                    <a:pt x="298" y="108"/>
                    <a:pt x="295" y="113"/>
                    <a:pt x="299" y="116"/>
                  </a:cubicBezTo>
                  <a:cubicBezTo>
                    <a:pt x="302" y="119"/>
                    <a:pt x="292" y="119"/>
                    <a:pt x="294" y="121"/>
                  </a:cubicBezTo>
                  <a:cubicBezTo>
                    <a:pt x="296" y="123"/>
                    <a:pt x="291" y="124"/>
                    <a:pt x="292" y="126"/>
                  </a:cubicBezTo>
                  <a:cubicBezTo>
                    <a:pt x="293" y="129"/>
                    <a:pt x="288" y="129"/>
                    <a:pt x="285" y="130"/>
                  </a:cubicBezTo>
                  <a:cubicBezTo>
                    <a:pt x="281" y="131"/>
                    <a:pt x="279" y="135"/>
                    <a:pt x="284" y="136"/>
                  </a:cubicBezTo>
                  <a:cubicBezTo>
                    <a:pt x="288" y="136"/>
                    <a:pt x="281" y="137"/>
                    <a:pt x="282" y="140"/>
                  </a:cubicBezTo>
                  <a:cubicBezTo>
                    <a:pt x="282" y="144"/>
                    <a:pt x="274" y="141"/>
                    <a:pt x="275" y="14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7" name="Freeform 345">
              <a:extLst>
                <a:ext uri="{FF2B5EF4-FFF2-40B4-BE49-F238E27FC236}">
                  <a16:creationId xmlns:a16="http://schemas.microsoft.com/office/drawing/2014/main" id="{AEF22093-5875-A5D5-76E3-F3E59BEC7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2039" y="4118266"/>
              <a:ext cx="555553" cy="577776"/>
            </a:xfrm>
            <a:custGeom>
              <a:avLst/>
              <a:gdLst>
                <a:gd name="T0" fmla="*/ 132 w 148"/>
                <a:gd name="T1" fmla="*/ 72 h 154"/>
                <a:gd name="T2" fmla="*/ 132 w 148"/>
                <a:gd name="T3" fmla="*/ 67 h 154"/>
                <a:gd name="T4" fmla="*/ 130 w 148"/>
                <a:gd name="T5" fmla="*/ 64 h 154"/>
                <a:gd name="T6" fmla="*/ 133 w 148"/>
                <a:gd name="T7" fmla="*/ 57 h 154"/>
                <a:gd name="T8" fmla="*/ 135 w 148"/>
                <a:gd name="T9" fmla="*/ 50 h 154"/>
                <a:gd name="T10" fmla="*/ 139 w 148"/>
                <a:gd name="T11" fmla="*/ 37 h 154"/>
                <a:gd name="T12" fmla="*/ 145 w 148"/>
                <a:gd name="T13" fmla="*/ 31 h 154"/>
                <a:gd name="T14" fmla="*/ 145 w 148"/>
                <a:gd name="T15" fmla="*/ 23 h 154"/>
                <a:gd name="T16" fmla="*/ 146 w 148"/>
                <a:gd name="T17" fmla="*/ 16 h 154"/>
                <a:gd name="T18" fmla="*/ 132 w 148"/>
                <a:gd name="T19" fmla="*/ 9 h 154"/>
                <a:gd name="T20" fmla="*/ 123 w 148"/>
                <a:gd name="T21" fmla="*/ 8 h 154"/>
                <a:gd name="T22" fmla="*/ 117 w 148"/>
                <a:gd name="T23" fmla="*/ 2 h 154"/>
                <a:gd name="T24" fmla="*/ 112 w 148"/>
                <a:gd name="T25" fmla="*/ 4 h 154"/>
                <a:gd name="T26" fmla="*/ 96 w 148"/>
                <a:gd name="T27" fmla="*/ 4 h 154"/>
                <a:gd name="T28" fmla="*/ 81 w 148"/>
                <a:gd name="T29" fmla="*/ 6 h 154"/>
                <a:gd name="T30" fmla="*/ 64 w 148"/>
                <a:gd name="T31" fmla="*/ 8 h 154"/>
                <a:gd name="T32" fmla="*/ 49 w 148"/>
                <a:gd name="T33" fmla="*/ 10 h 154"/>
                <a:gd name="T34" fmla="*/ 47 w 148"/>
                <a:gd name="T35" fmla="*/ 24 h 154"/>
                <a:gd name="T36" fmla="*/ 39 w 148"/>
                <a:gd name="T37" fmla="*/ 50 h 154"/>
                <a:gd name="T38" fmla="*/ 31 w 148"/>
                <a:gd name="T39" fmla="*/ 72 h 154"/>
                <a:gd name="T40" fmla="*/ 23 w 148"/>
                <a:gd name="T41" fmla="*/ 82 h 154"/>
                <a:gd name="T42" fmla="*/ 13 w 148"/>
                <a:gd name="T43" fmla="*/ 82 h 154"/>
                <a:gd name="T44" fmla="*/ 0 w 148"/>
                <a:gd name="T45" fmla="*/ 86 h 154"/>
                <a:gd name="T46" fmla="*/ 3 w 148"/>
                <a:gd name="T47" fmla="*/ 96 h 154"/>
                <a:gd name="T48" fmla="*/ 34 w 148"/>
                <a:gd name="T49" fmla="*/ 93 h 154"/>
                <a:gd name="T50" fmla="*/ 38 w 148"/>
                <a:gd name="T51" fmla="*/ 106 h 154"/>
                <a:gd name="T52" fmla="*/ 55 w 148"/>
                <a:gd name="T53" fmla="*/ 109 h 154"/>
                <a:gd name="T54" fmla="*/ 64 w 148"/>
                <a:gd name="T55" fmla="*/ 102 h 154"/>
                <a:gd name="T56" fmla="*/ 73 w 148"/>
                <a:gd name="T57" fmla="*/ 105 h 154"/>
                <a:gd name="T58" fmla="*/ 74 w 148"/>
                <a:gd name="T59" fmla="*/ 123 h 154"/>
                <a:gd name="T60" fmla="*/ 78 w 148"/>
                <a:gd name="T61" fmla="*/ 136 h 154"/>
                <a:gd name="T62" fmla="*/ 89 w 148"/>
                <a:gd name="T63" fmla="*/ 133 h 154"/>
                <a:gd name="T64" fmla="*/ 93 w 148"/>
                <a:gd name="T65" fmla="*/ 135 h 154"/>
                <a:gd name="T66" fmla="*/ 101 w 148"/>
                <a:gd name="T67" fmla="*/ 137 h 154"/>
                <a:gd name="T68" fmla="*/ 110 w 148"/>
                <a:gd name="T69" fmla="*/ 143 h 154"/>
                <a:gd name="T70" fmla="*/ 116 w 148"/>
                <a:gd name="T71" fmla="*/ 140 h 154"/>
                <a:gd name="T72" fmla="*/ 127 w 148"/>
                <a:gd name="T73" fmla="*/ 146 h 154"/>
                <a:gd name="T74" fmla="*/ 135 w 148"/>
                <a:gd name="T75" fmla="*/ 153 h 154"/>
                <a:gd name="T76" fmla="*/ 136 w 148"/>
                <a:gd name="T77" fmla="*/ 144 h 154"/>
                <a:gd name="T78" fmla="*/ 125 w 148"/>
                <a:gd name="T79" fmla="*/ 139 h 154"/>
                <a:gd name="T80" fmla="*/ 127 w 148"/>
                <a:gd name="T81" fmla="*/ 123 h 154"/>
                <a:gd name="T82" fmla="*/ 130 w 148"/>
                <a:gd name="T83" fmla="*/ 113 h 154"/>
                <a:gd name="T84" fmla="*/ 140 w 148"/>
                <a:gd name="T85" fmla="*/ 111 h 154"/>
                <a:gd name="T86" fmla="*/ 135 w 148"/>
                <a:gd name="T87" fmla="*/ 10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8" h="154">
                  <a:moveTo>
                    <a:pt x="135" y="102"/>
                  </a:moveTo>
                  <a:cubicBezTo>
                    <a:pt x="131" y="100"/>
                    <a:pt x="130" y="73"/>
                    <a:pt x="132" y="72"/>
                  </a:cubicBezTo>
                  <a:cubicBezTo>
                    <a:pt x="132" y="72"/>
                    <a:pt x="132" y="72"/>
                    <a:pt x="132" y="73"/>
                  </a:cubicBezTo>
                  <a:cubicBezTo>
                    <a:pt x="132" y="67"/>
                    <a:pt x="132" y="67"/>
                    <a:pt x="132" y="67"/>
                  </a:cubicBezTo>
                  <a:cubicBezTo>
                    <a:pt x="132" y="67"/>
                    <a:pt x="132" y="67"/>
                    <a:pt x="131" y="66"/>
                  </a:cubicBezTo>
                  <a:cubicBezTo>
                    <a:pt x="131" y="66"/>
                    <a:pt x="130" y="66"/>
                    <a:pt x="130" y="64"/>
                  </a:cubicBezTo>
                  <a:cubicBezTo>
                    <a:pt x="130" y="62"/>
                    <a:pt x="132" y="62"/>
                    <a:pt x="132" y="62"/>
                  </a:cubicBezTo>
                  <a:cubicBezTo>
                    <a:pt x="132" y="62"/>
                    <a:pt x="131" y="57"/>
                    <a:pt x="133" y="57"/>
                  </a:cubicBezTo>
                  <a:cubicBezTo>
                    <a:pt x="134" y="57"/>
                    <a:pt x="134" y="56"/>
                    <a:pt x="134" y="56"/>
                  </a:cubicBezTo>
                  <a:cubicBezTo>
                    <a:pt x="135" y="55"/>
                    <a:pt x="135" y="52"/>
                    <a:pt x="135" y="50"/>
                  </a:cubicBezTo>
                  <a:cubicBezTo>
                    <a:pt x="135" y="48"/>
                    <a:pt x="136" y="45"/>
                    <a:pt x="137" y="43"/>
                  </a:cubicBezTo>
                  <a:cubicBezTo>
                    <a:pt x="138" y="41"/>
                    <a:pt x="137" y="38"/>
                    <a:pt x="139" y="37"/>
                  </a:cubicBezTo>
                  <a:cubicBezTo>
                    <a:pt x="140" y="36"/>
                    <a:pt x="140" y="33"/>
                    <a:pt x="142" y="33"/>
                  </a:cubicBezTo>
                  <a:cubicBezTo>
                    <a:pt x="144" y="32"/>
                    <a:pt x="145" y="32"/>
                    <a:pt x="145" y="31"/>
                  </a:cubicBezTo>
                  <a:cubicBezTo>
                    <a:pt x="145" y="30"/>
                    <a:pt x="148" y="28"/>
                    <a:pt x="148" y="27"/>
                  </a:cubicBezTo>
                  <a:cubicBezTo>
                    <a:pt x="148" y="25"/>
                    <a:pt x="145" y="25"/>
                    <a:pt x="145" y="23"/>
                  </a:cubicBezTo>
                  <a:cubicBezTo>
                    <a:pt x="145" y="21"/>
                    <a:pt x="146" y="16"/>
                    <a:pt x="146" y="16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2" y="12"/>
                    <a:pt x="137" y="8"/>
                    <a:pt x="136" y="8"/>
                  </a:cubicBezTo>
                  <a:cubicBezTo>
                    <a:pt x="135" y="7"/>
                    <a:pt x="132" y="9"/>
                    <a:pt x="132" y="9"/>
                  </a:cubicBezTo>
                  <a:cubicBezTo>
                    <a:pt x="132" y="9"/>
                    <a:pt x="130" y="6"/>
                    <a:pt x="128" y="8"/>
                  </a:cubicBezTo>
                  <a:cubicBezTo>
                    <a:pt x="126" y="10"/>
                    <a:pt x="123" y="8"/>
                    <a:pt x="123" y="8"/>
                  </a:cubicBezTo>
                  <a:cubicBezTo>
                    <a:pt x="123" y="8"/>
                    <a:pt x="121" y="7"/>
                    <a:pt x="120" y="4"/>
                  </a:cubicBezTo>
                  <a:cubicBezTo>
                    <a:pt x="119" y="3"/>
                    <a:pt x="118" y="3"/>
                    <a:pt x="117" y="2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04" y="0"/>
                    <a:pt x="103" y="3"/>
                  </a:cubicBezTo>
                  <a:cubicBezTo>
                    <a:pt x="101" y="5"/>
                    <a:pt x="100" y="4"/>
                    <a:pt x="96" y="4"/>
                  </a:cubicBezTo>
                  <a:cubicBezTo>
                    <a:pt x="93" y="4"/>
                    <a:pt x="90" y="5"/>
                    <a:pt x="88" y="6"/>
                  </a:cubicBezTo>
                  <a:cubicBezTo>
                    <a:pt x="86" y="7"/>
                    <a:pt x="83" y="5"/>
                    <a:pt x="81" y="6"/>
                  </a:cubicBezTo>
                  <a:cubicBezTo>
                    <a:pt x="80" y="7"/>
                    <a:pt x="79" y="11"/>
                    <a:pt x="79" y="11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1" y="4"/>
                    <a:pt x="57" y="4"/>
                  </a:cubicBezTo>
                  <a:cubicBezTo>
                    <a:pt x="54" y="4"/>
                    <a:pt x="49" y="10"/>
                    <a:pt x="49" y="10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9"/>
                    <a:pt x="49" y="22"/>
                    <a:pt x="47" y="24"/>
                  </a:cubicBezTo>
                  <a:cubicBezTo>
                    <a:pt x="46" y="27"/>
                    <a:pt x="44" y="28"/>
                    <a:pt x="44" y="33"/>
                  </a:cubicBezTo>
                  <a:cubicBezTo>
                    <a:pt x="44" y="38"/>
                    <a:pt x="39" y="46"/>
                    <a:pt x="39" y="50"/>
                  </a:cubicBezTo>
                  <a:cubicBezTo>
                    <a:pt x="39" y="54"/>
                    <a:pt x="32" y="56"/>
                    <a:pt x="32" y="58"/>
                  </a:cubicBezTo>
                  <a:cubicBezTo>
                    <a:pt x="32" y="61"/>
                    <a:pt x="31" y="66"/>
                    <a:pt x="31" y="72"/>
                  </a:cubicBezTo>
                  <a:cubicBezTo>
                    <a:pt x="31" y="77"/>
                    <a:pt x="28" y="73"/>
                    <a:pt x="28" y="78"/>
                  </a:cubicBezTo>
                  <a:cubicBezTo>
                    <a:pt x="28" y="83"/>
                    <a:pt x="26" y="80"/>
                    <a:pt x="23" y="82"/>
                  </a:cubicBezTo>
                  <a:cubicBezTo>
                    <a:pt x="21" y="85"/>
                    <a:pt x="20" y="85"/>
                    <a:pt x="20" y="83"/>
                  </a:cubicBezTo>
                  <a:cubicBezTo>
                    <a:pt x="20" y="80"/>
                    <a:pt x="16" y="80"/>
                    <a:pt x="13" y="82"/>
                  </a:cubicBezTo>
                  <a:cubicBezTo>
                    <a:pt x="10" y="85"/>
                    <a:pt x="9" y="82"/>
                    <a:pt x="8" y="82"/>
                  </a:cubicBezTo>
                  <a:cubicBezTo>
                    <a:pt x="7" y="82"/>
                    <a:pt x="3" y="84"/>
                    <a:pt x="0" y="86"/>
                  </a:cubicBezTo>
                  <a:cubicBezTo>
                    <a:pt x="2" y="89"/>
                    <a:pt x="2" y="92"/>
                    <a:pt x="3" y="95"/>
                  </a:cubicBezTo>
                  <a:cubicBezTo>
                    <a:pt x="3" y="95"/>
                    <a:pt x="3" y="95"/>
                    <a:pt x="3" y="96"/>
                  </a:cubicBezTo>
                  <a:cubicBezTo>
                    <a:pt x="5" y="94"/>
                    <a:pt x="7" y="93"/>
                    <a:pt x="8" y="93"/>
                  </a:cubicBezTo>
                  <a:cubicBezTo>
                    <a:pt x="10" y="93"/>
                    <a:pt x="34" y="93"/>
                    <a:pt x="34" y="93"/>
                  </a:cubicBezTo>
                  <a:cubicBezTo>
                    <a:pt x="34" y="93"/>
                    <a:pt x="36" y="97"/>
                    <a:pt x="35" y="100"/>
                  </a:cubicBezTo>
                  <a:cubicBezTo>
                    <a:pt x="35" y="103"/>
                    <a:pt x="37" y="102"/>
                    <a:pt x="38" y="106"/>
                  </a:cubicBezTo>
                  <a:cubicBezTo>
                    <a:pt x="40" y="110"/>
                    <a:pt x="42" y="112"/>
                    <a:pt x="45" y="111"/>
                  </a:cubicBezTo>
                  <a:cubicBezTo>
                    <a:pt x="49" y="110"/>
                    <a:pt x="53" y="109"/>
                    <a:pt x="55" y="109"/>
                  </a:cubicBezTo>
                  <a:cubicBezTo>
                    <a:pt x="56" y="110"/>
                    <a:pt x="56" y="103"/>
                    <a:pt x="58" y="102"/>
                  </a:cubicBezTo>
                  <a:cubicBezTo>
                    <a:pt x="60" y="101"/>
                    <a:pt x="64" y="102"/>
                    <a:pt x="64" y="102"/>
                  </a:cubicBezTo>
                  <a:cubicBezTo>
                    <a:pt x="64" y="102"/>
                    <a:pt x="64" y="104"/>
                    <a:pt x="68" y="104"/>
                  </a:cubicBezTo>
                  <a:cubicBezTo>
                    <a:pt x="72" y="104"/>
                    <a:pt x="73" y="103"/>
                    <a:pt x="73" y="105"/>
                  </a:cubicBezTo>
                  <a:cubicBezTo>
                    <a:pt x="73" y="108"/>
                    <a:pt x="74" y="111"/>
                    <a:pt x="75" y="112"/>
                  </a:cubicBezTo>
                  <a:cubicBezTo>
                    <a:pt x="76" y="113"/>
                    <a:pt x="72" y="122"/>
                    <a:pt x="74" y="123"/>
                  </a:cubicBezTo>
                  <a:cubicBezTo>
                    <a:pt x="76" y="124"/>
                    <a:pt x="78" y="128"/>
                    <a:pt x="78" y="129"/>
                  </a:cubicBezTo>
                  <a:cubicBezTo>
                    <a:pt x="77" y="131"/>
                    <a:pt x="76" y="135"/>
                    <a:pt x="78" y="136"/>
                  </a:cubicBezTo>
                  <a:cubicBezTo>
                    <a:pt x="79" y="136"/>
                    <a:pt x="79" y="134"/>
                    <a:pt x="82" y="134"/>
                  </a:cubicBezTo>
                  <a:cubicBezTo>
                    <a:pt x="84" y="134"/>
                    <a:pt x="87" y="134"/>
                    <a:pt x="89" y="133"/>
                  </a:cubicBezTo>
                  <a:cubicBezTo>
                    <a:pt x="90" y="133"/>
                    <a:pt x="91" y="133"/>
                    <a:pt x="91" y="133"/>
                  </a:cubicBezTo>
                  <a:cubicBezTo>
                    <a:pt x="93" y="134"/>
                    <a:pt x="93" y="135"/>
                    <a:pt x="93" y="135"/>
                  </a:cubicBezTo>
                  <a:cubicBezTo>
                    <a:pt x="93" y="135"/>
                    <a:pt x="94" y="138"/>
                    <a:pt x="96" y="137"/>
                  </a:cubicBezTo>
                  <a:cubicBezTo>
                    <a:pt x="97" y="136"/>
                    <a:pt x="101" y="135"/>
                    <a:pt x="101" y="137"/>
                  </a:cubicBezTo>
                  <a:cubicBezTo>
                    <a:pt x="100" y="138"/>
                    <a:pt x="102" y="141"/>
                    <a:pt x="103" y="140"/>
                  </a:cubicBezTo>
                  <a:cubicBezTo>
                    <a:pt x="104" y="140"/>
                    <a:pt x="108" y="143"/>
                    <a:pt x="110" y="143"/>
                  </a:cubicBezTo>
                  <a:cubicBezTo>
                    <a:pt x="112" y="143"/>
                    <a:pt x="113" y="143"/>
                    <a:pt x="113" y="142"/>
                  </a:cubicBezTo>
                  <a:cubicBezTo>
                    <a:pt x="113" y="140"/>
                    <a:pt x="115" y="139"/>
                    <a:pt x="116" y="140"/>
                  </a:cubicBezTo>
                  <a:cubicBezTo>
                    <a:pt x="117" y="142"/>
                    <a:pt x="119" y="145"/>
                    <a:pt x="120" y="145"/>
                  </a:cubicBezTo>
                  <a:cubicBezTo>
                    <a:pt x="122" y="145"/>
                    <a:pt x="127" y="145"/>
                    <a:pt x="127" y="146"/>
                  </a:cubicBezTo>
                  <a:cubicBezTo>
                    <a:pt x="127" y="148"/>
                    <a:pt x="128" y="152"/>
                    <a:pt x="130" y="153"/>
                  </a:cubicBezTo>
                  <a:cubicBezTo>
                    <a:pt x="132" y="154"/>
                    <a:pt x="135" y="153"/>
                    <a:pt x="135" y="153"/>
                  </a:cubicBezTo>
                  <a:cubicBezTo>
                    <a:pt x="135" y="153"/>
                    <a:pt x="137" y="152"/>
                    <a:pt x="137" y="149"/>
                  </a:cubicBezTo>
                  <a:cubicBezTo>
                    <a:pt x="137" y="147"/>
                    <a:pt x="137" y="144"/>
                    <a:pt x="136" y="144"/>
                  </a:cubicBezTo>
                  <a:cubicBezTo>
                    <a:pt x="135" y="144"/>
                    <a:pt x="133" y="146"/>
                    <a:pt x="130" y="145"/>
                  </a:cubicBezTo>
                  <a:cubicBezTo>
                    <a:pt x="128" y="145"/>
                    <a:pt x="126" y="140"/>
                    <a:pt x="125" y="139"/>
                  </a:cubicBezTo>
                  <a:cubicBezTo>
                    <a:pt x="124" y="138"/>
                    <a:pt x="127" y="134"/>
                    <a:pt x="127" y="132"/>
                  </a:cubicBezTo>
                  <a:cubicBezTo>
                    <a:pt x="127" y="129"/>
                    <a:pt x="129" y="123"/>
                    <a:pt x="127" y="123"/>
                  </a:cubicBezTo>
                  <a:cubicBezTo>
                    <a:pt x="126" y="122"/>
                    <a:pt x="127" y="120"/>
                    <a:pt x="128" y="118"/>
                  </a:cubicBezTo>
                  <a:cubicBezTo>
                    <a:pt x="130" y="117"/>
                    <a:pt x="128" y="113"/>
                    <a:pt x="130" y="113"/>
                  </a:cubicBezTo>
                  <a:cubicBezTo>
                    <a:pt x="133" y="113"/>
                    <a:pt x="139" y="113"/>
                    <a:pt x="140" y="112"/>
                  </a:cubicBezTo>
                  <a:cubicBezTo>
                    <a:pt x="140" y="111"/>
                    <a:pt x="140" y="111"/>
                    <a:pt x="140" y="111"/>
                  </a:cubicBezTo>
                  <a:cubicBezTo>
                    <a:pt x="141" y="111"/>
                    <a:pt x="141" y="110"/>
                    <a:pt x="141" y="110"/>
                  </a:cubicBezTo>
                  <a:cubicBezTo>
                    <a:pt x="139" y="107"/>
                    <a:pt x="137" y="103"/>
                    <a:pt x="135" y="10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8" name="Freeform 346">
              <a:extLst>
                <a:ext uri="{FF2B5EF4-FFF2-40B4-BE49-F238E27FC236}">
                  <a16:creationId xmlns:a16="http://schemas.microsoft.com/office/drawing/2014/main" id="{2978A99B-4667-B566-2374-C12F3E606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510" y="4350009"/>
              <a:ext cx="49207" cy="63492"/>
            </a:xfrm>
            <a:custGeom>
              <a:avLst/>
              <a:gdLst>
                <a:gd name="T0" fmla="*/ 1 w 13"/>
                <a:gd name="T1" fmla="*/ 9 h 17"/>
                <a:gd name="T2" fmla="*/ 3 w 13"/>
                <a:gd name="T3" fmla="*/ 17 h 17"/>
                <a:gd name="T4" fmla="*/ 7 w 13"/>
                <a:gd name="T5" fmla="*/ 15 h 17"/>
                <a:gd name="T6" fmla="*/ 13 w 13"/>
                <a:gd name="T7" fmla="*/ 6 h 17"/>
                <a:gd name="T8" fmla="*/ 11 w 13"/>
                <a:gd name="T9" fmla="*/ 4 h 17"/>
                <a:gd name="T10" fmla="*/ 11 w 13"/>
                <a:gd name="T11" fmla="*/ 0 h 17"/>
                <a:gd name="T12" fmla="*/ 7 w 13"/>
                <a:gd name="T13" fmla="*/ 0 h 17"/>
                <a:gd name="T14" fmla="*/ 3 w 13"/>
                <a:gd name="T15" fmla="*/ 3 h 17"/>
                <a:gd name="T16" fmla="*/ 0 w 13"/>
                <a:gd name="T17" fmla="*/ 2 h 17"/>
                <a:gd name="T18" fmla="*/ 1 w 13"/>
                <a:gd name="T19" fmla="*/ 3 h 17"/>
                <a:gd name="T20" fmla="*/ 1 w 13"/>
                <a:gd name="T21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7">
                  <a:moveTo>
                    <a:pt x="1" y="9"/>
                  </a:moveTo>
                  <a:cubicBezTo>
                    <a:pt x="2" y="10"/>
                    <a:pt x="3" y="13"/>
                    <a:pt x="3" y="17"/>
                  </a:cubicBezTo>
                  <a:cubicBezTo>
                    <a:pt x="5" y="16"/>
                    <a:pt x="6" y="15"/>
                    <a:pt x="7" y="15"/>
                  </a:cubicBezTo>
                  <a:cubicBezTo>
                    <a:pt x="9" y="14"/>
                    <a:pt x="13" y="6"/>
                    <a:pt x="13" y="6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3"/>
                    <a:pt x="11" y="0"/>
                  </a:cubicBezTo>
                  <a:cubicBezTo>
                    <a:pt x="9" y="0"/>
                    <a:pt x="7" y="0"/>
                    <a:pt x="7" y="0"/>
                  </a:cubicBezTo>
                  <a:cubicBezTo>
                    <a:pt x="7" y="0"/>
                    <a:pt x="8" y="4"/>
                    <a:pt x="3" y="3"/>
                  </a:cubicBezTo>
                  <a:cubicBezTo>
                    <a:pt x="2" y="3"/>
                    <a:pt x="1" y="3"/>
                    <a:pt x="0" y="2"/>
                  </a:cubicBezTo>
                  <a:cubicBezTo>
                    <a:pt x="1" y="3"/>
                    <a:pt x="1" y="3"/>
                    <a:pt x="1" y="3"/>
                  </a:cubicBezTo>
                  <a:lnTo>
                    <a:pt x="1" y="9"/>
                  </a:ln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09" name="Freeform 347">
              <a:extLst>
                <a:ext uri="{FF2B5EF4-FFF2-40B4-BE49-F238E27FC236}">
                  <a16:creationId xmlns:a16="http://schemas.microsoft.com/office/drawing/2014/main" id="{924CA05B-483A-0B90-5334-050BA4D61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7427" y="4610327"/>
              <a:ext cx="319046" cy="514284"/>
            </a:xfrm>
            <a:custGeom>
              <a:avLst/>
              <a:gdLst>
                <a:gd name="T0" fmla="*/ 85 w 85"/>
                <a:gd name="T1" fmla="*/ 35 h 137"/>
                <a:gd name="T2" fmla="*/ 83 w 85"/>
                <a:gd name="T3" fmla="*/ 19 h 137"/>
                <a:gd name="T4" fmla="*/ 82 w 85"/>
                <a:gd name="T5" fmla="*/ 0 h 137"/>
                <a:gd name="T6" fmla="*/ 82 w 85"/>
                <a:gd name="T7" fmla="*/ 0 h 137"/>
                <a:gd name="T8" fmla="*/ 73 w 85"/>
                <a:gd name="T9" fmla="*/ 4 h 137"/>
                <a:gd name="T10" fmla="*/ 68 w 85"/>
                <a:gd name="T11" fmla="*/ 6 h 137"/>
                <a:gd name="T12" fmla="*/ 63 w 85"/>
                <a:gd name="T13" fmla="*/ 5 h 137"/>
                <a:gd name="T14" fmla="*/ 60 w 85"/>
                <a:gd name="T15" fmla="*/ 8 h 137"/>
                <a:gd name="T16" fmla="*/ 55 w 85"/>
                <a:gd name="T17" fmla="*/ 9 h 137"/>
                <a:gd name="T18" fmla="*/ 49 w 85"/>
                <a:gd name="T19" fmla="*/ 10 h 137"/>
                <a:gd name="T20" fmla="*/ 46 w 85"/>
                <a:gd name="T21" fmla="*/ 7 h 137"/>
                <a:gd name="T22" fmla="*/ 41 w 85"/>
                <a:gd name="T23" fmla="*/ 8 h 137"/>
                <a:gd name="T24" fmla="*/ 37 w 85"/>
                <a:gd name="T25" fmla="*/ 8 h 137"/>
                <a:gd name="T26" fmla="*/ 36 w 85"/>
                <a:gd name="T27" fmla="*/ 11 h 137"/>
                <a:gd name="T28" fmla="*/ 40 w 85"/>
                <a:gd name="T29" fmla="*/ 28 h 137"/>
                <a:gd name="T30" fmla="*/ 44 w 85"/>
                <a:gd name="T31" fmla="*/ 32 h 137"/>
                <a:gd name="T32" fmla="*/ 45 w 85"/>
                <a:gd name="T33" fmla="*/ 41 h 137"/>
                <a:gd name="T34" fmla="*/ 40 w 85"/>
                <a:gd name="T35" fmla="*/ 46 h 137"/>
                <a:gd name="T36" fmla="*/ 39 w 85"/>
                <a:gd name="T37" fmla="*/ 53 h 137"/>
                <a:gd name="T38" fmla="*/ 32 w 85"/>
                <a:gd name="T39" fmla="*/ 43 h 137"/>
                <a:gd name="T40" fmla="*/ 34 w 85"/>
                <a:gd name="T41" fmla="*/ 33 h 137"/>
                <a:gd name="T42" fmla="*/ 27 w 85"/>
                <a:gd name="T43" fmla="*/ 32 h 137"/>
                <a:gd name="T44" fmla="*/ 22 w 85"/>
                <a:gd name="T45" fmla="*/ 28 h 137"/>
                <a:gd name="T46" fmla="*/ 0 w 85"/>
                <a:gd name="T47" fmla="*/ 36 h 137"/>
                <a:gd name="T48" fmla="*/ 1 w 85"/>
                <a:gd name="T49" fmla="*/ 42 h 137"/>
                <a:gd name="T50" fmla="*/ 1 w 85"/>
                <a:gd name="T51" fmla="*/ 42 h 137"/>
                <a:gd name="T52" fmla="*/ 2 w 85"/>
                <a:gd name="T53" fmla="*/ 45 h 137"/>
                <a:gd name="T54" fmla="*/ 12 w 85"/>
                <a:gd name="T55" fmla="*/ 47 h 137"/>
                <a:gd name="T56" fmla="*/ 22 w 85"/>
                <a:gd name="T57" fmla="*/ 51 h 137"/>
                <a:gd name="T58" fmla="*/ 22 w 85"/>
                <a:gd name="T59" fmla="*/ 63 h 137"/>
                <a:gd name="T60" fmla="*/ 20 w 85"/>
                <a:gd name="T61" fmla="*/ 70 h 137"/>
                <a:gd name="T62" fmla="*/ 22 w 85"/>
                <a:gd name="T63" fmla="*/ 76 h 137"/>
                <a:gd name="T64" fmla="*/ 18 w 85"/>
                <a:gd name="T65" fmla="*/ 82 h 137"/>
                <a:gd name="T66" fmla="*/ 16 w 85"/>
                <a:gd name="T67" fmla="*/ 90 h 137"/>
                <a:gd name="T68" fmla="*/ 8 w 85"/>
                <a:gd name="T69" fmla="*/ 98 h 137"/>
                <a:gd name="T70" fmla="*/ 8 w 85"/>
                <a:gd name="T71" fmla="*/ 98 h 137"/>
                <a:gd name="T72" fmla="*/ 13 w 85"/>
                <a:gd name="T73" fmla="*/ 113 h 137"/>
                <a:gd name="T74" fmla="*/ 14 w 85"/>
                <a:gd name="T75" fmla="*/ 128 h 137"/>
                <a:gd name="T76" fmla="*/ 15 w 85"/>
                <a:gd name="T77" fmla="*/ 137 h 137"/>
                <a:gd name="T78" fmla="*/ 21 w 85"/>
                <a:gd name="T79" fmla="*/ 137 h 137"/>
                <a:gd name="T80" fmla="*/ 21 w 85"/>
                <a:gd name="T81" fmla="*/ 133 h 137"/>
                <a:gd name="T82" fmla="*/ 18 w 85"/>
                <a:gd name="T83" fmla="*/ 130 h 137"/>
                <a:gd name="T84" fmla="*/ 30 w 85"/>
                <a:gd name="T85" fmla="*/ 121 h 137"/>
                <a:gd name="T86" fmla="*/ 40 w 85"/>
                <a:gd name="T87" fmla="*/ 114 h 137"/>
                <a:gd name="T88" fmla="*/ 41 w 85"/>
                <a:gd name="T89" fmla="*/ 103 h 137"/>
                <a:gd name="T90" fmla="*/ 40 w 85"/>
                <a:gd name="T91" fmla="*/ 92 h 137"/>
                <a:gd name="T92" fmla="*/ 36 w 85"/>
                <a:gd name="T93" fmla="*/ 82 h 137"/>
                <a:gd name="T94" fmla="*/ 37 w 85"/>
                <a:gd name="T95" fmla="*/ 76 h 137"/>
                <a:gd name="T96" fmla="*/ 41 w 85"/>
                <a:gd name="T97" fmla="*/ 72 h 137"/>
                <a:gd name="T98" fmla="*/ 48 w 85"/>
                <a:gd name="T99" fmla="*/ 68 h 137"/>
                <a:gd name="T100" fmla="*/ 56 w 85"/>
                <a:gd name="T101" fmla="*/ 58 h 137"/>
                <a:gd name="T102" fmla="*/ 72 w 85"/>
                <a:gd name="T103" fmla="*/ 52 h 137"/>
                <a:gd name="T104" fmla="*/ 85 w 85"/>
                <a:gd name="T105" fmla="*/ 3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5" h="137">
                  <a:moveTo>
                    <a:pt x="85" y="35"/>
                  </a:moveTo>
                  <a:cubicBezTo>
                    <a:pt x="84" y="33"/>
                    <a:pt x="82" y="23"/>
                    <a:pt x="83" y="19"/>
                  </a:cubicBezTo>
                  <a:cubicBezTo>
                    <a:pt x="83" y="15"/>
                    <a:pt x="82" y="5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8" y="1"/>
                    <a:pt x="74" y="3"/>
                    <a:pt x="73" y="4"/>
                  </a:cubicBezTo>
                  <a:cubicBezTo>
                    <a:pt x="73" y="6"/>
                    <a:pt x="69" y="4"/>
                    <a:pt x="68" y="6"/>
                  </a:cubicBezTo>
                  <a:cubicBezTo>
                    <a:pt x="66" y="7"/>
                    <a:pt x="64" y="6"/>
                    <a:pt x="63" y="5"/>
                  </a:cubicBezTo>
                  <a:cubicBezTo>
                    <a:pt x="61" y="5"/>
                    <a:pt x="60" y="7"/>
                    <a:pt x="60" y="8"/>
                  </a:cubicBezTo>
                  <a:cubicBezTo>
                    <a:pt x="60" y="10"/>
                    <a:pt x="57" y="9"/>
                    <a:pt x="55" y="9"/>
                  </a:cubicBezTo>
                  <a:cubicBezTo>
                    <a:pt x="54" y="9"/>
                    <a:pt x="50" y="10"/>
                    <a:pt x="49" y="10"/>
                  </a:cubicBezTo>
                  <a:cubicBezTo>
                    <a:pt x="47" y="10"/>
                    <a:pt x="48" y="8"/>
                    <a:pt x="46" y="7"/>
                  </a:cubicBezTo>
                  <a:cubicBezTo>
                    <a:pt x="44" y="7"/>
                    <a:pt x="42" y="8"/>
                    <a:pt x="41" y="8"/>
                  </a:cubicBezTo>
                  <a:cubicBezTo>
                    <a:pt x="40" y="8"/>
                    <a:pt x="38" y="8"/>
                    <a:pt x="37" y="8"/>
                  </a:cubicBezTo>
                  <a:cubicBezTo>
                    <a:pt x="37" y="9"/>
                    <a:pt x="36" y="10"/>
                    <a:pt x="36" y="11"/>
                  </a:cubicBezTo>
                  <a:cubicBezTo>
                    <a:pt x="35" y="15"/>
                    <a:pt x="39" y="24"/>
                    <a:pt x="40" y="28"/>
                  </a:cubicBezTo>
                  <a:cubicBezTo>
                    <a:pt x="41" y="29"/>
                    <a:pt x="43" y="31"/>
                    <a:pt x="44" y="32"/>
                  </a:cubicBezTo>
                  <a:cubicBezTo>
                    <a:pt x="47" y="35"/>
                    <a:pt x="44" y="35"/>
                    <a:pt x="45" y="41"/>
                  </a:cubicBezTo>
                  <a:cubicBezTo>
                    <a:pt x="45" y="46"/>
                    <a:pt x="42" y="44"/>
                    <a:pt x="40" y="46"/>
                  </a:cubicBezTo>
                  <a:cubicBezTo>
                    <a:pt x="38" y="48"/>
                    <a:pt x="40" y="52"/>
                    <a:pt x="39" y="53"/>
                  </a:cubicBezTo>
                  <a:cubicBezTo>
                    <a:pt x="39" y="54"/>
                    <a:pt x="33" y="45"/>
                    <a:pt x="32" y="43"/>
                  </a:cubicBezTo>
                  <a:cubicBezTo>
                    <a:pt x="32" y="42"/>
                    <a:pt x="34" y="36"/>
                    <a:pt x="34" y="33"/>
                  </a:cubicBezTo>
                  <a:cubicBezTo>
                    <a:pt x="33" y="30"/>
                    <a:pt x="29" y="32"/>
                    <a:pt x="27" y="32"/>
                  </a:cubicBezTo>
                  <a:cubicBezTo>
                    <a:pt x="26" y="32"/>
                    <a:pt x="23" y="28"/>
                    <a:pt x="22" y="28"/>
                  </a:cubicBezTo>
                  <a:cubicBezTo>
                    <a:pt x="21" y="28"/>
                    <a:pt x="0" y="36"/>
                    <a:pt x="0" y="36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9" y="45"/>
                    <a:pt x="12" y="47"/>
                  </a:cubicBezTo>
                  <a:cubicBezTo>
                    <a:pt x="15" y="49"/>
                    <a:pt x="20" y="50"/>
                    <a:pt x="22" y="51"/>
                  </a:cubicBezTo>
                  <a:cubicBezTo>
                    <a:pt x="23" y="51"/>
                    <a:pt x="22" y="59"/>
                    <a:pt x="22" y="63"/>
                  </a:cubicBezTo>
                  <a:cubicBezTo>
                    <a:pt x="22" y="67"/>
                    <a:pt x="18" y="68"/>
                    <a:pt x="20" y="70"/>
                  </a:cubicBezTo>
                  <a:cubicBezTo>
                    <a:pt x="22" y="72"/>
                    <a:pt x="21" y="76"/>
                    <a:pt x="22" y="76"/>
                  </a:cubicBezTo>
                  <a:cubicBezTo>
                    <a:pt x="24" y="77"/>
                    <a:pt x="20" y="81"/>
                    <a:pt x="18" y="82"/>
                  </a:cubicBezTo>
                  <a:cubicBezTo>
                    <a:pt x="16" y="83"/>
                    <a:pt x="18" y="87"/>
                    <a:pt x="16" y="90"/>
                  </a:cubicBezTo>
                  <a:cubicBezTo>
                    <a:pt x="14" y="92"/>
                    <a:pt x="10" y="96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0"/>
                    <a:pt x="11" y="112"/>
                    <a:pt x="13" y="113"/>
                  </a:cubicBezTo>
                  <a:cubicBezTo>
                    <a:pt x="15" y="115"/>
                    <a:pt x="14" y="127"/>
                    <a:pt x="14" y="128"/>
                  </a:cubicBezTo>
                  <a:cubicBezTo>
                    <a:pt x="13" y="129"/>
                    <a:pt x="15" y="137"/>
                    <a:pt x="15" y="137"/>
                  </a:cubicBezTo>
                  <a:cubicBezTo>
                    <a:pt x="15" y="137"/>
                    <a:pt x="18" y="137"/>
                    <a:pt x="21" y="137"/>
                  </a:cubicBezTo>
                  <a:cubicBezTo>
                    <a:pt x="21" y="135"/>
                    <a:pt x="21" y="134"/>
                    <a:pt x="21" y="133"/>
                  </a:cubicBezTo>
                  <a:cubicBezTo>
                    <a:pt x="21" y="129"/>
                    <a:pt x="19" y="132"/>
                    <a:pt x="18" y="130"/>
                  </a:cubicBezTo>
                  <a:cubicBezTo>
                    <a:pt x="17" y="127"/>
                    <a:pt x="24" y="123"/>
                    <a:pt x="30" y="121"/>
                  </a:cubicBezTo>
                  <a:cubicBezTo>
                    <a:pt x="37" y="118"/>
                    <a:pt x="40" y="117"/>
                    <a:pt x="40" y="114"/>
                  </a:cubicBezTo>
                  <a:cubicBezTo>
                    <a:pt x="41" y="112"/>
                    <a:pt x="40" y="105"/>
                    <a:pt x="41" y="103"/>
                  </a:cubicBezTo>
                  <a:cubicBezTo>
                    <a:pt x="42" y="100"/>
                    <a:pt x="41" y="98"/>
                    <a:pt x="40" y="92"/>
                  </a:cubicBezTo>
                  <a:cubicBezTo>
                    <a:pt x="39" y="87"/>
                    <a:pt x="37" y="86"/>
                    <a:pt x="36" y="82"/>
                  </a:cubicBezTo>
                  <a:cubicBezTo>
                    <a:pt x="35" y="79"/>
                    <a:pt x="35" y="76"/>
                    <a:pt x="37" y="76"/>
                  </a:cubicBezTo>
                  <a:cubicBezTo>
                    <a:pt x="39" y="76"/>
                    <a:pt x="39" y="75"/>
                    <a:pt x="41" y="72"/>
                  </a:cubicBezTo>
                  <a:cubicBezTo>
                    <a:pt x="43" y="69"/>
                    <a:pt x="44" y="70"/>
                    <a:pt x="48" y="68"/>
                  </a:cubicBezTo>
                  <a:cubicBezTo>
                    <a:pt x="51" y="65"/>
                    <a:pt x="51" y="62"/>
                    <a:pt x="56" y="58"/>
                  </a:cubicBezTo>
                  <a:cubicBezTo>
                    <a:pt x="61" y="54"/>
                    <a:pt x="67" y="55"/>
                    <a:pt x="72" y="52"/>
                  </a:cubicBezTo>
                  <a:cubicBezTo>
                    <a:pt x="77" y="49"/>
                    <a:pt x="85" y="37"/>
                    <a:pt x="85" y="3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0" name="Freeform 348">
              <a:extLst>
                <a:ext uri="{FF2B5EF4-FFF2-40B4-BE49-F238E27FC236}">
                  <a16:creationId xmlns:a16="http://schemas.microsoft.com/office/drawing/2014/main" id="{7EF57DA1-0D50-B923-7B88-EBDD055B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3618" y="4313506"/>
              <a:ext cx="331745" cy="333332"/>
            </a:xfrm>
            <a:custGeom>
              <a:avLst/>
              <a:gdLst>
                <a:gd name="T0" fmla="*/ 82 w 88"/>
                <a:gd name="T1" fmla="*/ 71 h 89"/>
                <a:gd name="T2" fmla="*/ 79 w 88"/>
                <a:gd name="T3" fmla="*/ 63 h 89"/>
                <a:gd name="T4" fmla="*/ 78 w 88"/>
                <a:gd name="T5" fmla="*/ 56 h 89"/>
                <a:gd name="T6" fmla="*/ 80 w 88"/>
                <a:gd name="T7" fmla="*/ 50 h 89"/>
                <a:gd name="T8" fmla="*/ 75 w 88"/>
                <a:gd name="T9" fmla="*/ 44 h 89"/>
                <a:gd name="T10" fmla="*/ 79 w 88"/>
                <a:gd name="T11" fmla="*/ 31 h 89"/>
                <a:gd name="T12" fmla="*/ 65 w 88"/>
                <a:gd name="T13" fmla="*/ 22 h 89"/>
                <a:gd name="T14" fmla="*/ 66 w 88"/>
                <a:gd name="T15" fmla="*/ 17 h 89"/>
                <a:gd name="T16" fmla="*/ 35 w 88"/>
                <a:gd name="T17" fmla="*/ 1 h 89"/>
                <a:gd name="T18" fmla="*/ 32 w 88"/>
                <a:gd name="T19" fmla="*/ 8 h 89"/>
                <a:gd name="T20" fmla="*/ 32 w 88"/>
                <a:gd name="T21" fmla="*/ 13 h 89"/>
                <a:gd name="T22" fmla="*/ 19 w 88"/>
                <a:gd name="T23" fmla="*/ 13 h 89"/>
                <a:gd name="T24" fmla="*/ 19 w 88"/>
                <a:gd name="T25" fmla="*/ 0 h 89"/>
                <a:gd name="T26" fmla="*/ 12 w 88"/>
                <a:gd name="T27" fmla="*/ 1 h 89"/>
                <a:gd name="T28" fmla="*/ 9 w 88"/>
                <a:gd name="T29" fmla="*/ 2 h 89"/>
                <a:gd name="T30" fmla="*/ 10 w 88"/>
                <a:gd name="T31" fmla="*/ 5 h 89"/>
                <a:gd name="T32" fmla="*/ 11 w 88"/>
                <a:gd name="T33" fmla="*/ 11 h 89"/>
                <a:gd name="T34" fmla="*/ 8 w 88"/>
                <a:gd name="T35" fmla="*/ 12 h 89"/>
                <a:gd name="T36" fmla="*/ 8 w 88"/>
                <a:gd name="T37" fmla="*/ 16 h 89"/>
                <a:gd name="T38" fmla="*/ 10 w 88"/>
                <a:gd name="T39" fmla="*/ 18 h 89"/>
                <a:gd name="T40" fmla="*/ 4 w 88"/>
                <a:gd name="T41" fmla="*/ 27 h 89"/>
                <a:gd name="T42" fmla="*/ 0 w 88"/>
                <a:gd name="T43" fmla="*/ 29 h 89"/>
                <a:gd name="T44" fmla="*/ 5 w 88"/>
                <a:gd name="T45" fmla="*/ 44 h 89"/>
                <a:gd name="T46" fmla="*/ 9 w 88"/>
                <a:gd name="T47" fmla="*/ 55 h 89"/>
                <a:gd name="T48" fmla="*/ 11 w 88"/>
                <a:gd name="T49" fmla="*/ 61 h 89"/>
                <a:gd name="T50" fmla="*/ 7 w 88"/>
                <a:gd name="T51" fmla="*/ 58 h 89"/>
                <a:gd name="T52" fmla="*/ 6 w 88"/>
                <a:gd name="T53" fmla="*/ 59 h 89"/>
                <a:gd name="T54" fmla="*/ 6 w 88"/>
                <a:gd name="T55" fmla="*/ 60 h 89"/>
                <a:gd name="T56" fmla="*/ 12 w 88"/>
                <a:gd name="T57" fmla="*/ 63 h 89"/>
                <a:gd name="T58" fmla="*/ 19 w 88"/>
                <a:gd name="T59" fmla="*/ 66 h 89"/>
                <a:gd name="T60" fmla="*/ 30 w 88"/>
                <a:gd name="T61" fmla="*/ 70 h 89"/>
                <a:gd name="T62" fmla="*/ 30 w 88"/>
                <a:gd name="T63" fmla="*/ 71 h 89"/>
                <a:gd name="T64" fmla="*/ 36 w 88"/>
                <a:gd name="T65" fmla="*/ 71 h 89"/>
                <a:gd name="T66" fmla="*/ 37 w 88"/>
                <a:gd name="T67" fmla="*/ 71 h 89"/>
                <a:gd name="T68" fmla="*/ 43 w 88"/>
                <a:gd name="T69" fmla="*/ 87 h 89"/>
                <a:gd name="T70" fmla="*/ 47 w 88"/>
                <a:gd name="T71" fmla="*/ 87 h 89"/>
                <a:gd name="T72" fmla="*/ 52 w 88"/>
                <a:gd name="T73" fmla="*/ 86 h 89"/>
                <a:gd name="T74" fmla="*/ 55 w 88"/>
                <a:gd name="T75" fmla="*/ 89 h 89"/>
                <a:gd name="T76" fmla="*/ 61 w 88"/>
                <a:gd name="T77" fmla="*/ 88 h 89"/>
                <a:gd name="T78" fmla="*/ 66 w 88"/>
                <a:gd name="T79" fmla="*/ 87 h 89"/>
                <a:gd name="T80" fmla="*/ 69 w 88"/>
                <a:gd name="T81" fmla="*/ 84 h 89"/>
                <a:gd name="T82" fmla="*/ 74 w 88"/>
                <a:gd name="T83" fmla="*/ 85 h 89"/>
                <a:gd name="T84" fmla="*/ 79 w 88"/>
                <a:gd name="T85" fmla="*/ 83 h 89"/>
                <a:gd name="T86" fmla="*/ 88 w 88"/>
                <a:gd name="T87" fmla="*/ 79 h 89"/>
                <a:gd name="T88" fmla="*/ 82 w 88"/>
                <a:gd name="T89" fmla="*/ 7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8" h="89">
                  <a:moveTo>
                    <a:pt x="82" y="71"/>
                  </a:moveTo>
                  <a:cubicBezTo>
                    <a:pt x="82" y="66"/>
                    <a:pt x="79" y="66"/>
                    <a:pt x="79" y="63"/>
                  </a:cubicBezTo>
                  <a:cubicBezTo>
                    <a:pt x="79" y="60"/>
                    <a:pt x="79" y="57"/>
                    <a:pt x="78" y="56"/>
                  </a:cubicBezTo>
                  <a:cubicBezTo>
                    <a:pt x="77" y="56"/>
                    <a:pt x="78" y="53"/>
                    <a:pt x="80" y="50"/>
                  </a:cubicBezTo>
                  <a:cubicBezTo>
                    <a:pt x="82" y="47"/>
                    <a:pt x="76" y="47"/>
                    <a:pt x="75" y="44"/>
                  </a:cubicBezTo>
                  <a:cubicBezTo>
                    <a:pt x="75" y="42"/>
                    <a:pt x="77" y="37"/>
                    <a:pt x="79" y="31"/>
                  </a:cubicBezTo>
                  <a:cubicBezTo>
                    <a:pt x="72" y="27"/>
                    <a:pt x="65" y="22"/>
                    <a:pt x="65" y="22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4"/>
                    <a:pt x="34" y="7"/>
                    <a:pt x="32" y="8"/>
                  </a:cubicBezTo>
                  <a:cubicBezTo>
                    <a:pt x="29" y="9"/>
                    <a:pt x="35" y="13"/>
                    <a:pt x="32" y="13"/>
                  </a:cubicBezTo>
                  <a:cubicBezTo>
                    <a:pt x="29" y="14"/>
                    <a:pt x="23" y="11"/>
                    <a:pt x="19" y="13"/>
                  </a:cubicBezTo>
                  <a:cubicBezTo>
                    <a:pt x="16" y="14"/>
                    <a:pt x="17" y="7"/>
                    <a:pt x="19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1" y="1"/>
                    <a:pt x="9" y="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2" y="9"/>
                    <a:pt x="11" y="11"/>
                  </a:cubicBezTo>
                  <a:cubicBezTo>
                    <a:pt x="11" y="12"/>
                    <a:pt x="9" y="12"/>
                    <a:pt x="8" y="12"/>
                  </a:cubicBezTo>
                  <a:cubicBezTo>
                    <a:pt x="8" y="15"/>
                    <a:pt x="8" y="16"/>
                    <a:pt x="8" y="16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6" y="26"/>
                    <a:pt x="4" y="27"/>
                  </a:cubicBezTo>
                  <a:cubicBezTo>
                    <a:pt x="3" y="27"/>
                    <a:pt x="2" y="28"/>
                    <a:pt x="0" y="29"/>
                  </a:cubicBezTo>
                  <a:cubicBezTo>
                    <a:pt x="2" y="35"/>
                    <a:pt x="3" y="42"/>
                    <a:pt x="5" y="44"/>
                  </a:cubicBezTo>
                  <a:cubicBezTo>
                    <a:pt x="9" y="48"/>
                    <a:pt x="9" y="52"/>
                    <a:pt x="9" y="55"/>
                  </a:cubicBezTo>
                  <a:cubicBezTo>
                    <a:pt x="10" y="57"/>
                    <a:pt x="14" y="60"/>
                    <a:pt x="11" y="61"/>
                  </a:cubicBezTo>
                  <a:cubicBezTo>
                    <a:pt x="10" y="62"/>
                    <a:pt x="8" y="60"/>
                    <a:pt x="7" y="58"/>
                  </a:cubicBezTo>
                  <a:cubicBezTo>
                    <a:pt x="7" y="58"/>
                    <a:pt x="7" y="59"/>
                    <a:pt x="6" y="59"/>
                  </a:cubicBezTo>
                  <a:cubicBezTo>
                    <a:pt x="6" y="59"/>
                    <a:pt x="6" y="59"/>
                    <a:pt x="6" y="60"/>
                  </a:cubicBezTo>
                  <a:cubicBezTo>
                    <a:pt x="8" y="61"/>
                    <a:pt x="11" y="63"/>
                    <a:pt x="12" y="63"/>
                  </a:cubicBezTo>
                  <a:cubicBezTo>
                    <a:pt x="14" y="63"/>
                    <a:pt x="17" y="65"/>
                    <a:pt x="19" y="66"/>
                  </a:cubicBezTo>
                  <a:cubicBezTo>
                    <a:pt x="21" y="66"/>
                    <a:pt x="29" y="69"/>
                    <a:pt x="30" y="70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2" y="71"/>
                    <a:pt x="34" y="71"/>
                    <a:pt x="36" y="71"/>
                  </a:cubicBezTo>
                  <a:cubicBezTo>
                    <a:pt x="36" y="71"/>
                    <a:pt x="36" y="71"/>
                    <a:pt x="37" y="71"/>
                  </a:cubicBezTo>
                  <a:cubicBezTo>
                    <a:pt x="39" y="71"/>
                    <a:pt x="43" y="81"/>
                    <a:pt x="43" y="87"/>
                  </a:cubicBezTo>
                  <a:cubicBezTo>
                    <a:pt x="44" y="87"/>
                    <a:pt x="46" y="87"/>
                    <a:pt x="47" y="87"/>
                  </a:cubicBezTo>
                  <a:cubicBezTo>
                    <a:pt x="48" y="87"/>
                    <a:pt x="50" y="86"/>
                    <a:pt x="52" y="86"/>
                  </a:cubicBezTo>
                  <a:cubicBezTo>
                    <a:pt x="54" y="87"/>
                    <a:pt x="53" y="89"/>
                    <a:pt x="55" y="89"/>
                  </a:cubicBezTo>
                  <a:cubicBezTo>
                    <a:pt x="56" y="89"/>
                    <a:pt x="60" y="88"/>
                    <a:pt x="61" y="88"/>
                  </a:cubicBezTo>
                  <a:cubicBezTo>
                    <a:pt x="63" y="88"/>
                    <a:pt x="66" y="89"/>
                    <a:pt x="66" y="87"/>
                  </a:cubicBezTo>
                  <a:cubicBezTo>
                    <a:pt x="66" y="86"/>
                    <a:pt x="67" y="84"/>
                    <a:pt x="69" y="84"/>
                  </a:cubicBezTo>
                  <a:cubicBezTo>
                    <a:pt x="70" y="85"/>
                    <a:pt x="72" y="86"/>
                    <a:pt x="74" y="85"/>
                  </a:cubicBezTo>
                  <a:cubicBezTo>
                    <a:pt x="75" y="83"/>
                    <a:pt x="79" y="85"/>
                    <a:pt x="79" y="83"/>
                  </a:cubicBezTo>
                  <a:cubicBezTo>
                    <a:pt x="80" y="82"/>
                    <a:pt x="84" y="80"/>
                    <a:pt x="88" y="79"/>
                  </a:cubicBezTo>
                  <a:cubicBezTo>
                    <a:pt x="88" y="74"/>
                    <a:pt x="82" y="76"/>
                    <a:pt x="82" y="71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1" name="Freeform 349">
              <a:extLst>
                <a:ext uri="{FF2B5EF4-FFF2-40B4-BE49-F238E27FC236}">
                  <a16:creationId xmlns:a16="http://schemas.microsoft.com/office/drawing/2014/main" id="{EFF9759A-0D01-5F7A-F692-909AF2F5F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2030" y="4572236"/>
              <a:ext cx="101587" cy="231745"/>
            </a:xfrm>
            <a:custGeom>
              <a:avLst/>
              <a:gdLst>
                <a:gd name="T0" fmla="*/ 24 w 27"/>
                <a:gd name="T1" fmla="*/ 40 h 62"/>
                <a:gd name="T2" fmla="*/ 20 w 27"/>
                <a:gd name="T3" fmla="*/ 36 h 62"/>
                <a:gd name="T4" fmla="*/ 19 w 27"/>
                <a:gd name="T5" fmla="*/ 37 h 62"/>
                <a:gd name="T6" fmla="*/ 11 w 27"/>
                <a:gd name="T7" fmla="*/ 25 h 62"/>
                <a:gd name="T8" fmla="*/ 11 w 27"/>
                <a:gd name="T9" fmla="*/ 11 h 62"/>
                <a:gd name="T10" fmla="*/ 10 w 27"/>
                <a:gd name="T11" fmla="*/ 0 h 62"/>
                <a:gd name="T12" fmla="*/ 4 w 27"/>
                <a:gd name="T13" fmla="*/ 0 h 62"/>
                <a:gd name="T14" fmla="*/ 7 w 27"/>
                <a:gd name="T15" fmla="*/ 8 h 62"/>
                <a:gd name="T16" fmla="*/ 4 w 27"/>
                <a:gd name="T17" fmla="*/ 10 h 62"/>
                <a:gd name="T18" fmla="*/ 5 w 27"/>
                <a:gd name="T19" fmla="*/ 23 h 62"/>
                <a:gd name="T20" fmla="*/ 2 w 27"/>
                <a:gd name="T21" fmla="*/ 25 h 62"/>
                <a:gd name="T22" fmla="*/ 0 w 27"/>
                <a:gd name="T23" fmla="*/ 33 h 62"/>
                <a:gd name="T24" fmla="*/ 2 w 27"/>
                <a:gd name="T25" fmla="*/ 36 h 62"/>
                <a:gd name="T26" fmla="*/ 2 w 27"/>
                <a:gd name="T27" fmla="*/ 36 h 62"/>
                <a:gd name="T28" fmla="*/ 7 w 27"/>
                <a:gd name="T29" fmla="*/ 40 h 62"/>
                <a:gd name="T30" fmla="*/ 14 w 27"/>
                <a:gd name="T31" fmla="*/ 41 h 62"/>
                <a:gd name="T32" fmla="*/ 12 w 27"/>
                <a:gd name="T33" fmla="*/ 51 h 62"/>
                <a:gd name="T34" fmla="*/ 19 w 27"/>
                <a:gd name="T35" fmla="*/ 61 h 62"/>
                <a:gd name="T36" fmla="*/ 20 w 27"/>
                <a:gd name="T37" fmla="*/ 54 h 62"/>
                <a:gd name="T38" fmla="*/ 25 w 27"/>
                <a:gd name="T39" fmla="*/ 49 h 62"/>
                <a:gd name="T40" fmla="*/ 24 w 27"/>
                <a:gd name="T41" fmla="*/ 4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" h="62">
                  <a:moveTo>
                    <a:pt x="24" y="40"/>
                  </a:moveTo>
                  <a:cubicBezTo>
                    <a:pt x="23" y="39"/>
                    <a:pt x="21" y="37"/>
                    <a:pt x="20" y="36"/>
                  </a:cubicBezTo>
                  <a:cubicBezTo>
                    <a:pt x="20" y="36"/>
                    <a:pt x="20" y="37"/>
                    <a:pt x="19" y="37"/>
                  </a:cubicBezTo>
                  <a:cubicBezTo>
                    <a:pt x="17" y="40"/>
                    <a:pt x="11" y="31"/>
                    <a:pt x="11" y="25"/>
                  </a:cubicBezTo>
                  <a:cubicBezTo>
                    <a:pt x="10" y="19"/>
                    <a:pt x="14" y="16"/>
                    <a:pt x="11" y="11"/>
                  </a:cubicBezTo>
                  <a:cubicBezTo>
                    <a:pt x="9" y="6"/>
                    <a:pt x="8" y="1"/>
                    <a:pt x="10" y="0"/>
                  </a:cubicBezTo>
                  <a:cubicBezTo>
                    <a:pt x="8" y="0"/>
                    <a:pt x="6" y="0"/>
                    <a:pt x="4" y="0"/>
                  </a:cubicBezTo>
                  <a:cubicBezTo>
                    <a:pt x="5" y="2"/>
                    <a:pt x="7" y="7"/>
                    <a:pt x="7" y="8"/>
                  </a:cubicBezTo>
                  <a:cubicBezTo>
                    <a:pt x="7" y="10"/>
                    <a:pt x="5" y="8"/>
                    <a:pt x="4" y="10"/>
                  </a:cubicBezTo>
                  <a:cubicBezTo>
                    <a:pt x="4" y="12"/>
                    <a:pt x="3" y="21"/>
                    <a:pt x="5" y="23"/>
                  </a:cubicBezTo>
                  <a:cubicBezTo>
                    <a:pt x="7" y="24"/>
                    <a:pt x="2" y="23"/>
                    <a:pt x="2" y="25"/>
                  </a:cubicBezTo>
                  <a:cubicBezTo>
                    <a:pt x="2" y="26"/>
                    <a:pt x="1" y="32"/>
                    <a:pt x="0" y="33"/>
                  </a:cubicBezTo>
                  <a:cubicBezTo>
                    <a:pt x="0" y="33"/>
                    <a:pt x="1" y="34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3" y="36"/>
                    <a:pt x="6" y="40"/>
                    <a:pt x="7" y="40"/>
                  </a:cubicBezTo>
                  <a:cubicBezTo>
                    <a:pt x="9" y="40"/>
                    <a:pt x="13" y="38"/>
                    <a:pt x="14" y="41"/>
                  </a:cubicBezTo>
                  <a:cubicBezTo>
                    <a:pt x="14" y="44"/>
                    <a:pt x="12" y="50"/>
                    <a:pt x="12" y="51"/>
                  </a:cubicBezTo>
                  <a:cubicBezTo>
                    <a:pt x="13" y="53"/>
                    <a:pt x="19" y="62"/>
                    <a:pt x="19" y="61"/>
                  </a:cubicBezTo>
                  <a:cubicBezTo>
                    <a:pt x="20" y="60"/>
                    <a:pt x="18" y="56"/>
                    <a:pt x="20" y="54"/>
                  </a:cubicBezTo>
                  <a:cubicBezTo>
                    <a:pt x="22" y="52"/>
                    <a:pt x="25" y="54"/>
                    <a:pt x="25" y="49"/>
                  </a:cubicBezTo>
                  <a:cubicBezTo>
                    <a:pt x="24" y="43"/>
                    <a:pt x="27" y="43"/>
                    <a:pt x="24" y="4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2" name="Freeform 350">
              <a:extLst>
                <a:ext uri="{FF2B5EF4-FFF2-40B4-BE49-F238E27FC236}">
                  <a16:creationId xmlns:a16="http://schemas.microsoft.com/office/drawing/2014/main" id="{277BA822-48A0-7F19-3DF0-E250844709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5504" y="4910322"/>
              <a:ext cx="96826" cy="77778"/>
            </a:xfrm>
            <a:custGeom>
              <a:avLst/>
              <a:gdLst>
                <a:gd name="T0" fmla="*/ 0 w 26"/>
                <a:gd name="T1" fmla="*/ 3 h 21"/>
                <a:gd name="T2" fmla="*/ 23 w 26"/>
                <a:gd name="T3" fmla="*/ 19 h 21"/>
                <a:gd name="T4" fmla="*/ 0 w 26"/>
                <a:gd name="T5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1">
                  <a:moveTo>
                    <a:pt x="0" y="3"/>
                  </a:moveTo>
                  <a:cubicBezTo>
                    <a:pt x="0" y="0"/>
                    <a:pt x="26" y="17"/>
                    <a:pt x="23" y="19"/>
                  </a:cubicBezTo>
                  <a:cubicBezTo>
                    <a:pt x="20" y="21"/>
                    <a:pt x="0" y="6"/>
                    <a:pt x="0" y="3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3" name="Freeform 351">
              <a:extLst>
                <a:ext uri="{FF2B5EF4-FFF2-40B4-BE49-F238E27FC236}">
                  <a16:creationId xmlns:a16="http://schemas.microsoft.com/office/drawing/2014/main" id="{88D5DA99-D70F-546E-BF76-DA280AC63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5041" y="2967480"/>
              <a:ext cx="228570" cy="158730"/>
            </a:xfrm>
            <a:custGeom>
              <a:avLst/>
              <a:gdLst>
                <a:gd name="T0" fmla="*/ 50 w 61"/>
                <a:gd name="T1" fmla="*/ 34 h 42"/>
                <a:gd name="T2" fmla="*/ 53 w 61"/>
                <a:gd name="T3" fmla="*/ 36 h 42"/>
                <a:gd name="T4" fmla="*/ 59 w 61"/>
                <a:gd name="T5" fmla="*/ 38 h 42"/>
                <a:gd name="T6" fmla="*/ 61 w 61"/>
                <a:gd name="T7" fmla="*/ 37 h 42"/>
                <a:gd name="T8" fmla="*/ 60 w 61"/>
                <a:gd name="T9" fmla="*/ 26 h 42"/>
                <a:gd name="T10" fmla="*/ 52 w 61"/>
                <a:gd name="T11" fmla="*/ 21 h 42"/>
                <a:gd name="T12" fmla="*/ 51 w 61"/>
                <a:gd name="T13" fmla="*/ 14 h 42"/>
                <a:gd name="T14" fmla="*/ 40 w 61"/>
                <a:gd name="T15" fmla="*/ 15 h 42"/>
                <a:gd name="T16" fmla="*/ 33 w 61"/>
                <a:gd name="T17" fmla="*/ 14 h 42"/>
                <a:gd name="T18" fmla="*/ 26 w 61"/>
                <a:gd name="T19" fmla="*/ 13 h 42"/>
                <a:gd name="T20" fmla="*/ 15 w 61"/>
                <a:gd name="T21" fmla="*/ 13 h 42"/>
                <a:gd name="T22" fmla="*/ 20 w 61"/>
                <a:gd name="T23" fmla="*/ 8 h 42"/>
                <a:gd name="T24" fmla="*/ 23 w 61"/>
                <a:gd name="T25" fmla="*/ 8 h 42"/>
                <a:gd name="T26" fmla="*/ 26 w 61"/>
                <a:gd name="T27" fmla="*/ 1 h 42"/>
                <a:gd name="T28" fmla="*/ 20 w 61"/>
                <a:gd name="T29" fmla="*/ 2 h 42"/>
                <a:gd name="T30" fmla="*/ 14 w 61"/>
                <a:gd name="T31" fmla="*/ 4 h 42"/>
                <a:gd name="T32" fmla="*/ 10 w 61"/>
                <a:gd name="T33" fmla="*/ 8 h 42"/>
                <a:gd name="T34" fmla="*/ 8 w 61"/>
                <a:gd name="T35" fmla="*/ 13 h 42"/>
                <a:gd name="T36" fmla="*/ 0 w 61"/>
                <a:gd name="T37" fmla="*/ 15 h 42"/>
                <a:gd name="T38" fmla="*/ 5 w 61"/>
                <a:gd name="T39" fmla="*/ 22 h 42"/>
                <a:gd name="T40" fmla="*/ 6 w 61"/>
                <a:gd name="T41" fmla="*/ 29 h 42"/>
                <a:gd name="T42" fmla="*/ 3 w 61"/>
                <a:gd name="T43" fmla="*/ 37 h 42"/>
                <a:gd name="T44" fmla="*/ 6 w 61"/>
                <a:gd name="T45" fmla="*/ 38 h 42"/>
                <a:gd name="T46" fmla="*/ 15 w 61"/>
                <a:gd name="T47" fmla="*/ 35 h 42"/>
                <a:gd name="T48" fmla="*/ 22 w 61"/>
                <a:gd name="T49" fmla="*/ 32 h 42"/>
                <a:gd name="T50" fmla="*/ 30 w 61"/>
                <a:gd name="T51" fmla="*/ 25 h 42"/>
                <a:gd name="T52" fmla="*/ 33 w 61"/>
                <a:gd name="T53" fmla="*/ 31 h 42"/>
                <a:gd name="T54" fmla="*/ 33 w 61"/>
                <a:gd name="T55" fmla="*/ 41 h 42"/>
                <a:gd name="T56" fmla="*/ 37 w 61"/>
                <a:gd name="T57" fmla="*/ 41 h 42"/>
                <a:gd name="T58" fmla="*/ 41 w 61"/>
                <a:gd name="T59" fmla="*/ 40 h 42"/>
                <a:gd name="T60" fmla="*/ 50 w 61"/>
                <a:gd name="T61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1" h="42">
                  <a:moveTo>
                    <a:pt x="50" y="34"/>
                  </a:moveTo>
                  <a:cubicBezTo>
                    <a:pt x="52" y="35"/>
                    <a:pt x="51" y="36"/>
                    <a:pt x="53" y="36"/>
                  </a:cubicBezTo>
                  <a:cubicBezTo>
                    <a:pt x="54" y="36"/>
                    <a:pt x="57" y="36"/>
                    <a:pt x="59" y="38"/>
                  </a:cubicBezTo>
                  <a:cubicBezTo>
                    <a:pt x="60" y="37"/>
                    <a:pt x="61" y="37"/>
                    <a:pt x="61" y="37"/>
                  </a:cubicBezTo>
                  <a:cubicBezTo>
                    <a:pt x="61" y="37"/>
                    <a:pt x="60" y="29"/>
                    <a:pt x="60" y="26"/>
                  </a:cubicBezTo>
                  <a:cubicBezTo>
                    <a:pt x="59" y="24"/>
                    <a:pt x="52" y="21"/>
                    <a:pt x="52" y="21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4"/>
                    <a:pt x="42" y="16"/>
                    <a:pt x="40" y="15"/>
                  </a:cubicBezTo>
                  <a:cubicBezTo>
                    <a:pt x="38" y="14"/>
                    <a:pt x="35" y="16"/>
                    <a:pt x="33" y="14"/>
                  </a:cubicBezTo>
                  <a:cubicBezTo>
                    <a:pt x="32" y="12"/>
                    <a:pt x="29" y="15"/>
                    <a:pt x="26" y="13"/>
                  </a:cubicBezTo>
                  <a:cubicBezTo>
                    <a:pt x="23" y="12"/>
                    <a:pt x="15" y="14"/>
                    <a:pt x="15" y="13"/>
                  </a:cubicBezTo>
                  <a:cubicBezTo>
                    <a:pt x="14" y="11"/>
                    <a:pt x="18" y="7"/>
                    <a:pt x="20" y="8"/>
                  </a:cubicBezTo>
                  <a:cubicBezTo>
                    <a:pt x="21" y="8"/>
                    <a:pt x="22" y="8"/>
                    <a:pt x="23" y="8"/>
                  </a:cubicBezTo>
                  <a:cubicBezTo>
                    <a:pt x="24" y="6"/>
                    <a:pt x="26" y="2"/>
                    <a:pt x="26" y="1"/>
                  </a:cubicBezTo>
                  <a:cubicBezTo>
                    <a:pt x="25" y="0"/>
                    <a:pt x="22" y="1"/>
                    <a:pt x="20" y="2"/>
                  </a:cubicBezTo>
                  <a:cubicBezTo>
                    <a:pt x="18" y="4"/>
                    <a:pt x="15" y="2"/>
                    <a:pt x="14" y="4"/>
                  </a:cubicBezTo>
                  <a:cubicBezTo>
                    <a:pt x="13" y="6"/>
                    <a:pt x="12" y="8"/>
                    <a:pt x="10" y="8"/>
                  </a:cubicBezTo>
                  <a:cubicBezTo>
                    <a:pt x="8" y="8"/>
                    <a:pt x="10" y="12"/>
                    <a:pt x="8" y="13"/>
                  </a:cubicBezTo>
                  <a:cubicBezTo>
                    <a:pt x="5" y="14"/>
                    <a:pt x="1" y="13"/>
                    <a:pt x="0" y="15"/>
                  </a:cubicBezTo>
                  <a:cubicBezTo>
                    <a:pt x="0" y="18"/>
                    <a:pt x="5" y="19"/>
                    <a:pt x="5" y="22"/>
                  </a:cubicBezTo>
                  <a:cubicBezTo>
                    <a:pt x="5" y="24"/>
                    <a:pt x="8" y="27"/>
                    <a:pt x="6" y="29"/>
                  </a:cubicBezTo>
                  <a:cubicBezTo>
                    <a:pt x="4" y="30"/>
                    <a:pt x="3" y="33"/>
                    <a:pt x="3" y="37"/>
                  </a:cubicBezTo>
                  <a:cubicBezTo>
                    <a:pt x="4" y="38"/>
                    <a:pt x="6" y="39"/>
                    <a:pt x="6" y="38"/>
                  </a:cubicBezTo>
                  <a:cubicBezTo>
                    <a:pt x="8" y="35"/>
                    <a:pt x="15" y="38"/>
                    <a:pt x="15" y="35"/>
                  </a:cubicBezTo>
                  <a:cubicBezTo>
                    <a:pt x="15" y="33"/>
                    <a:pt x="22" y="34"/>
                    <a:pt x="22" y="32"/>
                  </a:cubicBezTo>
                  <a:cubicBezTo>
                    <a:pt x="22" y="29"/>
                    <a:pt x="27" y="24"/>
                    <a:pt x="30" y="25"/>
                  </a:cubicBezTo>
                  <a:cubicBezTo>
                    <a:pt x="32" y="25"/>
                    <a:pt x="29" y="30"/>
                    <a:pt x="33" y="31"/>
                  </a:cubicBezTo>
                  <a:cubicBezTo>
                    <a:pt x="36" y="33"/>
                    <a:pt x="31" y="39"/>
                    <a:pt x="33" y="41"/>
                  </a:cubicBezTo>
                  <a:cubicBezTo>
                    <a:pt x="34" y="42"/>
                    <a:pt x="35" y="41"/>
                    <a:pt x="37" y="41"/>
                  </a:cubicBezTo>
                  <a:cubicBezTo>
                    <a:pt x="38" y="41"/>
                    <a:pt x="40" y="40"/>
                    <a:pt x="41" y="40"/>
                  </a:cubicBezTo>
                  <a:cubicBezTo>
                    <a:pt x="44" y="37"/>
                    <a:pt x="49" y="33"/>
                    <a:pt x="50" y="3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4" name="Freeform 352">
              <a:extLst>
                <a:ext uri="{FF2B5EF4-FFF2-40B4-BE49-F238E27FC236}">
                  <a16:creationId xmlns:a16="http://schemas.microsoft.com/office/drawing/2014/main" id="{77CCADA8-5B4B-AABC-3850-E1FF2C554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1253" y="3489697"/>
              <a:ext cx="25397" cy="57144"/>
            </a:xfrm>
            <a:custGeom>
              <a:avLst/>
              <a:gdLst>
                <a:gd name="T0" fmla="*/ 6 w 7"/>
                <a:gd name="T1" fmla="*/ 14 h 15"/>
                <a:gd name="T2" fmla="*/ 3 w 7"/>
                <a:gd name="T3" fmla="*/ 11 h 15"/>
                <a:gd name="T4" fmla="*/ 0 w 7"/>
                <a:gd name="T5" fmla="*/ 5 h 15"/>
                <a:gd name="T6" fmla="*/ 3 w 7"/>
                <a:gd name="T7" fmla="*/ 3 h 15"/>
                <a:gd name="T8" fmla="*/ 4 w 7"/>
                <a:gd name="T9" fmla="*/ 9 h 15"/>
                <a:gd name="T10" fmla="*/ 6 w 7"/>
                <a:gd name="T1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5">
                  <a:moveTo>
                    <a:pt x="6" y="14"/>
                  </a:moveTo>
                  <a:cubicBezTo>
                    <a:pt x="6" y="15"/>
                    <a:pt x="3" y="12"/>
                    <a:pt x="3" y="11"/>
                  </a:cubicBezTo>
                  <a:cubicBezTo>
                    <a:pt x="3" y="9"/>
                    <a:pt x="0" y="8"/>
                    <a:pt x="0" y="5"/>
                  </a:cubicBezTo>
                  <a:cubicBezTo>
                    <a:pt x="0" y="2"/>
                    <a:pt x="1" y="0"/>
                    <a:pt x="3" y="3"/>
                  </a:cubicBezTo>
                  <a:cubicBezTo>
                    <a:pt x="5" y="6"/>
                    <a:pt x="4" y="8"/>
                    <a:pt x="4" y="9"/>
                  </a:cubicBezTo>
                  <a:cubicBezTo>
                    <a:pt x="4" y="10"/>
                    <a:pt x="7" y="12"/>
                    <a:pt x="6" y="14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5" name="Freeform 353">
              <a:extLst>
                <a:ext uri="{FF2B5EF4-FFF2-40B4-BE49-F238E27FC236}">
                  <a16:creationId xmlns:a16="http://schemas.microsoft.com/office/drawing/2014/main" id="{AB95070F-F03A-29AA-C316-9F4760EB5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9665" y="3948428"/>
              <a:ext cx="33335" cy="30159"/>
            </a:xfrm>
            <a:custGeom>
              <a:avLst/>
              <a:gdLst>
                <a:gd name="T0" fmla="*/ 2 w 9"/>
                <a:gd name="T1" fmla="*/ 7 h 8"/>
                <a:gd name="T2" fmla="*/ 1 w 9"/>
                <a:gd name="T3" fmla="*/ 3 h 8"/>
                <a:gd name="T4" fmla="*/ 7 w 9"/>
                <a:gd name="T5" fmla="*/ 1 h 8"/>
                <a:gd name="T6" fmla="*/ 8 w 9"/>
                <a:gd name="T7" fmla="*/ 6 h 8"/>
                <a:gd name="T8" fmla="*/ 2 w 9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8">
                  <a:moveTo>
                    <a:pt x="2" y="7"/>
                  </a:moveTo>
                  <a:cubicBezTo>
                    <a:pt x="0" y="6"/>
                    <a:pt x="3" y="4"/>
                    <a:pt x="1" y="3"/>
                  </a:cubicBezTo>
                  <a:cubicBezTo>
                    <a:pt x="0" y="2"/>
                    <a:pt x="5" y="0"/>
                    <a:pt x="7" y="1"/>
                  </a:cubicBezTo>
                  <a:cubicBezTo>
                    <a:pt x="9" y="3"/>
                    <a:pt x="9" y="5"/>
                    <a:pt x="8" y="6"/>
                  </a:cubicBezTo>
                  <a:cubicBezTo>
                    <a:pt x="6" y="7"/>
                    <a:pt x="2" y="8"/>
                    <a:pt x="2" y="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6" name="Freeform 354">
              <a:extLst>
                <a:ext uri="{FF2B5EF4-FFF2-40B4-BE49-F238E27FC236}">
                  <a16:creationId xmlns:a16="http://schemas.microsoft.com/office/drawing/2014/main" id="{9A5D4E9A-B80C-5ACD-BE1B-B9CFB04B1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2187" y="2953195"/>
              <a:ext cx="101587" cy="85714"/>
            </a:xfrm>
            <a:custGeom>
              <a:avLst/>
              <a:gdLst>
                <a:gd name="T0" fmla="*/ 25 w 27"/>
                <a:gd name="T1" fmla="*/ 18 h 23"/>
                <a:gd name="T2" fmla="*/ 20 w 27"/>
                <a:gd name="T3" fmla="*/ 12 h 23"/>
                <a:gd name="T4" fmla="*/ 17 w 27"/>
                <a:gd name="T5" fmla="*/ 5 h 23"/>
                <a:gd name="T6" fmla="*/ 15 w 27"/>
                <a:gd name="T7" fmla="*/ 1 h 23"/>
                <a:gd name="T8" fmla="*/ 8 w 27"/>
                <a:gd name="T9" fmla="*/ 0 h 23"/>
                <a:gd name="T10" fmla="*/ 0 w 27"/>
                <a:gd name="T11" fmla="*/ 2 h 23"/>
                <a:gd name="T12" fmla="*/ 1 w 27"/>
                <a:gd name="T13" fmla="*/ 8 h 23"/>
                <a:gd name="T14" fmla="*/ 8 w 27"/>
                <a:gd name="T15" fmla="*/ 11 h 23"/>
                <a:gd name="T16" fmla="*/ 9 w 27"/>
                <a:gd name="T17" fmla="*/ 14 h 23"/>
                <a:gd name="T18" fmla="*/ 10 w 27"/>
                <a:gd name="T19" fmla="*/ 14 h 23"/>
                <a:gd name="T20" fmla="*/ 12 w 27"/>
                <a:gd name="T21" fmla="*/ 15 h 23"/>
                <a:gd name="T22" fmla="*/ 16 w 27"/>
                <a:gd name="T23" fmla="*/ 17 h 23"/>
                <a:gd name="T24" fmla="*/ 20 w 27"/>
                <a:gd name="T25" fmla="*/ 19 h 23"/>
                <a:gd name="T26" fmla="*/ 21 w 27"/>
                <a:gd name="T27" fmla="*/ 23 h 23"/>
                <a:gd name="T28" fmla="*/ 27 w 27"/>
                <a:gd name="T29" fmla="*/ 22 h 23"/>
                <a:gd name="T30" fmla="*/ 25 w 27"/>
                <a:gd name="T3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" h="23">
                  <a:moveTo>
                    <a:pt x="25" y="18"/>
                  </a:moveTo>
                  <a:cubicBezTo>
                    <a:pt x="25" y="16"/>
                    <a:pt x="20" y="14"/>
                    <a:pt x="20" y="12"/>
                  </a:cubicBezTo>
                  <a:cubicBezTo>
                    <a:pt x="20" y="10"/>
                    <a:pt x="17" y="7"/>
                    <a:pt x="17" y="5"/>
                  </a:cubicBezTo>
                  <a:cubicBezTo>
                    <a:pt x="17" y="4"/>
                    <a:pt x="16" y="2"/>
                    <a:pt x="15" y="1"/>
                  </a:cubicBezTo>
                  <a:cubicBezTo>
                    <a:pt x="13" y="0"/>
                    <a:pt x="10" y="0"/>
                    <a:pt x="8" y="0"/>
                  </a:cubicBezTo>
                  <a:cubicBezTo>
                    <a:pt x="5" y="0"/>
                    <a:pt x="3" y="1"/>
                    <a:pt x="0" y="2"/>
                  </a:cubicBezTo>
                  <a:cubicBezTo>
                    <a:pt x="1" y="4"/>
                    <a:pt x="0" y="5"/>
                    <a:pt x="1" y="8"/>
                  </a:cubicBezTo>
                  <a:cubicBezTo>
                    <a:pt x="3" y="12"/>
                    <a:pt x="6" y="10"/>
                    <a:pt x="8" y="11"/>
                  </a:cubicBezTo>
                  <a:cubicBezTo>
                    <a:pt x="8" y="11"/>
                    <a:pt x="9" y="12"/>
                    <a:pt x="9" y="14"/>
                  </a:cubicBezTo>
                  <a:cubicBezTo>
                    <a:pt x="9" y="14"/>
                    <a:pt x="9" y="14"/>
                    <a:pt x="10" y="14"/>
                  </a:cubicBezTo>
                  <a:cubicBezTo>
                    <a:pt x="11" y="14"/>
                    <a:pt x="12" y="15"/>
                    <a:pt x="12" y="15"/>
                  </a:cubicBezTo>
                  <a:cubicBezTo>
                    <a:pt x="14" y="16"/>
                    <a:pt x="15" y="17"/>
                    <a:pt x="16" y="17"/>
                  </a:cubicBezTo>
                  <a:cubicBezTo>
                    <a:pt x="17" y="18"/>
                    <a:pt x="18" y="16"/>
                    <a:pt x="20" y="19"/>
                  </a:cubicBezTo>
                  <a:cubicBezTo>
                    <a:pt x="21" y="21"/>
                    <a:pt x="22" y="21"/>
                    <a:pt x="21" y="23"/>
                  </a:cubicBezTo>
                  <a:cubicBezTo>
                    <a:pt x="23" y="23"/>
                    <a:pt x="25" y="23"/>
                    <a:pt x="27" y="22"/>
                  </a:cubicBezTo>
                  <a:cubicBezTo>
                    <a:pt x="26" y="20"/>
                    <a:pt x="25" y="19"/>
                    <a:pt x="25" y="18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7" name="Freeform 355">
              <a:extLst>
                <a:ext uri="{FF2B5EF4-FFF2-40B4-BE49-F238E27FC236}">
                  <a16:creationId xmlns:a16="http://schemas.microsoft.com/office/drawing/2014/main" id="{FB28A510-2C2F-57AB-C825-6E4D1ACFA2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16636" y="2934144"/>
              <a:ext cx="150793" cy="120635"/>
            </a:xfrm>
            <a:custGeom>
              <a:avLst/>
              <a:gdLst>
                <a:gd name="T0" fmla="*/ 38 w 40"/>
                <a:gd name="T1" fmla="*/ 10 h 32"/>
                <a:gd name="T2" fmla="*/ 30 w 40"/>
                <a:gd name="T3" fmla="*/ 1 h 32"/>
                <a:gd name="T4" fmla="*/ 25 w 40"/>
                <a:gd name="T5" fmla="*/ 5 h 32"/>
                <a:gd name="T6" fmla="*/ 22 w 40"/>
                <a:gd name="T7" fmla="*/ 5 h 32"/>
                <a:gd name="T8" fmla="*/ 16 w 40"/>
                <a:gd name="T9" fmla="*/ 1 h 32"/>
                <a:gd name="T10" fmla="*/ 13 w 40"/>
                <a:gd name="T11" fmla="*/ 0 h 32"/>
                <a:gd name="T12" fmla="*/ 11 w 40"/>
                <a:gd name="T13" fmla="*/ 3 h 32"/>
                <a:gd name="T14" fmla="*/ 14 w 40"/>
                <a:gd name="T15" fmla="*/ 6 h 32"/>
                <a:gd name="T16" fmla="*/ 8 w 40"/>
                <a:gd name="T17" fmla="*/ 6 h 32"/>
                <a:gd name="T18" fmla="*/ 2 w 40"/>
                <a:gd name="T19" fmla="*/ 4 h 32"/>
                <a:gd name="T20" fmla="*/ 5 w 40"/>
                <a:gd name="T21" fmla="*/ 10 h 32"/>
                <a:gd name="T22" fmla="*/ 8 w 40"/>
                <a:gd name="T23" fmla="*/ 17 h 32"/>
                <a:gd name="T24" fmla="*/ 13 w 40"/>
                <a:gd name="T25" fmla="*/ 23 h 32"/>
                <a:gd name="T26" fmla="*/ 15 w 40"/>
                <a:gd name="T27" fmla="*/ 27 h 32"/>
                <a:gd name="T28" fmla="*/ 24 w 40"/>
                <a:gd name="T29" fmla="*/ 21 h 32"/>
                <a:gd name="T30" fmla="*/ 26 w 40"/>
                <a:gd name="T31" fmla="*/ 28 h 32"/>
                <a:gd name="T32" fmla="*/ 31 w 40"/>
                <a:gd name="T33" fmla="*/ 32 h 32"/>
                <a:gd name="T34" fmla="*/ 33 w 40"/>
                <a:gd name="T35" fmla="*/ 28 h 32"/>
                <a:gd name="T36" fmla="*/ 38 w 40"/>
                <a:gd name="T37" fmla="*/ 10 h 32"/>
                <a:gd name="T38" fmla="*/ 4 w 40"/>
                <a:gd name="T39" fmla="*/ 22 h 32"/>
                <a:gd name="T40" fmla="*/ 0 w 40"/>
                <a:gd name="T41" fmla="*/ 20 h 32"/>
                <a:gd name="T42" fmla="*/ 3 w 40"/>
                <a:gd name="T43" fmla="*/ 25 h 32"/>
                <a:gd name="T44" fmla="*/ 8 w 40"/>
                <a:gd name="T45" fmla="*/ 28 h 32"/>
                <a:gd name="T46" fmla="*/ 9 w 40"/>
                <a:gd name="T47" fmla="*/ 28 h 32"/>
                <a:gd name="T48" fmla="*/ 8 w 40"/>
                <a:gd name="T49" fmla="*/ 24 h 32"/>
                <a:gd name="T50" fmla="*/ 4 w 40"/>
                <a:gd name="T51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0" h="32">
                  <a:moveTo>
                    <a:pt x="38" y="10"/>
                  </a:moveTo>
                  <a:cubicBezTo>
                    <a:pt x="37" y="9"/>
                    <a:pt x="34" y="5"/>
                    <a:pt x="30" y="1"/>
                  </a:cubicBezTo>
                  <a:cubicBezTo>
                    <a:pt x="29" y="4"/>
                    <a:pt x="26" y="3"/>
                    <a:pt x="25" y="5"/>
                  </a:cubicBezTo>
                  <a:cubicBezTo>
                    <a:pt x="25" y="7"/>
                    <a:pt x="23" y="5"/>
                    <a:pt x="22" y="5"/>
                  </a:cubicBezTo>
                  <a:cubicBezTo>
                    <a:pt x="21" y="5"/>
                    <a:pt x="18" y="1"/>
                    <a:pt x="16" y="1"/>
                  </a:cubicBezTo>
                  <a:cubicBezTo>
                    <a:pt x="15" y="1"/>
                    <a:pt x="14" y="0"/>
                    <a:pt x="13" y="0"/>
                  </a:cubicBezTo>
                  <a:cubicBezTo>
                    <a:pt x="12" y="1"/>
                    <a:pt x="11" y="2"/>
                    <a:pt x="11" y="3"/>
                  </a:cubicBezTo>
                  <a:cubicBezTo>
                    <a:pt x="12" y="4"/>
                    <a:pt x="15" y="5"/>
                    <a:pt x="14" y="6"/>
                  </a:cubicBezTo>
                  <a:cubicBezTo>
                    <a:pt x="13" y="7"/>
                    <a:pt x="9" y="7"/>
                    <a:pt x="8" y="6"/>
                  </a:cubicBezTo>
                  <a:cubicBezTo>
                    <a:pt x="7" y="5"/>
                    <a:pt x="3" y="3"/>
                    <a:pt x="2" y="4"/>
                  </a:cubicBezTo>
                  <a:cubicBezTo>
                    <a:pt x="2" y="5"/>
                    <a:pt x="6" y="9"/>
                    <a:pt x="5" y="10"/>
                  </a:cubicBezTo>
                  <a:cubicBezTo>
                    <a:pt x="5" y="12"/>
                    <a:pt x="8" y="15"/>
                    <a:pt x="8" y="17"/>
                  </a:cubicBezTo>
                  <a:cubicBezTo>
                    <a:pt x="8" y="19"/>
                    <a:pt x="13" y="21"/>
                    <a:pt x="13" y="23"/>
                  </a:cubicBezTo>
                  <a:cubicBezTo>
                    <a:pt x="13" y="24"/>
                    <a:pt x="14" y="25"/>
                    <a:pt x="15" y="27"/>
                  </a:cubicBezTo>
                  <a:cubicBezTo>
                    <a:pt x="18" y="25"/>
                    <a:pt x="22" y="22"/>
                    <a:pt x="24" y="21"/>
                  </a:cubicBezTo>
                  <a:cubicBezTo>
                    <a:pt x="28" y="19"/>
                    <a:pt x="26" y="27"/>
                    <a:pt x="26" y="28"/>
                  </a:cubicBezTo>
                  <a:cubicBezTo>
                    <a:pt x="25" y="29"/>
                    <a:pt x="28" y="31"/>
                    <a:pt x="31" y="32"/>
                  </a:cubicBezTo>
                  <a:cubicBezTo>
                    <a:pt x="31" y="31"/>
                    <a:pt x="32" y="29"/>
                    <a:pt x="33" y="28"/>
                  </a:cubicBezTo>
                  <a:cubicBezTo>
                    <a:pt x="37" y="23"/>
                    <a:pt x="40" y="15"/>
                    <a:pt x="38" y="10"/>
                  </a:cubicBezTo>
                  <a:close/>
                  <a:moveTo>
                    <a:pt x="4" y="22"/>
                  </a:moveTo>
                  <a:cubicBezTo>
                    <a:pt x="3" y="22"/>
                    <a:pt x="2" y="21"/>
                    <a:pt x="0" y="20"/>
                  </a:cubicBezTo>
                  <a:cubicBezTo>
                    <a:pt x="0" y="22"/>
                    <a:pt x="0" y="24"/>
                    <a:pt x="3" y="25"/>
                  </a:cubicBezTo>
                  <a:cubicBezTo>
                    <a:pt x="6" y="26"/>
                    <a:pt x="1" y="27"/>
                    <a:pt x="8" y="28"/>
                  </a:cubicBezTo>
                  <a:cubicBezTo>
                    <a:pt x="8" y="28"/>
                    <a:pt x="9" y="28"/>
                    <a:pt x="9" y="28"/>
                  </a:cubicBezTo>
                  <a:cubicBezTo>
                    <a:pt x="10" y="26"/>
                    <a:pt x="9" y="26"/>
                    <a:pt x="8" y="24"/>
                  </a:cubicBezTo>
                  <a:cubicBezTo>
                    <a:pt x="6" y="21"/>
                    <a:pt x="5" y="23"/>
                    <a:pt x="4" y="2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8" name="Freeform 356">
              <a:extLst>
                <a:ext uri="{FF2B5EF4-FFF2-40B4-BE49-F238E27FC236}">
                  <a16:creationId xmlns:a16="http://schemas.microsoft.com/office/drawing/2014/main" id="{F3BB4760-134B-8D7A-9151-EA00ACC4F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7581" y="3057954"/>
              <a:ext cx="431744" cy="312698"/>
            </a:xfrm>
            <a:custGeom>
              <a:avLst/>
              <a:gdLst>
                <a:gd name="T0" fmla="*/ 111 w 115"/>
                <a:gd name="T1" fmla="*/ 12 h 83"/>
                <a:gd name="T2" fmla="*/ 108 w 115"/>
                <a:gd name="T3" fmla="*/ 10 h 83"/>
                <a:gd name="T4" fmla="*/ 99 w 115"/>
                <a:gd name="T5" fmla="*/ 16 h 83"/>
                <a:gd name="T6" fmla="*/ 95 w 115"/>
                <a:gd name="T7" fmla="*/ 17 h 83"/>
                <a:gd name="T8" fmla="*/ 91 w 115"/>
                <a:gd name="T9" fmla="*/ 17 h 83"/>
                <a:gd name="T10" fmla="*/ 91 w 115"/>
                <a:gd name="T11" fmla="*/ 7 h 83"/>
                <a:gd name="T12" fmla="*/ 88 w 115"/>
                <a:gd name="T13" fmla="*/ 1 h 83"/>
                <a:gd name="T14" fmla="*/ 80 w 115"/>
                <a:gd name="T15" fmla="*/ 8 h 83"/>
                <a:gd name="T16" fmla="*/ 73 w 115"/>
                <a:gd name="T17" fmla="*/ 11 h 83"/>
                <a:gd name="T18" fmla="*/ 64 w 115"/>
                <a:gd name="T19" fmla="*/ 14 h 83"/>
                <a:gd name="T20" fmla="*/ 57 w 115"/>
                <a:gd name="T21" fmla="*/ 12 h 83"/>
                <a:gd name="T22" fmla="*/ 51 w 115"/>
                <a:gd name="T23" fmla="*/ 9 h 83"/>
                <a:gd name="T24" fmla="*/ 44 w 115"/>
                <a:gd name="T25" fmla="*/ 8 h 83"/>
                <a:gd name="T26" fmla="*/ 38 w 115"/>
                <a:gd name="T27" fmla="*/ 12 h 83"/>
                <a:gd name="T28" fmla="*/ 33 w 115"/>
                <a:gd name="T29" fmla="*/ 20 h 83"/>
                <a:gd name="T30" fmla="*/ 22 w 115"/>
                <a:gd name="T31" fmla="*/ 27 h 83"/>
                <a:gd name="T32" fmla="*/ 15 w 115"/>
                <a:gd name="T33" fmla="*/ 29 h 83"/>
                <a:gd name="T34" fmla="*/ 9 w 115"/>
                <a:gd name="T35" fmla="*/ 28 h 83"/>
                <a:gd name="T36" fmla="*/ 5 w 115"/>
                <a:gd name="T37" fmla="*/ 31 h 83"/>
                <a:gd name="T38" fmla="*/ 2 w 115"/>
                <a:gd name="T39" fmla="*/ 38 h 83"/>
                <a:gd name="T40" fmla="*/ 1 w 115"/>
                <a:gd name="T41" fmla="*/ 45 h 83"/>
                <a:gd name="T42" fmla="*/ 1 w 115"/>
                <a:gd name="T43" fmla="*/ 53 h 83"/>
                <a:gd name="T44" fmla="*/ 3 w 115"/>
                <a:gd name="T45" fmla="*/ 62 h 83"/>
                <a:gd name="T46" fmla="*/ 10 w 115"/>
                <a:gd name="T47" fmla="*/ 67 h 83"/>
                <a:gd name="T48" fmla="*/ 2 w 115"/>
                <a:gd name="T49" fmla="*/ 78 h 83"/>
                <a:gd name="T50" fmla="*/ 4 w 115"/>
                <a:gd name="T51" fmla="*/ 81 h 83"/>
                <a:gd name="T52" fmla="*/ 16 w 115"/>
                <a:gd name="T53" fmla="*/ 82 h 83"/>
                <a:gd name="T54" fmla="*/ 49 w 115"/>
                <a:gd name="T55" fmla="*/ 78 h 83"/>
                <a:gd name="T56" fmla="*/ 48 w 115"/>
                <a:gd name="T57" fmla="*/ 70 h 83"/>
                <a:gd name="T58" fmla="*/ 54 w 115"/>
                <a:gd name="T59" fmla="*/ 66 h 83"/>
                <a:gd name="T60" fmla="*/ 60 w 115"/>
                <a:gd name="T61" fmla="*/ 65 h 83"/>
                <a:gd name="T62" fmla="*/ 68 w 115"/>
                <a:gd name="T63" fmla="*/ 62 h 83"/>
                <a:gd name="T64" fmla="*/ 72 w 115"/>
                <a:gd name="T65" fmla="*/ 58 h 83"/>
                <a:gd name="T66" fmla="*/ 75 w 115"/>
                <a:gd name="T67" fmla="*/ 50 h 83"/>
                <a:gd name="T68" fmla="*/ 80 w 115"/>
                <a:gd name="T69" fmla="*/ 46 h 83"/>
                <a:gd name="T70" fmla="*/ 78 w 115"/>
                <a:gd name="T71" fmla="*/ 41 h 83"/>
                <a:gd name="T72" fmla="*/ 87 w 115"/>
                <a:gd name="T73" fmla="*/ 41 h 83"/>
                <a:gd name="T74" fmla="*/ 87 w 115"/>
                <a:gd name="T75" fmla="*/ 35 h 83"/>
                <a:gd name="T76" fmla="*/ 91 w 115"/>
                <a:gd name="T77" fmla="*/ 29 h 83"/>
                <a:gd name="T78" fmla="*/ 90 w 115"/>
                <a:gd name="T79" fmla="*/ 25 h 83"/>
                <a:gd name="T80" fmla="*/ 91 w 115"/>
                <a:gd name="T81" fmla="*/ 20 h 83"/>
                <a:gd name="T82" fmla="*/ 92 w 115"/>
                <a:gd name="T83" fmla="*/ 20 h 83"/>
                <a:gd name="T84" fmla="*/ 96 w 115"/>
                <a:gd name="T85" fmla="*/ 19 h 83"/>
                <a:gd name="T86" fmla="*/ 107 w 115"/>
                <a:gd name="T87" fmla="*/ 15 h 83"/>
                <a:gd name="T88" fmla="*/ 115 w 115"/>
                <a:gd name="T89" fmla="*/ 13 h 83"/>
                <a:gd name="T90" fmla="*/ 111 w 115"/>
                <a:gd name="T91" fmla="*/ 1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" h="83">
                  <a:moveTo>
                    <a:pt x="111" y="12"/>
                  </a:moveTo>
                  <a:cubicBezTo>
                    <a:pt x="109" y="12"/>
                    <a:pt x="110" y="11"/>
                    <a:pt x="108" y="10"/>
                  </a:cubicBezTo>
                  <a:cubicBezTo>
                    <a:pt x="107" y="9"/>
                    <a:pt x="102" y="13"/>
                    <a:pt x="99" y="16"/>
                  </a:cubicBezTo>
                  <a:cubicBezTo>
                    <a:pt x="98" y="16"/>
                    <a:pt x="96" y="17"/>
                    <a:pt x="95" y="17"/>
                  </a:cubicBezTo>
                  <a:cubicBezTo>
                    <a:pt x="93" y="17"/>
                    <a:pt x="92" y="18"/>
                    <a:pt x="91" y="17"/>
                  </a:cubicBezTo>
                  <a:cubicBezTo>
                    <a:pt x="89" y="15"/>
                    <a:pt x="94" y="9"/>
                    <a:pt x="91" y="7"/>
                  </a:cubicBezTo>
                  <a:cubicBezTo>
                    <a:pt x="87" y="6"/>
                    <a:pt x="90" y="1"/>
                    <a:pt x="88" y="1"/>
                  </a:cubicBezTo>
                  <a:cubicBezTo>
                    <a:pt x="85" y="0"/>
                    <a:pt x="80" y="5"/>
                    <a:pt x="80" y="8"/>
                  </a:cubicBezTo>
                  <a:cubicBezTo>
                    <a:pt x="80" y="10"/>
                    <a:pt x="73" y="9"/>
                    <a:pt x="73" y="11"/>
                  </a:cubicBezTo>
                  <a:cubicBezTo>
                    <a:pt x="73" y="14"/>
                    <a:pt x="66" y="11"/>
                    <a:pt x="64" y="14"/>
                  </a:cubicBezTo>
                  <a:cubicBezTo>
                    <a:pt x="63" y="16"/>
                    <a:pt x="60" y="12"/>
                    <a:pt x="57" y="12"/>
                  </a:cubicBezTo>
                  <a:cubicBezTo>
                    <a:pt x="55" y="12"/>
                    <a:pt x="54" y="9"/>
                    <a:pt x="51" y="9"/>
                  </a:cubicBezTo>
                  <a:cubicBezTo>
                    <a:pt x="48" y="10"/>
                    <a:pt x="46" y="9"/>
                    <a:pt x="44" y="8"/>
                  </a:cubicBezTo>
                  <a:cubicBezTo>
                    <a:pt x="42" y="8"/>
                    <a:pt x="40" y="13"/>
                    <a:pt x="38" y="12"/>
                  </a:cubicBezTo>
                  <a:cubicBezTo>
                    <a:pt x="35" y="11"/>
                    <a:pt x="34" y="17"/>
                    <a:pt x="33" y="20"/>
                  </a:cubicBezTo>
                  <a:cubicBezTo>
                    <a:pt x="32" y="23"/>
                    <a:pt x="21" y="23"/>
                    <a:pt x="22" y="27"/>
                  </a:cubicBezTo>
                  <a:cubicBezTo>
                    <a:pt x="22" y="30"/>
                    <a:pt x="15" y="31"/>
                    <a:pt x="15" y="29"/>
                  </a:cubicBezTo>
                  <a:cubicBezTo>
                    <a:pt x="14" y="27"/>
                    <a:pt x="10" y="28"/>
                    <a:pt x="9" y="28"/>
                  </a:cubicBezTo>
                  <a:cubicBezTo>
                    <a:pt x="8" y="27"/>
                    <a:pt x="5" y="28"/>
                    <a:pt x="5" y="31"/>
                  </a:cubicBezTo>
                  <a:cubicBezTo>
                    <a:pt x="6" y="35"/>
                    <a:pt x="3" y="36"/>
                    <a:pt x="2" y="38"/>
                  </a:cubicBezTo>
                  <a:cubicBezTo>
                    <a:pt x="2" y="39"/>
                    <a:pt x="0" y="43"/>
                    <a:pt x="1" y="45"/>
                  </a:cubicBezTo>
                  <a:cubicBezTo>
                    <a:pt x="3" y="47"/>
                    <a:pt x="0" y="50"/>
                    <a:pt x="1" y="53"/>
                  </a:cubicBezTo>
                  <a:cubicBezTo>
                    <a:pt x="3" y="57"/>
                    <a:pt x="2" y="61"/>
                    <a:pt x="3" y="62"/>
                  </a:cubicBezTo>
                  <a:cubicBezTo>
                    <a:pt x="3" y="64"/>
                    <a:pt x="9" y="63"/>
                    <a:pt x="10" y="67"/>
                  </a:cubicBezTo>
                  <a:cubicBezTo>
                    <a:pt x="12" y="70"/>
                    <a:pt x="3" y="76"/>
                    <a:pt x="2" y="78"/>
                  </a:cubicBezTo>
                  <a:cubicBezTo>
                    <a:pt x="2" y="79"/>
                    <a:pt x="3" y="80"/>
                    <a:pt x="4" y="81"/>
                  </a:cubicBezTo>
                  <a:cubicBezTo>
                    <a:pt x="7" y="81"/>
                    <a:pt x="12" y="81"/>
                    <a:pt x="16" y="82"/>
                  </a:cubicBezTo>
                  <a:cubicBezTo>
                    <a:pt x="21" y="83"/>
                    <a:pt x="48" y="79"/>
                    <a:pt x="49" y="78"/>
                  </a:cubicBezTo>
                  <a:cubicBezTo>
                    <a:pt x="49" y="77"/>
                    <a:pt x="48" y="71"/>
                    <a:pt x="48" y="70"/>
                  </a:cubicBezTo>
                  <a:cubicBezTo>
                    <a:pt x="48" y="69"/>
                    <a:pt x="51" y="66"/>
                    <a:pt x="54" y="66"/>
                  </a:cubicBezTo>
                  <a:cubicBezTo>
                    <a:pt x="57" y="66"/>
                    <a:pt x="60" y="67"/>
                    <a:pt x="60" y="65"/>
                  </a:cubicBezTo>
                  <a:cubicBezTo>
                    <a:pt x="60" y="63"/>
                    <a:pt x="68" y="60"/>
                    <a:pt x="68" y="62"/>
                  </a:cubicBezTo>
                  <a:cubicBezTo>
                    <a:pt x="69" y="64"/>
                    <a:pt x="72" y="63"/>
                    <a:pt x="72" y="58"/>
                  </a:cubicBezTo>
                  <a:cubicBezTo>
                    <a:pt x="72" y="54"/>
                    <a:pt x="72" y="50"/>
                    <a:pt x="75" y="50"/>
                  </a:cubicBezTo>
                  <a:cubicBezTo>
                    <a:pt x="78" y="50"/>
                    <a:pt x="80" y="48"/>
                    <a:pt x="80" y="46"/>
                  </a:cubicBezTo>
                  <a:cubicBezTo>
                    <a:pt x="80" y="45"/>
                    <a:pt x="77" y="42"/>
                    <a:pt x="78" y="41"/>
                  </a:cubicBezTo>
                  <a:cubicBezTo>
                    <a:pt x="78" y="40"/>
                    <a:pt x="86" y="44"/>
                    <a:pt x="87" y="41"/>
                  </a:cubicBezTo>
                  <a:cubicBezTo>
                    <a:pt x="88" y="39"/>
                    <a:pt x="86" y="37"/>
                    <a:pt x="87" y="35"/>
                  </a:cubicBezTo>
                  <a:cubicBezTo>
                    <a:pt x="88" y="33"/>
                    <a:pt x="91" y="31"/>
                    <a:pt x="91" y="29"/>
                  </a:cubicBezTo>
                  <a:cubicBezTo>
                    <a:pt x="91" y="27"/>
                    <a:pt x="91" y="26"/>
                    <a:pt x="90" y="25"/>
                  </a:cubicBezTo>
                  <a:cubicBezTo>
                    <a:pt x="88" y="23"/>
                    <a:pt x="89" y="21"/>
                    <a:pt x="91" y="20"/>
                  </a:cubicBezTo>
                  <a:cubicBezTo>
                    <a:pt x="91" y="20"/>
                    <a:pt x="92" y="20"/>
                    <a:pt x="92" y="20"/>
                  </a:cubicBezTo>
                  <a:cubicBezTo>
                    <a:pt x="94" y="20"/>
                    <a:pt x="95" y="19"/>
                    <a:pt x="96" y="19"/>
                  </a:cubicBezTo>
                  <a:cubicBezTo>
                    <a:pt x="99" y="16"/>
                    <a:pt x="105" y="15"/>
                    <a:pt x="107" y="15"/>
                  </a:cubicBezTo>
                  <a:cubicBezTo>
                    <a:pt x="109" y="16"/>
                    <a:pt x="113" y="15"/>
                    <a:pt x="115" y="13"/>
                  </a:cubicBezTo>
                  <a:cubicBezTo>
                    <a:pt x="114" y="12"/>
                    <a:pt x="112" y="12"/>
                    <a:pt x="111" y="1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19" name="Freeform 357">
              <a:extLst>
                <a:ext uri="{FF2B5EF4-FFF2-40B4-BE49-F238E27FC236}">
                  <a16:creationId xmlns:a16="http://schemas.microsoft.com/office/drawing/2014/main" id="{DD10F8BE-B494-E268-EA0D-BFC87D04B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3459" y="3107161"/>
              <a:ext cx="498410" cy="450792"/>
            </a:xfrm>
            <a:custGeom>
              <a:avLst/>
              <a:gdLst>
                <a:gd name="T0" fmla="*/ 122 w 133"/>
                <a:gd name="T1" fmla="*/ 6 h 120"/>
                <a:gd name="T2" fmla="*/ 113 w 133"/>
                <a:gd name="T3" fmla="*/ 1 h 120"/>
                <a:gd name="T4" fmla="*/ 103 w 133"/>
                <a:gd name="T5" fmla="*/ 2 h 120"/>
                <a:gd name="T6" fmla="*/ 88 w 133"/>
                <a:gd name="T7" fmla="*/ 7 h 120"/>
                <a:gd name="T8" fmla="*/ 86 w 133"/>
                <a:gd name="T9" fmla="*/ 12 h 120"/>
                <a:gd name="T10" fmla="*/ 83 w 133"/>
                <a:gd name="T11" fmla="*/ 22 h 120"/>
                <a:gd name="T12" fmla="*/ 74 w 133"/>
                <a:gd name="T13" fmla="*/ 28 h 120"/>
                <a:gd name="T14" fmla="*/ 71 w 133"/>
                <a:gd name="T15" fmla="*/ 37 h 120"/>
                <a:gd name="T16" fmla="*/ 64 w 133"/>
                <a:gd name="T17" fmla="*/ 49 h 120"/>
                <a:gd name="T18" fmla="*/ 50 w 133"/>
                <a:gd name="T19" fmla="*/ 53 h 120"/>
                <a:gd name="T20" fmla="*/ 45 w 133"/>
                <a:gd name="T21" fmla="*/ 65 h 120"/>
                <a:gd name="T22" fmla="*/ 0 w 133"/>
                <a:gd name="T23" fmla="*/ 68 h 120"/>
                <a:gd name="T24" fmla="*/ 12 w 133"/>
                <a:gd name="T25" fmla="*/ 79 h 120"/>
                <a:gd name="T26" fmla="*/ 18 w 133"/>
                <a:gd name="T27" fmla="*/ 94 h 120"/>
                <a:gd name="T28" fmla="*/ 5 w 133"/>
                <a:gd name="T29" fmla="*/ 104 h 120"/>
                <a:gd name="T30" fmla="*/ 20 w 133"/>
                <a:gd name="T31" fmla="*/ 105 h 120"/>
                <a:gd name="T32" fmla="*/ 40 w 133"/>
                <a:gd name="T33" fmla="*/ 104 h 120"/>
                <a:gd name="T34" fmla="*/ 50 w 133"/>
                <a:gd name="T35" fmla="*/ 111 h 120"/>
                <a:gd name="T36" fmla="*/ 58 w 133"/>
                <a:gd name="T37" fmla="*/ 119 h 120"/>
                <a:gd name="T38" fmla="*/ 60 w 133"/>
                <a:gd name="T39" fmla="*/ 119 h 120"/>
                <a:gd name="T40" fmla="*/ 75 w 133"/>
                <a:gd name="T41" fmla="*/ 114 h 120"/>
                <a:gd name="T42" fmla="*/ 78 w 133"/>
                <a:gd name="T43" fmla="*/ 105 h 120"/>
                <a:gd name="T44" fmla="*/ 70 w 133"/>
                <a:gd name="T45" fmla="*/ 91 h 120"/>
                <a:gd name="T46" fmla="*/ 82 w 133"/>
                <a:gd name="T47" fmla="*/ 84 h 120"/>
                <a:gd name="T48" fmla="*/ 92 w 133"/>
                <a:gd name="T49" fmla="*/ 78 h 120"/>
                <a:gd name="T50" fmla="*/ 101 w 133"/>
                <a:gd name="T51" fmla="*/ 65 h 120"/>
                <a:gd name="T52" fmla="*/ 110 w 133"/>
                <a:gd name="T53" fmla="*/ 57 h 120"/>
                <a:gd name="T54" fmla="*/ 116 w 133"/>
                <a:gd name="T55" fmla="*/ 45 h 120"/>
                <a:gd name="T56" fmla="*/ 107 w 133"/>
                <a:gd name="T57" fmla="*/ 34 h 120"/>
                <a:gd name="T58" fmla="*/ 110 w 133"/>
                <a:gd name="T59" fmla="*/ 22 h 120"/>
                <a:gd name="T60" fmla="*/ 130 w 133"/>
                <a:gd name="T61" fmla="*/ 21 h 120"/>
                <a:gd name="T62" fmla="*/ 127 w 133"/>
                <a:gd name="T63" fmla="*/ 1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3" h="120">
                  <a:moveTo>
                    <a:pt x="127" y="12"/>
                  </a:moveTo>
                  <a:cubicBezTo>
                    <a:pt x="123" y="11"/>
                    <a:pt x="122" y="7"/>
                    <a:pt x="122" y="6"/>
                  </a:cubicBezTo>
                  <a:cubicBezTo>
                    <a:pt x="122" y="5"/>
                    <a:pt x="118" y="3"/>
                    <a:pt x="115" y="0"/>
                  </a:cubicBezTo>
                  <a:cubicBezTo>
                    <a:pt x="115" y="0"/>
                    <a:pt x="114" y="1"/>
                    <a:pt x="113" y="1"/>
                  </a:cubicBezTo>
                  <a:cubicBezTo>
                    <a:pt x="112" y="0"/>
                    <a:pt x="112" y="0"/>
                    <a:pt x="111" y="0"/>
                  </a:cubicBezTo>
                  <a:cubicBezTo>
                    <a:pt x="109" y="2"/>
                    <a:pt x="105" y="3"/>
                    <a:pt x="103" y="2"/>
                  </a:cubicBezTo>
                  <a:cubicBezTo>
                    <a:pt x="101" y="2"/>
                    <a:pt x="95" y="3"/>
                    <a:pt x="92" y="6"/>
                  </a:cubicBezTo>
                  <a:cubicBezTo>
                    <a:pt x="91" y="6"/>
                    <a:pt x="90" y="7"/>
                    <a:pt x="88" y="7"/>
                  </a:cubicBezTo>
                  <a:cubicBezTo>
                    <a:pt x="88" y="7"/>
                    <a:pt x="87" y="7"/>
                    <a:pt x="87" y="7"/>
                  </a:cubicBezTo>
                  <a:cubicBezTo>
                    <a:pt x="85" y="8"/>
                    <a:pt x="84" y="10"/>
                    <a:pt x="86" y="12"/>
                  </a:cubicBezTo>
                  <a:cubicBezTo>
                    <a:pt x="87" y="13"/>
                    <a:pt x="87" y="14"/>
                    <a:pt x="87" y="16"/>
                  </a:cubicBezTo>
                  <a:cubicBezTo>
                    <a:pt x="87" y="18"/>
                    <a:pt x="84" y="20"/>
                    <a:pt x="83" y="22"/>
                  </a:cubicBezTo>
                  <a:cubicBezTo>
                    <a:pt x="82" y="24"/>
                    <a:pt x="84" y="26"/>
                    <a:pt x="83" y="28"/>
                  </a:cubicBezTo>
                  <a:cubicBezTo>
                    <a:pt x="82" y="31"/>
                    <a:pt x="74" y="27"/>
                    <a:pt x="74" y="28"/>
                  </a:cubicBezTo>
                  <a:cubicBezTo>
                    <a:pt x="73" y="29"/>
                    <a:pt x="76" y="32"/>
                    <a:pt x="76" y="33"/>
                  </a:cubicBezTo>
                  <a:cubicBezTo>
                    <a:pt x="76" y="35"/>
                    <a:pt x="74" y="37"/>
                    <a:pt x="71" y="37"/>
                  </a:cubicBezTo>
                  <a:cubicBezTo>
                    <a:pt x="68" y="37"/>
                    <a:pt x="68" y="41"/>
                    <a:pt x="68" y="45"/>
                  </a:cubicBezTo>
                  <a:cubicBezTo>
                    <a:pt x="68" y="50"/>
                    <a:pt x="65" y="51"/>
                    <a:pt x="64" y="49"/>
                  </a:cubicBezTo>
                  <a:cubicBezTo>
                    <a:pt x="64" y="47"/>
                    <a:pt x="56" y="50"/>
                    <a:pt x="56" y="52"/>
                  </a:cubicBezTo>
                  <a:cubicBezTo>
                    <a:pt x="56" y="54"/>
                    <a:pt x="53" y="53"/>
                    <a:pt x="50" y="53"/>
                  </a:cubicBezTo>
                  <a:cubicBezTo>
                    <a:pt x="47" y="53"/>
                    <a:pt x="44" y="56"/>
                    <a:pt x="44" y="57"/>
                  </a:cubicBezTo>
                  <a:cubicBezTo>
                    <a:pt x="44" y="58"/>
                    <a:pt x="45" y="64"/>
                    <a:pt x="45" y="65"/>
                  </a:cubicBezTo>
                  <a:cubicBezTo>
                    <a:pt x="44" y="66"/>
                    <a:pt x="17" y="70"/>
                    <a:pt x="12" y="69"/>
                  </a:cubicBezTo>
                  <a:cubicBezTo>
                    <a:pt x="8" y="68"/>
                    <a:pt x="3" y="68"/>
                    <a:pt x="0" y="68"/>
                  </a:cubicBezTo>
                  <a:cubicBezTo>
                    <a:pt x="1" y="69"/>
                    <a:pt x="3" y="71"/>
                    <a:pt x="4" y="72"/>
                  </a:cubicBezTo>
                  <a:cubicBezTo>
                    <a:pt x="5" y="75"/>
                    <a:pt x="8" y="77"/>
                    <a:pt x="12" y="79"/>
                  </a:cubicBezTo>
                  <a:cubicBezTo>
                    <a:pt x="16" y="81"/>
                    <a:pt x="14" y="87"/>
                    <a:pt x="16" y="88"/>
                  </a:cubicBezTo>
                  <a:cubicBezTo>
                    <a:pt x="18" y="89"/>
                    <a:pt x="20" y="94"/>
                    <a:pt x="18" y="94"/>
                  </a:cubicBezTo>
                  <a:cubicBezTo>
                    <a:pt x="15" y="94"/>
                    <a:pt x="13" y="95"/>
                    <a:pt x="10" y="96"/>
                  </a:cubicBezTo>
                  <a:cubicBezTo>
                    <a:pt x="8" y="97"/>
                    <a:pt x="5" y="101"/>
                    <a:pt x="5" y="104"/>
                  </a:cubicBezTo>
                  <a:cubicBezTo>
                    <a:pt x="5" y="105"/>
                    <a:pt x="5" y="106"/>
                    <a:pt x="5" y="106"/>
                  </a:cubicBezTo>
                  <a:cubicBezTo>
                    <a:pt x="12" y="107"/>
                    <a:pt x="20" y="106"/>
                    <a:pt x="20" y="105"/>
                  </a:cubicBezTo>
                  <a:cubicBezTo>
                    <a:pt x="22" y="104"/>
                    <a:pt x="25" y="103"/>
                    <a:pt x="27" y="104"/>
                  </a:cubicBezTo>
                  <a:cubicBezTo>
                    <a:pt x="28" y="106"/>
                    <a:pt x="36" y="106"/>
                    <a:pt x="40" y="104"/>
                  </a:cubicBezTo>
                  <a:cubicBezTo>
                    <a:pt x="43" y="102"/>
                    <a:pt x="46" y="104"/>
                    <a:pt x="46" y="106"/>
                  </a:cubicBezTo>
                  <a:cubicBezTo>
                    <a:pt x="46" y="108"/>
                    <a:pt x="48" y="109"/>
                    <a:pt x="50" y="111"/>
                  </a:cubicBezTo>
                  <a:cubicBezTo>
                    <a:pt x="51" y="112"/>
                    <a:pt x="50" y="114"/>
                    <a:pt x="51" y="116"/>
                  </a:cubicBezTo>
                  <a:cubicBezTo>
                    <a:pt x="52" y="118"/>
                    <a:pt x="55" y="118"/>
                    <a:pt x="58" y="119"/>
                  </a:cubicBezTo>
                  <a:cubicBezTo>
                    <a:pt x="59" y="119"/>
                    <a:pt x="59" y="120"/>
                    <a:pt x="60" y="120"/>
                  </a:cubicBezTo>
                  <a:cubicBezTo>
                    <a:pt x="60" y="120"/>
                    <a:pt x="60" y="119"/>
                    <a:pt x="60" y="119"/>
                  </a:cubicBezTo>
                  <a:cubicBezTo>
                    <a:pt x="62" y="117"/>
                    <a:pt x="62" y="113"/>
                    <a:pt x="67" y="114"/>
                  </a:cubicBezTo>
                  <a:cubicBezTo>
                    <a:pt x="72" y="115"/>
                    <a:pt x="72" y="113"/>
                    <a:pt x="75" y="114"/>
                  </a:cubicBezTo>
                  <a:cubicBezTo>
                    <a:pt x="78" y="115"/>
                    <a:pt x="80" y="114"/>
                    <a:pt x="81" y="112"/>
                  </a:cubicBezTo>
                  <a:cubicBezTo>
                    <a:pt x="82" y="110"/>
                    <a:pt x="80" y="107"/>
                    <a:pt x="78" y="105"/>
                  </a:cubicBezTo>
                  <a:cubicBezTo>
                    <a:pt x="77" y="103"/>
                    <a:pt x="74" y="100"/>
                    <a:pt x="75" y="97"/>
                  </a:cubicBezTo>
                  <a:cubicBezTo>
                    <a:pt x="75" y="94"/>
                    <a:pt x="70" y="94"/>
                    <a:pt x="70" y="91"/>
                  </a:cubicBezTo>
                  <a:cubicBezTo>
                    <a:pt x="70" y="89"/>
                    <a:pt x="75" y="84"/>
                    <a:pt x="76" y="83"/>
                  </a:cubicBezTo>
                  <a:cubicBezTo>
                    <a:pt x="77" y="83"/>
                    <a:pt x="81" y="86"/>
                    <a:pt x="82" y="84"/>
                  </a:cubicBezTo>
                  <a:cubicBezTo>
                    <a:pt x="83" y="82"/>
                    <a:pt x="86" y="83"/>
                    <a:pt x="87" y="84"/>
                  </a:cubicBezTo>
                  <a:cubicBezTo>
                    <a:pt x="89" y="84"/>
                    <a:pt x="91" y="81"/>
                    <a:pt x="92" y="78"/>
                  </a:cubicBezTo>
                  <a:cubicBezTo>
                    <a:pt x="92" y="75"/>
                    <a:pt x="97" y="75"/>
                    <a:pt x="98" y="74"/>
                  </a:cubicBezTo>
                  <a:cubicBezTo>
                    <a:pt x="99" y="73"/>
                    <a:pt x="101" y="66"/>
                    <a:pt x="101" y="65"/>
                  </a:cubicBezTo>
                  <a:cubicBezTo>
                    <a:pt x="102" y="64"/>
                    <a:pt x="106" y="65"/>
                    <a:pt x="106" y="61"/>
                  </a:cubicBezTo>
                  <a:cubicBezTo>
                    <a:pt x="106" y="58"/>
                    <a:pt x="108" y="57"/>
                    <a:pt x="110" y="57"/>
                  </a:cubicBezTo>
                  <a:cubicBezTo>
                    <a:pt x="112" y="56"/>
                    <a:pt x="111" y="53"/>
                    <a:pt x="112" y="51"/>
                  </a:cubicBezTo>
                  <a:cubicBezTo>
                    <a:pt x="112" y="48"/>
                    <a:pt x="113" y="45"/>
                    <a:pt x="116" y="45"/>
                  </a:cubicBezTo>
                  <a:cubicBezTo>
                    <a:pt x="118" y="44"/>
                    <a:pt x="115" y="41"/>
                    <a:pt x="112" y="41"/>
                  </a:cubicBezTo>
                  <a:cubicBezTo>
                    <a:pt x="109" y="42"/>
                    <a:pt x="107" y="34"/>
                    <a:pt x="107" y="34"/>
                  </a:cubicBezTo>
                  <a:cubicBezTo>
                    <a:pt x="107" y="34"/>
                    <a:pt x="107" y="27"/>
                    <a:pt x="106" y="26"/>
                  </a:cubicBezTo>
                  <a:cubicBezTo>
                    <a:pt x="104" y="25"/>
                    <a:pt x="106" y="22"/>
                    <a:pt x="110" y="22"/>
                  </a:cubicBezTo>
                  <a:cubicBezTo>
                    <a:pt x="113" y="22"/>
                    <a:pt x="120" y="25"/>
                    <a:pt x="122" y="24"/>
                  </a:cubicBezTo>
                  <a:cubicBezTo>
                    <a:pt x="124" y="22"/>
                    <a:pt x="129" y="21"/>
                    <a:pt x="130" y="21"/>
                  </a:cubicBezTo>
                  <a:cubicBezTo>
                    <a:pt x="131" y="20"/>
                    <a:pt x="132" y="17"/>
                    <a:pt x="133" y="16"/>
                  </a:cubicBezTo>
                  <a:cubicBezTo>
                    <a:pt x="131" y="15"/>
                    <a:pt x="129" y="13"/>
                    <a:pt x="127" y="1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0" name="Freeform 358">
              <a:extLst>
                <a:ext uri="{FF2B5EF4-FFF2-40B4-BE49-F238E27FC236}">
                  <a16:creationId xmlns:a16="http://schemas.microsoft.com/office/drawing/2014/main" id="{EDB84DBC-6778-B6FC-D0C2-F51A0BF33F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10279" y="4113505"/>
              <a:ext cx="1388882" cy="503173"/>
            </a:xfrm>
            <a:custGeom>
              <a:avLst/>
              <a:gdLst>
                <a:gd name="T0" fmla="*/ 27 w 370"/>
                <a:gd name="T1" fmla="*/ 57 h 134"/>
                <a:gd name="T2" fmla="*/ 105 w 370"/>
                <a:gd name="T3" fmla="*/ 71 h 134"/>
                <a:gd name="T4" fmla="*/ 16 w 370"/>
                <a:gd name="T5" fmla="*/ 36 h 134"/>
                <a:gd name="T6" fmla="*/ 198 w 370"/>
                <a:gd name="T7" fmla="*/ 95 h 134"/>
                <a:gd name="T8" fmla="*/ 207 w 370"/>
                <a:gd name="T9" fmla="*/ 76 h 134"/>
                <a:gd name="T10" fmla="*/ 219 w 370"/>
                <a:gd name="T11" fmla="*/ 78 h 134"/>
                <a:gd name="T12" fmla="*/ 227 w 370"/>
                <a:gd name="T13" fmla="*/ 54 h 134"/>
                <a:gd name="T14" fmla="*/ 227 w 370"/>
                <a:gd name="T15" fmla="*/ 45 h 134"/>
                <a:gd name="T16" fmla="*/ 212 w 370"/>
                <a:gd name="T17" fmla="*/ 37 h 134"/>
                <a:gd name="T18" fmla="*/ 190 w 370"/>
                <a:gd name="T19" fmla="*/ 69 h 134"/>
                <a:gd name="T20" fmla="*/ 88 w 370"/>
                <a:gd name="T21" fmla="*/ 75 h 134"/>
                <a:gd name="T22" fmla="*/ 85 w 370"/>
                <a:gd name="T23" fmla="*/ 61 h 134"/>
                <a:gd name="T24" fmla="*/ 82 w 370"/>
                <a:gd name="T25" fmla="*/ 67 h 134"/>
                <a:gd name="T26" fmla="*/ 68 w 370"/>
                <a:gd name="T27" fmla="*/ 50 h 134"/>
                <a:gd name="T28" fmla="*/ 56 w 370"/>
                <a:gd name="T29" fmla="*/ 35 h 134"/>
                <a:gd name="T30" fmla="*/ 37 w 370"/>
                <a:gd name="T31" fmla="*/ 23 h 134"/>
                <a:gd name="T32" fmla="*/ 2 w 370"/>
                <a:gd name="T33" fmla="*/ 3 h 134"/>
                <a:gd name="T34" fmla="*/ 32 w 370"/>
                <a:gd name="T35" fmla="*/ 46 h 134"/>
                <a:gd name="T36" fmla="*/ 71 w 370"/>
                <a:gd name="T37" fmla="*/ 91 h 134"/>
                <a:gd name="T38" fmla="*/ 86 w 370"/>
                <a:gd name="T39" fmla="*/ 83 h 134"/>
                <a:gd name="T40" fmla="*/ 266 w 370"/>
                <a:gd name="T41" fmla="*/ 37 h 134"/>
                <a:gd name="T42" fmla="*/ 268 w 370"/>
                <a:gd name="T43" fmla="*/ 45 h 134"/>
                <a:gd name="T44" fmla="*/ 249 w 370"/>
                <a:gd name="T45" fmla="*/ 75 h 134"/>
                <a:gd name="T46" fmla="*/ 198 w 370"/>
                <a:gd name="T47" fmla="*/ 119 h 134"/>
                <a:gd name="T48" fmla="*/ 230 w 370"/>
                <a:gd name="T49" fmla="*/ 115 h 134"/>
                <a:gd name="T50" fmla="*/ 276 w 370"/>
                <a:gd name="T51" fmla="*/ 76 h 134"/>
                <a:gd name="T52" fmla="*/ 155 w 370"/>
                <a:gd name="T53" fmla="*/ 112 h 134"/>
                <a:gd name="T54" fmla="*/ 140 w 370"/>
                <a:gd name="T55" fmla="*/ 105 h 134"/>
                <a:gd name="T56" fmla="*/ 87 w 370"/>
                <a:gd name="T57" fmla="*/ 98 h 134"/>
                <a:gd name="T58" fmla="*/ 94 w 370"/>
                <a:gd name="T59" fmla="*/ 108 h 134"/>
                <a:gd name="T60" fmla="*/ 143 w 370"/>
                <a:gd name="T61" fmla="*/ 117 h 134"/>
                <a:gd name="T62" fmla="*/ 155 w 370"/>
                <a:gd name="T63" fmla="*/ 112 h 134"/>
                <a:gd name="T64" fmla="*/ 322 w 370"/>
                <a:gd name="T65" fmla="*/ 75 h 134"/>
                <a:gd name="T66" fmla="*/ 289 w 370"/>
                <a:gd name="T67" fmla="*/ 58 h 134"/>
                <a:gd name="T68" fmla="*/ 310 w 370"/>
                <a:gd name="T69" fmla="*/ 66 h 134"/>
                <a:gd name="T70" fmla="*/ 298 w 370"/>
                <a:gd name="T71" fmla="*/ 71 h 134"/>
                <a:gd name="T72" fmla="*/ 317 w 370"/>
                <a:gd name="T73" fmla="*/ 81 h 134"/>
                <a:gd name="T74" fmla="*/ 351 w 370"/>
                <a:gd name="T75" fmla="*/ 102 h 134"/>
                <a:gd name="T76" fmla="*/ 362 w 370"/>
                <a:gd name="T77" fmla="*/ 114 h 134"/>
                <a:gd name="T78" fmla="*/ 343 w 370"/>
                <a:gd name="T79" fmla="*/ 61 h 134"/>
                <a:gd name="T80" fmla="*/ 236 w 370"/>
                <a:gd name="T81" fmla="*/ 124 h 134"/>
                <a:gd name="T82" fmla="*/ 239 w 370"/>
                <a:gd name="T83" fmla="*/ 126 h 134"/>
                <a:gd name="T84" fmla="*/ 242 w 370"/>
                <a:gd name="T85" fmla="*/ 123 h 134"/>
                <a:gd name="T86" fmla="*/ 178 w 370"/>
                <a:gd name="T87" fmla="*/ 47 h 134"/>
                <a:gd name="T88" fmla="*/ 182 w 370"/>
                <a:gd name="T89" fmla="*/ 27 h 134"/>
                <a:gd name="T90" fmla="*/ 181 w 370"/>
                <a:gd name="T91" fmla="*/ 14 h 134"/>
                <a:gd name="T92" fmla="*/ 160 w 370"/>
                <a:gd name="T93" fmla="*/ 25 h 134"/>
                <a:gd name="T94" fmla="*/ 143 w 370"/>
                <a:gd name="T95" fmla="*/ 36 h 134"/>
                <a:gd name="T96" fmla="*/ 118 w 370"/>
                <a:gd name="T97" fmla="*/ 37 h 134"/>
                <a:gd name="T98" fmla="*/ 110 w 370"/>
                <a:gd name="T99" fmla="*/ 43 h 134"/>
                <a:gd name="T100" fmla="*/ 128 w 370"/>
                <a:gd name="T101" fmla="*/ 73 h 134"/>
                <a:gd name="T102" fmla="*/ 156 w 370"/>
                <a:gd name="T103" fmla="*/ 79 h 134"/>
                <a:gd name="T104" fmla="*/ 191 w 370"/>
                <a:gd name="T105" fmla="*/ 126 h 134"/>
                <a:gd name="T106" fmla="*/ 191 w 370"/>
                <a:gd name="T107" fmla="*/ 126 h 134"/>
                <a:gd name="T108" fmla="*/ 168 w 370"/>
                <a:gd name="T109" fmla="*/ 120 h 134"/>
                <a:gd name="T110" fmla="*/ 179 w 370"/>
                <a:gd name="T111" fmla="*/ 11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0" h="134">
                  <a:moveTo>
                    <a:pt x="27" y="57"/>
                  </a:moveTo>
                  <a:cubicBezTo>
                    <a:pt x="27" y="58"/>
                    <a:pt x="29" y="63"/>
                    <a:pt x="31" y="61"/>
                  </a:cubicBezTo>
                  <a:cubicBezTo>
                    <a:pt x="33" y="60"/>
                    <a:pt x="29" y="53"/>
                    <a:pt x="27" y="57"/>
                  </a:cubicBezTo>
                  <a:close/>
                  <a:moveTo>
                    <a:pt x="105" y="71"/>
                  </a:moveTo>
                  <a:cubicBezTo>
                    <a:pt x="105" y="69"/>
                    <a:pt x="99" y="70"/>
                    <a:pt x="101" y="73"/>
                  </a:cubicBezTo>
                  <a:cubicBezTo>
                    <a:pt x="103" y="76"/>
                    <a:pt x="105" y="73"/>
                    <a:pt x="105" y="71"/>
                  </a:cubicBezTo>
                  <a:close/>
                  <a:moveTo>
                    <a:pt x="16" y="36"/>
                  </a:moveTo>
                  <a:cubicBezTo>
                    <a:pt x="15" y="39"/>
                    <a:pt x="18" y="46"/>
                    <a:pt x="21" y="43"/>
                  </a:cubicBezTo>
                  <a:cubicBezTo>
                    <a:pt x="23" y="40"/>
                    <a:pt x="16" y="34"/>
                    <a:pt x="16" y="36"/>
                  </a:cubicBezTo>
                  <a:close/>
                  <a:moveTo>
                    <a:pt x="195" y="77"/>
                  </a:moveTo>
                  <a:cubicBezTo>
                    <a:pt x="199" y="77"/>
                    <a:pt x="198" y="82"/>
                    <a:pt x="198" y="85"/>
                  </a:cubicBezTo>
                  <a:cubicBezTo>
                    <a:pt x="197" y="89"/>
                    <a:pt x="195" y="96"/>
                    <a:pt x="198" y="95"/>
                  </a:cubicBezTo>
                  <a:cubicBezTo>
                    <a:pt x="202" y="93"/>
                    <a:pt x="205" y="89"/>
                    <a:pt x="203" y="87"/>
                  </a:cubicBezTo>
                  <a:cubicBezTo>
                    <a:pt x="200" y="85"/>
                    <a:pt x="201" y="75"/>
                    <a:pt x="202" y="72"/>
                  </a:cubicBezTo>
                  <a:cubicBezTo>
                    <a:pt x="203" y="70"/>
                    <a:pt x="209" y="71"/>
                    <a:pt x="207" y="76"/>
                  </a:cubicBezTo>
                  <a:cubicBezTo>
                    <a:pt x="205" y="80"/>
                    <a:pt x="211" y="79"/>
                    <a:pt x="211" y="84"/>
                  </a:cubicBezTo>
                  <a:cubicBezTo>
                    <a:pt x="211" y="88"/>
                    <a:pt x="214" y="86"/>
                    <a:pt x="218" y="85"/>
                  </a:cubicBezTo>
                  <a:cubicBezTo>
                    <a:pt x="222" y="83"/>
                    <a:pt x="221" y="81"/>
                    <a:pt x="219" y="78"/>
                  </a:cubicBezTo>
                  <a:cubicBezTo>
                    <a:pt x="216" y="76"/>
                    <a:pt x="221" y="71"/>
                    <a:pt x="217" y="69"/>
                  </a:cubicBezTo>
                  <a:cubicBezTo>
                    <a:pt x="213" y="67"/>
                    <a:pt x="211" y="63"/>
                    <a:pt x="214" y="62"/>
                  </a:cubicBezTo>
                  <a:cubicBezTo>
                    <a:pt x="218" y="62"/>
                    <a:pt x="228" y="56"/>
                    <a:pt x="227" y="54"/>
                  </a:cubicBezTo>
                  <a:cubicBezTo>
                    <a:pt x="225" y="51"/>
                    <a:pt x="211" y="54"/>
                    <a:pt x="210" y="58"/>
                  </a:cubicBezTo>
                  <a:cubicBezTo>
                    <a:pt x="209" y="63"/>
                    <a:pt x="199" y="58"/>
                    <a:pt x="200" y="51"/>
                  </a:cubicBezTo>
                  <a:cubicBezTo>
                    <a:pt x="201" y="43"/>
                    <a:pt x="221" y="42"/>
                    <a:pt x="227" y="45"/>
                  </a:cubicBezTo>
                  <a:cubicBezTo>
                    <a:pt x="232" y="47"/>
                    <a:pt x="239" y="40"/>
                    <a:pt x="241" y="36"/>
                  </a:cubicBezTo>
                  <a:cubicBezTo>
                    <a:pt x="243" y="32"/>
                    <a:pt x="236" y="37"/>
                    <a:pt x="232" y="40"/>
                  </a:cubicBezTo>
                  <a:cubicBezTo>
                    <a:pt x="228" y="42"/>
                    <a:pt x="217" y="39"/>
                    <a:pt x="212" y="37"/>
                  </a:cubicBezTo>
                  <a:cubicBezTo>
                    <a:pt x="207" y="36"/>
                    <a:pt x="207" y="41"/>
                    <a:pt x="202" y="41"/>
                  </a:cubicBezTo>
                  <a:cubicBezTo>
                    <a:pt x="198" y="42"/>
                    <a:pt x="199" y="52"/>
                    <a:pt x="197" y="53"/>
                  </a:cubicBezTo>
                  <a:cubicBezTo>
                    <a:pt x="194" y="55"/>
                    <a:pt x="194" y="62"/>
                    <a:pt x="190" y="69"/>
                  </a:cubicBezTo>
                  <a:cubicBezTo>
                    <a:pt x="186" y="76"/>
                    <a:pt x="192" y="77"/>
                    <a:pt x="195" y="77"/>
                  </a:cubicBezTo>
                  <a:close/>
                  <a:moveTo>
                    <a:pt x="86" y="83"/>
                  </a:moveTo>
                  <a:cubicBezTo>
                    <a:pt x="86" y="80"/>
                    <a:pt x="88" y="76"/>
                    <a:pt x="88" y="75"/>
                  </a:cubicBezTo>
                  <a:cubicBezTo>
                    <a:pt x="88" y="73"/>
                    <a:pt x="89" y="72"/>
                    <a:pt x="91" y="73"/>
                  </a:cubicBezTo>
                  <a:cubicBezTo>
                    <a:pt x="93" y="73"/>
                    <a:pt x="93" y="68"/>
                    <a:pt x="91" y="68"/>
                  </a:cubicBezTo>
                  <a:cubicBezTo>
                    <a:pt x="90" y="67"/>
                    <a:pt x="89" y="61"/>
                    <a:pt x="85" y="61"/>
                  </a:cubicBezTo>
                  <a:cubicBezTo>
                    <a:pt x="81" y="61"/>
                    <a:pt x="81" y="65"/>
                    <a:pt x="84" y="65"/>
                  </a:cubicBezTo>
                  <a:cubicBezTo>
                    <a:pt x="86" y="65"/>
                    <a:pt x="87" y="67"/>
                    <a:pt x="87" y="69"/>
                  </a:cubicBezTo>
                  <a:cubicBezTo>
                    <a:pt x="86" y="71"/>
                    <a:pt x="85" y="67"/>
                    <a:pt x="82" y="67"/>
                  </a:cubicBezTo>
                  <a:cubicBezTo>
                    <a:pt x="78" y="68"/>
                    <a:pt x="81" y="63"/>
                    <a:pt x="77" y="63"/>
                  </a:cubicBezTo>
                  <a:cubicBezTo>
                    <a:pt x="73" y="63"/>
                    <a:pt x="74" y="56"/>
                    <a:pt x="70" y="56"/>
                  </a:cubicBezTo>
                  <a:cubicBezTo>
                    <a:pt x="66" y="56"/>
                    <a:pt x="65" y="53"/>
                    <a:pt x="68" y="50"/>
                  </a:cubicBezTo>
                  <a:cubicBezTo>
                    <a:pt x="71" y="48"/>
                    <a:pt x="64" y="46"/>
                    <a:pt x="64" y="43"/>
                  </a:cubicBezTo>
                  <a:cubicBezTo>
                    <a:pt x="64" y="40"/>
                    <a:pt x="60" y="42"/>
                    <a:pt x="60" y="39"/>
                  </a:cubicBezTo>
                  <a:cubicBezTo>
                    <a:pt x="60" y="37"/>
                    <a:pt x="58" y="38"/>
                    <a:pt x="56" y="35"/>
                  </a:cubicBezTo>
                  <a:cubicBezTo>
                    <a:pt x="53" y="32"/>
                    <a:pt x="52" y="35"/>
                    <a:pt x="51" y="33"/>
                  </a:cubicBezTo>
                  <a:cubicBezTo>
                    <a:pt x="49" y="31"/>
                    <a:pt x="46" y="30"/>
                    <a:pt x="44" y="30"/>
                  </a:cubicBezTo>
                  <a:cubicBezTo>
                    <a:pt x="43" y="31"/>
                    <a:pt x="39" y="27"/>
                    <a:pt x="37" y="23"/>
                  </a:cubicBezTo>
                  <a:cubicBezTo>
                    <a:pt x="36" y="20"/>
                    <a:pt x="25" y="15"/>
                    <a:pt x="24" y="11"/>
                  </a:cubicBezTo>
                  <a:cubicBezTo>
                    <a:pt x="22" y="7"/>
                    <a:pt x="19" y="6"/>
                    <a:pt x="12" y="6"/>
                  </a:cubicBezTo>
                  <a:cubicBezTo>
                    <a:pt x="6" y="6"/>
                    <a:pt x="3" y="0"/>
                    <a:pt x="2" y="3"/>
                  </a:cubicBezTo>
                  <a:cubicBezTo>
                    <a:pt x="0" y="7"/>
                    <a:pt x="9" y="16"/>
                    <a:pt x="13" y="18"/>
                  </a:cubicBezTo>
                  <a:cubicBezTo>
                    <a:pt x="17" y="21"/>
                    <a:pt x="19" y="29"/>
                    <a:pt x="24" y="30"/>
                  </a:cubicBezTo>
                  <a:cubicBezTo>
                    <a:pt x="28" y="30"/>
                    <a:pt x="29" y="45"/>
                    <a:pt x="32" y="46"/>
                  </a:cubicBezTo>
                  <a:cubicBezTo>
                    <a:pt x="36" y="46"/>
                    <a:pt x="44" y="58"/>
                    <a:pt x="45" y="64"/>
                  </a:cubicBezTo>
                  <a:cubicBezTo>
                    <a:pt x="46" y="71"/>
                    <a:pt x="54" y="74"/>
                    <a:pt x="57" y="78"/>
                  </a:cubicBezTo>
                  <a:cubicBezTo>
                    <a:pt x="59" y="83"/>
                    <a:pt x="70" y="89"/>
                    <a:pt x="71" y="91"/>
                  </a:cubicBezTo>
                  <a:cubicBezTo>
                    <a:pt x="72" y="93"/>
                    <a:pt x="74" y="97"/>
                    <a:pt x="75" y="95"/>
                  </a:cubicBezTo>
                  <a:cubicBezTo>
                    <a:pt x="76" y="93"/>
                    <a:pt x="81" y="95"/>
                    <a:pt x="84" y="95"/>
                  </a:cubicBezTo>
                  <a:cubicBezTo>
                    <a:pt x="86" y="95"/>
                    <a:pt x="87" y="86"/>
                    <a:pt x="86" y="83"/>
                  </a:cubicBezTo>
                  <a:close/>
                  <a:moveTo>
                    <a:pt x="268" y="45"/>
                  </a:moveTo>
                  <a:cubicBezTo>
                    <a:pt x="273" y="46"/>
                    <a:pt x="271" y="42"/>
                    <a:pt x="271" y="39"/>
                  </a:cubicBezTo>
                  <a:cubicBezTo>
                    <a:pt x="271" y="36"/>
                    <a:pt x="266" y="39"/>
                    <a:pt x="266" y="37"/>
                  </a:cubicBezTo>
                  <a:cubicBezTo>
                    <a:pt x="266" y="35"/>
                    <a:pt x="265" y="29"/>
                    <a:pt x="261" y="34"/>
                  </a:cubicBezTo>
                  <a:cubicBezTo>
                    <a:pt x="257" y="39"/>
                    <a:pt x="262" y="52"/>
                    <a:pt x="265" y="51"/>
                  </a:cubicBezTo>
                  <a:cubicBezTo>
                    <a:pt x="268" y="51"/>
                    <a:pt x="263" y="45"/>
                    <a:pt x="268" y="45"/>
                  </a:cubicBezTo>
                  <a:close/>
                  <a:moveTo>
                    <a:pt x="249" y="75"/>
                  </a:moveTo>
                  <a:cubicBezTo>
                    <a:pt x="250" y="79"/>
                    <a:pt x="256" y="81"/>
                    <a:pt x="258" y="77"/>
                  </a:cubicBezTo>
                  <a:cubicBezTo>
                    <a:pt x="260" y="74"/>
                    <a:pt x="248" y="70"/>
                    <a:pt x="249" y="75"/>
                  </a:cubicBezTo>
                  <a:close/>
                  <a:moveTo>
                    <a:pt x="230" y="115"/>
                  </a:moveTo>
                  <a:cubicBezTo>
                    <a:pt x="223" y="114"/>
                    <a:pt x="219" y="119"/>
                    <a:pt x="213" y="116"/>
                  </a:cubicBezTo>
                  <a:cubicBezTo>
                    <a:pt x="206" y="114"/>
                    <a:pt x="197" y="116"/>
                    <a:pt x="198" y="119"/>
                  </a:cubicBezTo>
                  <a:cubicBezTo>
                    <a:pt x="199" y="120"/>
                    <a:pt x="204" y="121"/>
                    <a:pt x="211" y="121"/>
                  </a:cubicBezTo>
                  <a:cubicBezTo>
                    <a:pt x="217" y="121"/>
                    <a:pt x="223" y="118"/>
                    <a:pt x="227" y="117"/>
                  </a:cubicBezTo>
                  <a:cubicBezTo>
                    <a:pt x="232" y="117"/>
                    <a:pt x="236" y="116"/>
                    <a:pt x="230" y="115"/>
                  </a:cubicBezTo>
                  <a:close/>
                  <a:moveTo>
                    <a:pt x="281" y="71"/>
                  </a:moveTo>
                  <a:cubicBezTo>
                    <a:pt x="275" y="70"/>
                    <a:pt x="264" y="71"/>
                    <a:pt x="265" y="74"/>
                  </a:cubicBezTo>
                  <a:cubicBezTo>
                    <a:pt x="266" y="77"/>
                    <a:pt x="271" y="76"/>
                    <a:pt x="276" y="76"/>
                  </a:cubicBezTo>
                  <a:cubicBezTo>
                    <a:pt x="281" y="76"/>
                    <a:pt x="284" y="80"/>
                    <a:pt x="286" y="80"/>
                  </a:cubicBezTo>
                  <a:cubicBezTo>
                    <a:pt x="289" y="80"/>
                    <a:pt x="287" y="73"/>
                    <a:pt x="281" y="71"/>
                  </a:cubicBezTo>
                  <a:close/>
                  <a:moveTo>
                    <a:pt x="155" y="112"/>
                  </a:moveTo>
                  <a:cubicBezTo>
                    <a:pt x="155" y="110"/>
                    <a:pt x="146" y="112"/>
                    <a:pt x="141" y="110"/>
                  </a:cubicBezTo>
                  <a:cubicBezTo>
                    <a:pt x="137" y="108"/>
                    <a:pt x="146" y="107"/>
                    <a:pt x="149" y="105"/>
                  </a:cubicBezTo>
                  <a:cubicBezTo>
                    <a:pt x="153" y="103"/>
                    <a:pt x="148" y="102"/>
                    <a:pt x="140" y="105"/>
                  </a:cubicBezTo>
                  <a:cubicBezTo>
                    <a:pt x="132" y="107"/>
                    <a:pt x="124" y="99"/>
                    <a:pt x="123" y="103"/>
                  </a:cubicBezTo>
                  <a:cubicBezTo>
                    <a:pt x="123" y="106"/>
                    <a:pt x="110" y="101"/>
                    <a:pt x="106" y="99"/>
                  </a:cubicBezTo>
                  <a:cubicBezTo>
                    <a:pt x="103" y="96"/>
                    <a:pt x="90" y="93"/>
                    <a:pt x="87" y="98"/>
                  </a:cubicBezTo>
                  <a:cubicBezTo>
                    <a:pt x="85" y="102"/>
                    <a:pt x="83" y="98"/>
                    <a:pt x="84" y="103"/>
                  </a:cubicBezTo>
                  <a:cubicBezTo>
                    <a:pt x="84" y="105"/>
                    <a:pt x="87" y="104"/>
                    <a:pt x="90" y="104"/>
                  </a:cubicBezTo>
                  <a:cubicBezTo>
                    <a:pt x="92" y="104"/>
                    <a:pt x="91" y="108"/>
                    <a:pt x="94" y="108"/>
                  </a:cubicBezTo>
                  <a:cubicBezTo>
                    <a:pt x="97" y="109"/>
                    <a:pt x="107" y="112"/>
                    <a:pt x="108" y="110"/>
                  </a:cubicBezTo>
                  <a:cubicBezTo>
                    <a:pt x="109" y="107"/>
                    <a:pt x="119" y="110"/>
                    <a:pt x="123" y="113"/>
                  </a:cubicBezTo>
                  <a:cubicBezTo>
                    <a:pt x="128" y="117"/>
                    <a:pt x="139" y="117"/>
                    <a:pt x="143" y="117"/>
                  </a:cubicBezTo>
                  <a:cubicBezTo>
                    <a:pt x="148" y="116"/>
                    <a:pt x="152" y="119"/>
                    <a:pt x="154" y="117"/>
                  </a:cubicBezTo>
                  <a:cubicBezTo>
                    <a:pt x="156" y="115"/>
                    <a:pt x="159" y="121"/>
                    <a:pt x="164" y="117"/>
                  </a:cubicBezTo>
                  <a:cubicBezTo>
                    <a:pt x="168" y="114"/>
                    <a:pt x="156" y="115"/>
                    <a:pt x="155" y="112"/>
                  </a:cubicBezTo>
                  <a:close/>
                  <a:moveTo>
                    <a:pt x="343" y="61"/>
                  </a:moveTo>
                  <a:cubicBezTo>
                    <a:pt x="339" y="61"/>
                    <a:pt x="339" y="67"/>
                    <a:pt x="335" y="67"/>
                  </a:cubicBezTo>
                  <a:cubicBezTo>
                    <a:pt x="332" y="67"/>
                    <a:pt x="328" y="73"/>
                    <a:pt x="322" y="75"/>
                  </a:cubicBezTo>
                  <a:cubicBezTo>
                    <a:pt x="317" y="77"/>
                    <a:pt x="316" y="59"/>
                    <a:pt x="314" y="55"/>
                  </a:cubicBezTo>
                  <a:cubicBezTo>
                    <a:pt x="311" y="52"/>
                    <a:pt x="297" y="49"/>
                    <a:pt x="295" y="53"/>
                  </a:cubicBezTo>
                  <a:cubicBezTo>
                    <a:pt x="294" y="57"/>
                    <a:pt x="289" y="55"/>
                    <a:pt x="289" y="58"/>
                  </a:cubicBezTo>
                  <a:cubicBezTo>
                    <a:pt x="288" y="61"/>
                    <a:pt x="290" y="60"/>
                    <a:pt x="293" y="60"/>
                  </a:cubicBezTo>
                  <a:cubicBezTo>
                    <a:pt x="296" y="60"/>
                    <a:pt x="296" y="63"/>
                    <a:pt x="297" y="66"/>
                  </a:cubicBezTo>
                  <a:cubicBezTo>
                    <a:pt x="299" y="69"/>
                    <a:pt x="307" y="67"/>
                    <a:pt x="310" y="66"/>
                  </a:cubicBezTo>
                  <a:cubicBezTo>
                    <a:pt x="313" y="66"/>
                    <a:pt x="314" y="70"/>
                    <a:pt x="310" y="69"/>
                  </a:cubicBezTo>
                  <a:cubicBezTo>
                    <a:pt x="305" y="67"/>
                    <a:pt x="305" y="71"/>
                    <a:pt x="303" y="70"/>
                  </a:cubicBezTo>
                  <a:cubicBezTo>
                    <a:pt x="300" y="69"/>
                    <a:pt x="296" y="70"/>
                    <a:pt x="298" y="71"/>
                  </a:cubicBezTo>
                  <a:cubicBezTo>
                    <a:pt x="300" y="73"/>
                    <a:pt x="303" y="75"/>
                    <a:pt x="303" y="78"/>
                  </a:cubicBezTo>
                  <a:cubicBezTo>
                    <a:pt x="303" y="82"/>
                    <a:pt x="308" y="81"/>
                    <a:pt x="308" y="78"/>
                  </a:cubicBezTo>
                  <a:cubicBezTo>
                    <a:pt x="308" y="75"/>
                    <a:pt x="311" y="79"/>
                    <a:pt x="317" y="81"/>
                  </a:cubicBezTo>
                  <a:cubicBezTo>
                    <a:pt x="322" y="82"/>
                    <a:pt x="318" y="84"/>
                    <a:pt x="324" y="85"/>
                  </a:cubicBezTo>
                  <a:cubicBezTo>
                    <a:pt x="329" y="85"/>
                    <a:pt x="342" y="89"/>
                    <a:pt x="346" y="92"/>
                  </a:cubicBezTo>
                  <a:cubicBezTo>
                    <a:pt x="351" y="96"/>
                    <a:pt x="348" y="98"/>
                    <a:pt x="351" y="102"/>
                  </a:cubicBezTo>
                  <a:cubicBezTo>
                    <a:pt x="354" y="105"/>
                    <a:pt x="355" y="109"/>
                    <a:pt x="351" y="109"/>
                  </a:cubicBezTo>
                  <a:cubicBezTo>
                    <a:pt x="346" y="109"/>
                    <a:pt x="342" y="113"/>
                    <a:pt x="343" y="115"/>
                  </a:cubicBezTo>
                  <a:cubicBezTo>
                    <a:pt x="344" y="117"/>
                    <a:pt x="358" y="114"/>
                    <a:pt x="362" y="114"/>
                  </a:cubicBezTo>
                  <a:cubicBezTo>
                    <a:pt x="364" y="114"/>
                    <a:pt x="366" y="118"/>
                    <a:pt x="370" y="121"/>
                  </a:cubicBezTo>
                  <a:cubicBezTo>
                    <a:pt x="370" y="70"/>
                    <a:pt x="370" y="70"/>
                    <a:pt x="370" y="70"/>
                  </a:cubicBezTo>
                  <a:cubicBezTo>
                    <a:pt x="360" y="67"/>
                    <a:pt x="346" y="60"/>
                    <a:pt x="343" y="61"/>
                  </a:cubicBezTo>
                  <a:close/>
                  <a:moveTo>
                    <a:pt x="240" y="121"/>
                  </a:moveTo>
                  <a:cubicBezTo>
                    <a:pt x="239" y="121"/>
                    <a:pt x="238" y="122"/>
                    <a:pt x="237" y="122"/>
                  </a:cubicBezTo>
                  <a:cubicBezTo>
                    <a:pt x="237" y="123"/>
                    <a:pt x="236" y="124"/>
                    <a:pt x="236" y="124"/>
                  </a:cubicBezTo>
                  <a:cubicBezTo>
                    <a:pt x="235" y="125"/>
                    <a:pt x="234" y="124"/>
                    <a:pt x="233" y="123"/>
                  </a:cubicBezTo>
                  <a:cubicBezTo>
                    <a:pt x="229" y="125"/>
                    <a:pt x="226" y="130"/>
                    <a:pt x="229" y="132"/>
                  </a:cubicBezTo>
                  <a:cubicBezTo>
                    <a:pt x="232" y="133"/>
                    <a:pt x="237" y="129"/>
                    <a:pt x="239" y="126"/>
                  </a:cubicBezTo>
                  <a:cubicBezTo>
                    <a:pt x="240" y="126"/>
                    <a:pt x="240" y="125"/>
                    <a:pt x="241" y="125"/>
                  </a:cubicBezTo>
                  <a:cubicBezTo>
                    <a:pt x="241" y="124"/>
                    <a:pt x="241" y="124"/>
                    <a:pt x="241" y="124"/>
                  </a:cubicBezTo>
                  <a:cubicBezTo>
                    <a:pt x="242" y="124"/>
                    <a:pt x="242" y="124"/>
                    <a:pt x="242" y="123"/>
                  </a:cubicBezTo>
                  <a:cubicBezTo>
                    <a:pt x="241" y="122"/>
                    <a:pt x="240" y="121"/>
                    <a:pt x="240" y="121"/>
                  </a:cubicBezTo>
                  <a:close/>
                  <a:moveTo>
                    <a:pt x="174" y="60"/>
                  </a:moveTo>
                  <a:cubicBezTo>
                    <a:pt x="178" y="57"/>
                    <a:pt x="179" y="52"/>
                    <a:pt x="178" y="47"/>
                  </a:cubicBezTo>
                  <a:cubicBezTo>
                    <a:pt x="178" y="42"/>
                    <a:pt x="189" y="42"/>
                    <a:pt x="190" y="40"/>
                  </a:cubicBezTo>
                  <a:cubicBezTo>
                    <a:pt x="192" y="38"/>
                    <a:pt x="188" y="35"/>
                    <a:pt x="185" y="34"/>
                  </a:cubicBezTo>
                  <a:cubicBezTo>
                    <a:pt x="182" y="32"/>
                    <a:pt x="184" y="29"/>
                    <a:pt x="182" y="27"/>
                  </a:cubicBezTo>
                  <a:cubicBezTo>
                    <a:pt x="180" y="26"/>
                    <a:pt x="177" y="21"/>
                    <a:pt x="180" y="20"/>
                  </a:cubicBezTo>
                  <a:cubicBezTo>
                    <a:pt x="183" y="20"/>
                    <a:pt x="178" y="16"/>
                    <a:pt x="180" y="14"/>
                  </a:cubicBezTo>
                  <a:cubicBezTo>
                    <a:pt x="181" y="14"/>
                    <a:pt x="181" y="14"/>
                    <a:pt x="181" y="14"/>
                  </a:cubicBezTo>
                  <a:cubicBezTo>
                    <a:pt x="180" y="13"/>
                    <a:pt x="178" y="12"/>
                    <a:pt x="178" y="12"/>
                  </a:cubicBezTo>
                  <a:cubicBezTo>
                    <a:pt x="174" y="12"/>
                    <a:pt x="165" y="12"/>
                    <a:pt x="165" y="18"/>
                  </a:cubicBezTo>
                  <a:cubicBezTo>
                    <a:pt x="166" y="24"/>
                    <a:pt x="160" y="22"/>
                    <a:pt x="160" y="25"/>
                  </a:cubicBezTo>
                  <a:cubicBezTo>
                    <a:pt x="161" y="28"/>
                    <a:pt x="158" y="28"/>
                    <a:pt x="158" y="32"/>
                  </a:cubicBezTo>
                  <a:cubicBezTo>
                    <a:pt x="159" y="37"/>
                    <a:pt x="156" y="35"/>
                    <a:pt x="151" y="37"/>
                  </a:cubicBezTo>
                  <a:cubicBezTo>
                    <a:pt x="146" y="40"/>
                    <a:pt x="148" y="36"/>
                    <a:pt x="143" y="36"/>
                  </a:cubicBezTo>
                  <a:cubicBezTo>
                    <a:pt x="139" y="36"/>
                    <a:pt x="138" y="38"/>
                    <a:pt x="135" y="39"/>
                  </a:cubicBezTo>
                  <a:cubicBezTo>
                    <a:pt x="132" y="40"/>
                    <a:pt x="127" y="39"/>
                    <a:pt x="125" y="40"/>
                  </a:cubicBezTo>
                  <a:cubicBezTo>
                    <a:pt x="123" y="41"/>
                    <a:pt x="120" y="37"/>
                    <a:pt x="118" y="37"/>
                  </a:cubicBezTo>
                  <a:cubicBezTo>
                    <a:pt x="117" y="37"/>
                    <a:pt x="116" y="34"/>
                    <a:pt x="116" y="32"/>
                  </a:cubicBezTo>
                  <a:cubicBezTo>
                    <a:pt x="115" y="32"/>
                    <a:pt x="115" y="31"/>
                    <a:pt x="115" y="32"/>
                  </a:cubicBezTo>
                  <a:cubicBezTo>
                    <a:pt x="112" y="32"/>
                    <a:pt x="107" y="40"/>
                    <a:pt x="110" y="43"/>
                  </a:cubicBezTo>
                  <a:cubicBezTo>
                    <a:pt x="113" y="46"/>
                    <a:pt x="112" y="51"/>
                    <a:pt x="114" y="54"/>
                  </a:cubicBezTo>
                  <a:cubicBezTo>
                    <a:pt x="115" y="56"/>
                    <a:pt x="121" y="57"/>
                    <a:pt x="121" y="62"/>
                  </a:cubicBezTo>
                  <a:cubicBezTo>
                    <a:pt x="121" y="67"/>
                    <a:pt x="125" y="75"/>
                    <a:pt x="128" y="73"/>
                  </a:cubicBezTo>
                  <a:cubicBezTo>
                    <a:pt x="131" y="71"/>
                    <a:pt x="134" y="74"/>
                    <a:pt x="135" y="76"/>
                  </a:cubicBezTo>
                  <a:cubicBezTo>
                    <a:pt x="136" y="78"/>
                    <a:pt x="143" y="74"/>
                    <a:pt x="145" y="75"/>
                  </a:cubicBezTo>
                  <a:cubicBezTo>
                    <a:pt x="148" y="75"/>
                    <a:pt x="155" y="76"/>
                    <a:pt x="156" y="79"/>
                  </a:cubicBezTo>
                  <a:cubicBezTo>
                    <a:pt x="156" y="82"/>
                    <a:pt x="163" y="79"/>
                    <a:pt x="167" y="77"/>
                  </a:cubicBezTo>
                  <a:cubicBezTo>
                    <a:pt x="172" y="76"/>
                    <a:pt x="169" y="62"/>
                    <a:pt x="174" y="60"/>
                  </a:cubicBezTo>
                  <a:close/>
                  <a:moveTo>
                    <a:pt x="191" y="126"/>
                  </a:moveTo>
                  <a:cubicBezTo>
                    <a:pt x="193" y="128"/>
                    <a:pt x="197" y="128"/>
                    <a:pt x="198" y="130"/>
                  </a:cubicBezTo>
                  <a:cubicBezTo>
                    <a:pt x="200" y="131"/>
                    <a:pt x="206" y="134"/>
                    <a:pt x="206" y="130"/>
                  </a:cubicBezTo>
                  <a:cubicBezTo>
                    <a:pt x="206" y="126"/>
                    <a:pt x="190" y="124"/>
                    <a:pt x="191" y="126"/>
                  </a:cubicBezTo>
                  <a:close/>
                  <a:moveTo>
                    <a:pt x="179" y="115"/>
                  </a:moveTo>
                  <a:cubicBezTo>
                    <a:pt x="178" y="117"/>
                    <a:pt x="174" y="117"/>
                    <a:pt x="172" y="115"/>
                  </a:cubicBezTo>
                  <a:cubicBezTo>
                    <a:pt x="170" y="114"/>
                    <a:pt x="167" y="118"/>
                    <a:pt x="168" y="120"/>
                  </a:cubicBezTo>
                  <a:cubicBezTo>
                    <a:pt x="169" y="121"/>
                    <a:pt x="174" y="124"/>
                    <a:pt x="180" y="122"/>
                  </a:cubicBezTo>
                  <a:cubicBezTo>
                    <a:pt x="186" y="119"/>
                    <a:pt x="190" y="121"/>
                    <a:pt x="191" y="118"/>
                  </a:cubicBezTo>
                  <a:cubicBezTo>
                    <a:pt x="193" y="115"/>
                    <a:pt x="180" y="112"/>
                    <a:pt x="179" y="11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1" name="Freeform 359">
              <a:extLst>
                <a:ext uri="{FF2B5EF4-FFF2-40B4-BE49-F238E27FC236}">
                  <a16:creationId xmlns:a16="http://schemas.microsoft.com/office/drawing/2014/main" id="{853E7362-5FC2-E45F-6C70-DD3BE362A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84873" y="4534139"/>
              <a:ext cx="101587" cy="41270"/>
            </a:xfrm>
            <a:custGeom>
              <a:avLst/>
              <a:gdLst>
                <a:gd name="T0" fmla="*/ 3 w 27"/>
                <a:gd name="T1" fmla="*/ 8 h 11"/>
                <a:gd name="T2" fmla="*/ 0 w 27"/>
                <a:gd name="T3" fmla="*/ 9 h 11"/>
                <a:gd name="T4" fmla="*/ 3 w 27"/>
                <a:gd name="T5" fmla="*/ 10 h 11"/>
                <a:gd name="T6" fmla="*/ 4 w 27"/>
                <a:gd name="T7" fmla="*/ 8 h 11"/>
                <a:gd name="T8" fmla="*/ 3 w 27"/>
                <a:gd name="T9" fmla="*/ 8 h 11"/>
                <a:gd name="T10" fmla="*/ 3 w 27"/>
                <a:gd name="T11" fmla="*/ 8 h 11"/>
                <a:gd name="T12" fmla="*/ 14 w 27"/>
                <a:gd name="T13" fmla="*/ 2 h 11"/>
                <a:gd name="T14" fmla="*/ 7 w 27"/>
                <a:gd name="T15" fmla="*/ 6 h 11"/>
                <a:gd name="T16" fmla="*/ 7 w 27"/>
                <a:gd name="T17" fmla="*/ 7 h 11"/>
                <a:gd name="T18" fmla="*/ 9 w 27"/>
                <a:gd name="T19" fmla="*/ 9 h 11"/>
                <a:gd name="T20" fmla="*/ 26 w 27"/>
                <a:gd name="T21" fmla="*/ 2 h 11"/>
                <a:gd name="T22" fmla="*/ 14 w 27"/>
                <a:gd name="T2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11">
                  <a:moveTo>
                    <a:pt x="3" y="8"/>
                  </a:moveTo>
                  <a:cubicBezTo>
                    <a:pt x="2" y="8"/>
                    <a:pt x="1" y="8"/>
                    <a:pt x="0" y="9"/>
                  </a:cubicBezTo>
                  <a:cubicBezTo>
                    <a:pt x="1" y="10"/>
                    <a:pt x="2" y="11"/>
                    <a:pt x="3" y="10"/>
                  </a:cubicBezTo>
                  <a:cubicBezTo>
                    <a:pt x="3" y="10"/>
                    <a:pt x="4" y="9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lose/>
                  <a:moveTo>
                    <a:pt x="14" y="2"/>
                  </a:moveTo>
                  <a:cubicBezTo>
                    <a:pt x="11" y="2"/>
                    <a:pt x="10" y="4"/>
                    <a:pt x="7" y="6"/>
                  </a:cubicBezTo>
                  <a:cubicBezTo>
                    <a:pt x="7" y="6"/>
                    <a:pt x="7" y="7"/>
                    <a:pt x="7" y="7"/>
                  </a:cubicBezTo>
                  <a:cubicBezTo>
                    <a:pt x="7" y="7"/>
                    <a:pt x="8" y="8"/>
                    <a:pt x="9" y="9"/>
                  </a:cubicBezTo>
                  <a:cubicBezTo>
                    <a:pt x="14" y="7"/>
                    <a:pt x="25" y="3"/>
                    <a:pt x="26" y="2"/>
                  </a:cubicBezTo>
                  <a:cubicBezTo>
                    <a:pt x="27" y="0"/>
                    <a:pt x="19" y="2"/>
                    <a:pt x="14" y="2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2" name="Freeform 360">
              <a:extLst>
                <a:ext uri="{FF2B5EF4-FFF2-40B4-BE49-F238E27FC236}">
                  <a16:creationId xmlns:a16="http://schemas.microsoft.com/office/drawing/2014/main" id="{134F35FA-299F-DD18-1932-D220F768D9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6957" y="2735737"/>
              <a:ext cx="349206" cy="379364"/>
            </a:xfrm>
            <a:custGeom>
              <a:avLst/>
              <a:gdLst>
                <a:gd name="T0" fmla="*/ 65 w 93"/>
                <a:gd name="T1" fmla="*/ 88 h 101"/>
                <a:gd name="T2" fmla="*/ 55 w 93"/>
                <a:gd name="T3" fmla="*/ 88 h 101"/>
                <a:gd name="T4" fmla="*/ 48 w 93"/>
                <a:gd name="T5" fmla="*/ 91 h 101"/>
                <a:gd name="T6" fmla="*/ 56 w 93"/>
                <a:gd name="T7" fmla="*/ 96 h 101"/>
                <a:gd name="T8" fmla="*/ 66 w 93"/>
                <a:gd name="T9" fmla="*/ 101 h 101"/>
                <a:gd name="T10" fmla="*/ 68 w 93"/>
                <a:gd name="T11" fmla="*/ 96 h 101"/>
                <a:gd name="T12" fmla="*/ 71 w 93"/>
                <a:gd name="T13" fmla="*/ 88 h 101"/>
                <a:gd name="T14" fmla="*/ 65 w 93"/>
                <a:gd name="T15" fmla="*/ 88 h 101"/>
                <a:gd name="T16" fmla="*/ 19 w 93"/>
                <a:gd name="T17" fmla="*/ 61 h 101"/>
                <a:gd name="T18" fmla="*/ 13 w 93"/>
                <a:gd name="T19" fmla="*/ 62 h 101"/>
                <a:gd name="T20" fmla="*/ 16 w 93"/>
                <a:gd name="T21" fmla="*/ 73 h 101"/>
                <a:gd name="T22" fmla="*/ 19 w 93"/>
                <a:gd name="T23" fmla="*/ 80 h 101"/>
                <a:gd name="T24" fmla="*/ 25 w 93"/>
                <a:gd name="T25" fmla="*/ 77 h 101"/>
                <a:gd name="T26" fmla="*/ 26 w 93"/>
                <a:gd name="T27" fmla="*/ 64 h 101"/>
                <a:gd name="T28" fmla="*/ 19 w 93"/>
                <a:gd name="T29" fmla="*/ 61 h 101"/>
                <a:gd name="T30" fmla="*/ 77 w 93"/>
                <a:gd name="T31" fmla="*/ 57 h 101"/>
                <a:gd name="T32" fmla="*/ 71 w 93"/>
                <a:gd name="T33" fmla="*/ 52 h 101"/>
                <a:gd name="T34" fmla="*/ 58 w 93"/>
                <a:gd name="T35" fmla="*/ 39 h 101"/>
                <a:gd name="T36" fmla="*/ 47 w 93"/>
                <a:gd name="T37" fmla="*/ 28 h 101"/>
                <a:gd name="T38" fmla="*/ 47 w 93"/>
                <a:gd name="T39" fmla="*/ 20 h 101"/>
                <a:gd name="T40" fmla="*/ 51 w 93"/>
                <a:gd name="T41" fmla="*/ 15 h 101"/>
                <a:gd name="T42" fmla="*/ 51 w 93"/>
                <a:gd name="T43" fmla="*/ 5 h 101"/>
                <a:gd name="T44" fmla="*/ 47 w 93"/>
                <a:gd name="T45" fmla="*/ 4 h 101"/>
                <a:gd name="T46" fmla="*/ 46 w 93"/>
                <a:gd name="T47" fmla="*/ 0 h 101"/>
                <a:gd name="T48" fmla="*/ 39 w 93"/>
                <a:gd name="T49" fmla="*/ 1 h 101"/>
                <a:gd name="T50" fmla="*/ 34 w 93"/>
                <a:gd name="T51" fmla="*/ 3 h 101"/>
                <a:gd name="T52" fmla="*/ 33 w 93"/>
                <a:gd name="T53" fmla="*/ 2 h 101"/>
                <a:gd name="T54" fmla="*/ 32 w 93"/>
                <a:gd name="T55" fmla="*/ 4 h 101"/>
                <a:gd name="T56" fmla="*/ 30 w 93"/>
                <a:gd name="T57" fmla="*/ 6 h 101"/>
                <a:gd name="T58" fmla="*/ 28 w 93"/>
                <a:gd name="T59" fmla="*/ 7 h 101"/>
                <a:gd name="T60" fmla="*/ 24 w 93"/>
                <a:gd name="T61" fmla="*/ 8 h 101"/>
                <a:gd name="T62" fmla="*/ 21 w 93"/>
                <a:gd name="T63" fmla="*/ 9 h 101"/>
                <a:gd name="T64" fmla="*/ 19 w 93"/>
                <a:gd name="T65" fmla="*/ 12 h 101"/>
                <a:gd name="T66" fmla="*/ 15 w 93"/>
                <a:gd name="T67" fmla="*/ 7 h 101"/>
                <a:gd name="T68" fmla="*/ 11 w 93"/>
                <a:gd name="T69" fmla="*/ 12 h 101"/>
                <a:gd name="T70" fmla="*/ 4 w 93"/>
                <a:gd name="T71" fmla="*/ 13 h 101"/>
                <a:gd name="T72" fmla="*/ 5 w 93"/>
                <a:gd name="T73" fmla="*/ 17 h 101"/>
                <a:gd name="T74" fmla="*/ 3 w 93"/>
                <a:gd name="T75" fmla="*/ 20 h 101"/>
                <a:gd name="T76" fmla="*/ 1 w 93"/>
                <a:gd name="T77" fmla="*/ 22 h 101"/>
                <a:gd name="T78" fmla="*/ 4 w 93"/>
                <a:gd name="T79" fmla="*/ 26 h 101"/>
                <a:gd name="T80" fmla="*/ 6 w 93"/>
                <a:gd name="T81" fmla="*/ 30 h 101"/>
                <a:gd name="T82" fmla="*/ 9 w 93"/>
                <a:gd name="T83" fmla="*/ 31 h 101"/>
                <a:gd name="T84" fmla="*/ 8 w 93"/>
                <a:gd name="T85" fmla="*/ 34 h 101"/>
                <a:gd name="T86" fmla="*/ 12 w 93"/>
                <a:gd name="T87" fmla="*/ 33 h 101"/>
                <a:gd name="T88" fmla="*/ 18 w 93"/>
                <a:gd name="T89" fmla="*/ 28 h 101"/>
                <a:gd name="T90" fmla="*/ 29 w 93"/>
                <a:gd name="T91" fmla="*/ 33 h 101"/>
                <a:gd name="T92" fmla="*/ 32 w 93"/>
                <a:gd name="T93" fmla="*/ 37 h 101"/>
                <a:gd name="T94" fmla="*/ 39 w 93"/>
                <a:gd name="T95" fmla="*/ 47 h 101"/>
                <a:gd name="T96" fmla="*/ 50 w 93"/>
                <a:gd name="T97" fmla="*/ 57 h 101"/>
                <a:gd name="T98" fmla="*/ 58 w 93"/>
                <a:gd name="T99" fmla="*/ 60 h 101"/>
                <a:gd name="T100" fmla="*/ 65 w 93"/>
                <a:gd name="T101" fmla="*/ 65 h 101"/>
                <a:gd name="T102" fmla="*/ 71 w 93"/>
                <a:gd name="T103" fmla="*/ 69 h 101"/>
                <a:gd name="T104" fmla="*/ 73 w 93"/>
                <a:gd name="T105" fmla="*/ 74 h 101"/>
                <a:gd name="T106" fmla="*/ 74 w 93"/>
                <a:gd name="T107" fmla="*/ 83 h 101"/>
                <a:gd name="T108" fmla="*/ 74 w 93"/>
                <a:gd name="T109" fmla="*/ 89 h 101"/>
                <a:gd name="T110" fmla="*/ 78 w 93"/>
                <a:gd name="T111" fmla="*/ 82 h 101"/>
                <a:gd name="T112" fmla="*/ 83 w 93"/>
                <a:gd name="T113" fmla="*/ 78 h 101"/>
                <a:gd name="T114" fmla="*/ 79 w 93"/>
                <a:gd name="T115" fmla="*/ 71 h 101"/>
                <a:gd name="T116" fmla="*/ 87 w 93"/>
                <a:gd name="T117" fmla="*/ 68 h 101"/>
                <a:gd name="T118" fmla="*/ 93 w 93"/>
                <a:gd name="T119" fmla="*/ 68 h 101"/>
                <a:gd name="T120" fmla="*/ 77 w 93"/>
                <a:gd name="T121" fmla="*/ 5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" h="101">
                  <a:moveTo>
                    <a:pt x="65" y="88"/>
                  </a:moveTo>
                  <a:cubicBezTo>
                    <a:pt x="60" y="89"/>
                    <a:pt x="58" y="89"/>
                    <a:pt x="55" y="88"/>
                  </a:cubicBezTo>
                  <a:cubicBezTo>
                    <a:pt x="52" y="86"/>
                    <a:pt x="47" y="89"/>
                    <a:pt x="48" y="91"/>
                  </a:cubicBezTo>
                  <a:cubicBezTo>
                    <a:pt x="49" y="92"/>
                    <a:pt x="50" y="94"/>
                    <a:pt x="56" y="96"/>
                  </a:cubicBezTo>
                  <a:cubicBezTo>
                    <a:pt x="62" y="97"/>
                    <a:pt x="63" y="101"/>
                    <a:pt x="66" y="101"/>
                  </a:cubicBezTo>
                  <a:cubicBezTo>
                    <a:pt x="68" y="101"/>
                    <a:pt x="68" y="99"/>
                    <a:pt x="68" y="96"/>
                  </a:cubicBezTo>
                  <a:cubicBezTo>
                    <a:pt x="67" y="93"/>
                    <a:pt x="71" y="89"/>
                    <a:pt x="71" y="88"/>
                  </a:cubicBezTo>
                  <a:cubicBezTo>
                    <a:pt x="71" y="88"/>
                    <a:pt x="69" y="87"/>
                    <a:pt x="65" y="88"/>
                  </a:cubicBezTo>
                  <a:close/>
                  <a:moveTo>
                    <a:pt x="19" y="61"/>
                  </a:moveTo>
                  <a:cubicBezTo>
                    <a:pt x="16" y="63"/>
                    <a:pt x="14" y="60"/>
                    <a:pt x="13" y="62"/>
                  </a:cubicBezTo>
                  <a:cubicBezTo>
                    <a:pt x="11" y="65"/>
                    <a:pt x="17" y="68"/>
                    <a:pt x="16" y="73"/>
                  </a:cubicBezTo>
                  <a:cubicBezTo>
                    <a:pt x="15" y="77"/>
                    <a:pt x="16" y="83"/>
                    <a:pt x="19" y="80"/>
                  </a:cubicBezTo>
                  <a:cubicBezTo>
                    <a:pt x="22" y="78"/>
                    <a:pt x="23" y="79"/>
                    <a:pt x="25" y="77"/>
                  </a:cubicBezTo>
                  <a:cubicBezTo>
                    <a:pt x="26" y="75"/>
                    <a:pt x="25" y="67"/>
                    <a:pt x="26" y="64"/>
                  </a:cubicBezTo>
                  <a:cubicBezTo>
                    <a:pt x="27" y="60"/>
                    <a:pt x="21" y="59"/>
                    <a:pt x="19" y="61"/>
                  </a:cubicBezTo>
                  <a:close/>
                  <a:moveTo>
                    <a:pt x="77" y="57"/>
                  </a:moveTo>
                  <a:cubicBezTo>
                    <a:pt x="74" y="55"/>
                    <a:pt x="76" y="52"/>
                    <a:pt x="71" y="52"/>
                  </a:cubicBezTo>
                  <a:cubicBezTo>
                    <a:pt x="66" y="53"/>
                    <a:pt x="60" y="46"/>
                    <a:pt x="58" y="39"/>
                  </a:cubicBezTo>
                  <a:cubicBezTo>
                    <a:pt x="57" y="32"/>
                    <a:pt x="49" y="32"/>
                    <a:pt x="47" y="28"/>
                  </a:cubicBezTo>
                  <a:cubicBezTo>
                    <a:pt x="45" y="24"/>
                    <a:pt x="49" y="23"/>
                    <a:pt x="47" y="20"/>
                  </a:cubicBezTo>
                  <a:cubicBezTo>
                    <a:pt x="46" y="18"/>
                    <a:pt x="48" y="16"/>
                    <a:pt x="51" y="15"/>
                  </a:cubicBezTo>
                  <a:cubicBezTo>
                    <a:pt x="51" y="11"/>
                    <a:pt x="51" y="7"/>
                    <a:pt x="51" y="5"/>
                  </a:cubicBezTo>
                  <a:cubicBezTo>
                    <a:pt x="49" y="4"/>
                    <a:pt x="48" y="4"/>
                    <a:pt x="47" y="4"/>
                  </a:cubicBezTo>
                  <a:cubicBezTo>
                    <a:pt x="46" y="3"/>
                    <a:pt x="46" y="0"/>
                    <a:pt x="46" y="0"/>
                  </a:cubicBezTo>
                  <a:cubicBezTo>
                    <a:pt x="45" y="0"/>
                    <a:pt x="40" y="0"/>
                    <a:pt x="39" y="1"/>
                  </a:cubicBezTo>
                  <a:cubicBezTo>
                    <a:pt x="38" y="2"/>
                    <a:pt x="36" y="4"/>
                    <a:pt x="34" y="3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1" y="6"/>
                    <a:pt x="30" y="6"/>
                  </a:cubicBezTo>
                  <a:cubicBezTo>
                    <a:pt x="29" y="6"/>
                    <a:pt x="28" y="5"/>
                    <a:pt x="28" y="7"/>
                  </a:cubicBezTo>
                  <a:cubicBezTo>
                    <a:pt x="28" y="8"/>
                    <a:pt x="25" y="8"/>
                    <a:pt x="24" y="8"/>
                  </a:cubicBezTo>
                  <a:cubicBezTo>
                    <a:pt x="23" y="7"/>
                    <a:pt x="21" y="8"/>
                    <a:pt x="21" y="9"/>
                  </a:cubicBezTo>
                  <a:cubicBezTo>
                    <a:pt x="21" y="11"/>
                    <a:pt x="21" y="14"/>
                    <a:pt x="19" y="12"/>
                  </a:cubicBezTo>
                  <a:cubicBezTo>
                    <a:pt x="17" y="10"/>
                    <a:pt x="15" y="6"/>
                    <a:pt x="15" y="7"/>
                  </a:cubicBezTo>
                  <a:cubicBezTo>
                    <a:pt x="14" y="7"/>
                    <a:pt x="12" y="12"/>
                    <a:pt x="11" y="12"/>
                  </a:cubicBezTo>
                  <a:cubicBezTo>
                    <a:pt x="10" y="12"/>
                    <a:pt x="6" y="13"/>
                    <a:pt x="4" y="13"/>
                  </a:cubicBezTo>
                  <a:cubicBezTo>
                    <a:pt x="3" y="15"/>
                    <a:pt x="4" y="16"/>
                    <a:pt x="5" y="17"/>
                  </a:cubicBezTo>
                  <a:cubicBezTo>
                    <a:pt x="6" y="17"/>
                    <a:pt x="4" y="19"/>
                    <a:pt x="3" y="20"/>
                  </a:cubicBezTo>
                  <a:cubicBezTo>
                    <a:pt x="2" y="20"/>
                    <a:pt x="0" y="20"/>
                    <a:pt x="1" y="22"/>
                  </a:cubicBezTo>
                  <a:cubicBezTo>
                    <a:pt x="3" y="24"/>
                    <a:pt x="5" y="24"/>
                    <a:pt x="4" y="26"/>
                  </a:cubicBezTo>
                  <a:cubicBezTo>
                    <a:pt x="3" y="28"/>
                    <a:pt x="4" y="30"/>
                    <a:pt x="6" y="30"/>
                  </a:cubicBezTo>
                  <a:cubicBezTo>
                    <a:pt x="7" y="30"/>
                    <a:pt x="10" y="30"/>
                    <a:pt x="9" y="31"/>
                  </a:cubicBezTo>
                  <a:cubicBezTo>
                    <a:pt x="9" y="32"/>
                    <a:pt x="9" y="33"/>
                    <a:pt x="8" y="34"/>
                  </a:cubicBezTo>
                  <a:cubicBezTo>
                    <a:pt x="10" y="33"/>
                    <a:pt x="11" y="33"/>
                    <a:pt x="12" y="33"/>
                  </a:cubicBezTo>
                  <a:cubicBezTo>
                    <a:pt x="15" y="31"/>
                    <a:pt x="14" y="29"/>
                    <a:pt x="18" y="28"/>
                  </a:cubicBezTo>
                  <a:cubicBezTo>
                    <a:pt x="22" y="27"/>
                    <a:pt x="28" y="30"/>
                    <a:pt x="29" y="33"/>
                  </a:cubicBezTo>
                  <a:cubicBezTo>
                    <a:pt x="31" y="35"/>
                    <a:pt x="31" y="35"/>
                    <a:pt x="32" y="37"/>
                  </a:cubicBezTo>
                  <a:cubicBezTo>
                    <a:pt x="32" y="39"/>
                    <a:pt x="34" y="43"/>
                    <a:pt x="39" y="47"/>
                  </a:cubicBezTo>
                  <a:cubicBezTo>
                    <a:pt x="45" y="51"/>
                    <a:pt x="47" y="55"/>
                    <a:pt x="50" y="57"/>
                  </a:cubicBezTo>
                  <a:cubicBezTo>
                    <a:pt x="53" y="58"/>
                    <a:pt x="56" y="58"/>
                    <a:pt x="58" y="60"/>
                  </a:cubicBezTo>
                  <a:cubicBezTo>
                    <a:pt x="60" y="62"/>
                    <a:pt x="62" y="63"/>
                    <a:pt x="65" y="65"/>
                  </a:cubicBezTo>
                  <a:cubicBezTo>
                    <a:pt x="68" y="66"/>
                    <a:pt x="68" y="69"/>
                    <a:pt x="71" y="69"/>
                  </a:cubicBezTo>
                  <a:cubicBezTo>
                    <a:pt x="73" y="70"/>
                    <a:pt x="72" y="72"/>
                    <a:pt x="73" y="74"/>
                  </a:cubicBezTo>
                  <a:cubicBezTo>
                    <a:pt x="75" y="76"/>
                    <a:pt x="75" y="80"/>
                    <a:pt x="74" y="83"/>
                  </a:cubicBezTo>
                  <a:cubicBezTo>
                    <a:pt x="72" y="85"/>
                    <a:pt x="73" y="89"/>
                    <a:pt x="74" y="89"/>
                  </a:cubicBezTo>
                  <a:cubicBezTo>
                    <a:pt x="75" y="89"/>
                    <a:pt x="78" y="85"/>
                    <a:pt x="78" y="82"/>
                  </a:cubicBezTo>
                  <a:cubicBezTo>
                    <a:pt x="78" y="80"/>
                    <a:pt x="81" y="80"/>
                    <a:pt x="83" y="78"/>
                  </a:cubicBezTo>
                  <a:cubicBezTo>
                    <a:pt x="85" y="75"/>
                    <a:pt x="80" y="75"/>
                    <a:pt x="79" y="71"/>
                  </a:cubicBezTo>
                  <a:cubicBezTo>
                    <a:pt x="78" y="68"/>
                    <a:pt x="83" y="65"/>
                    <a:pt x="87" y="68"/>
                  </a:cubicBezTo>
                  <a:cubicBezTo>
                    <a:pt x="91" y="71"/>
                    <a:pt x="93" y="72"/>
                    <a:pt x="93" y="68"/>
                  </a:cubicBezTo>
                  <a:cubicBezTo>
                    <a:pt x="93" y="64"/>
                    <a:pt x="80" y="59"/>
                    <a:pt x="77" y="5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3" name="Freeform 361">
              <a:extLst>
                <a:ext uri="{FF2B5EF4-FFF2-40B4-BE49-F238E27FC236}">
                  <a16:creationId xmlns:a16="http://schemas.microsoft.com/office/drawing/2014/main" id="{04B64C21-27FC-D521-47D6-BC3B4C283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6165" y="2865894"/>
              <a:ext cx="36508" cy="49207"/>
            </a:xfrm>
            <a:custGeom>
              <a:avLst/>
              <a:gdLst>
                <a:gd name="T0" fmla="*/ 3 w 10"/>
                <a:gd name="T1" fmla="*/ 0 h 13"/>
                <a:gd name="T2" fmla="*/ 0 w 10"/>
                <a:gd name="T3" fmla="*/ 6 h 13"/>
                <a:gd name="T4" fmla="*/ 0 w 10"/>
                <a:gd name="T5" fmla="*/ 9 h 13"/>
                <a:gd name="T6" fmla="*/ 6 w 10"/>
                <a:gd name="T7" fmla="*/ 13 h 13"/>
                <a:gd name="T8" fmla="*/ 6 w 10"/>
                <a:gd name="T9" fmla="*/ 13 h 13"/>
                <a:gd name="T10" fmla="*/ 10 w 10"/>
                <a:gd name="T11" fmla="*/ 8 h 13"/>
                <a:gd name="T12" fmla="*/ 3 w 10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3">
                  <a:moveTo>
                    <a:pt x="3" y="0"/>
                  </a:moveTo>
                  <a:cubicBezTo>
                    <a:pt x="2" y="3"/>
                    <a:pt x="0" y="6"/>
                    <a:pt x="0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2" y="11"/>
                    <a:pt x="4" y="12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1"/>
                    <a:pt x="8" y="8"/>
                    <a:pt x="10" y="8"/>
                  </a:cubicBezTo>
                  <a:cubicBezTo>
                    <a:pt x="8" y="5"/>
                    <a:pt x="5" y="2"/>
                    <a:pt x="3" y="0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4" name="Freeform 362">
              <a:extLst>
                <a:ext uri="{FF2B5EF4-FFF2-40B4-BE49-F238E27FC236}">
                  <a16:creationId xmlns:a16="http://schemas.microsoft.com/office/drawing/2014/main" id="{BCD5F986-CC5D-8AE8-5A2F-02E637540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2509" y="2769069"/>
              <a:ext cx="128571" cy="150793"/>
            </a:xfrm>
            <a:custGeom>
              <a:avLst/>
              <a:gdLst>
                <a:gd name="T0" fmla="*/ 30 w 34"/>
                <a:gd name="T1" fmla="*/ 27 h 40"/>
                <a:gd name="T2" fmla="*/ 30 w 34"/>
                <a:gd name="T3" fmla="*/ 21 h 40"/>
                <a:gd name="T4" fmla="*/ 30 w 34"/>
                <a:gd name="T5" fmla="*/ 17 h 40"/>
                <a:gd name="T6" fmla="*/ 21 w 34"/>
                <a:gd name="T7" fmla="*/ 14 h 40"/>
                <a:gd name="T8" fmla="*/ 20 w 34"/>
                <a:gd name="T9" fmla="*/ 9 h 40"/>
                <a:gd name="T10" fmla="*/ 17 w 34"/>
                <a:gd name="T11" fmla="*/ 6 h 40"/>
                <a:gd name="T12" fmla="*/ 14 w 34"/>
                <a:gd name="T13" fmla="*/ 2 h 40"/>
                <a:gd name="T14" fmla="*/ 14 w 34"/>
                <a:gd name="T15" fmla="*/ 1 h 40"/>
                <a:gd name="T16" fmla="*/ 12 w 34"/>
                <a:gd name="T17" fmla="*/ 1 h 40"/>
                <a:gd name="T18" fmla="*/ 9 w 34"/>
                <a:gd name="T19" fmla="*/ 0 h 40"/>
                <a:gd name="T20" fmla="*/ 0 w 34"/>
                <a:gd name="T21" fmla="*/ 2 h 40"/>
                <a:gd name="T22" fmla="*/ 2 w 34"/>
                <a:gd name="T23" fmla="*/ 7 h 40"/>
                <a:gd name="T24" fmla="*/ 5 w 34"/>
                <a:gd name="T25" fmla="*/ 13 h 40"/>
                <a:gd name="T26" fmla="*/ 4 w 34"/>
                <a:gd name="T27" fmla="*/ 25 h 40"/>
                <a:gd name="T28" fmla="*/ 1 w 34"/>
                <a:gd name="T29" fmla="*/ 28 h 40"/>
                <a:gd name="T30" fmla="*/ 8 w 34"/>
                <a:gd name="T31" fmla="*/ 36 h 40"/>
                <a:gd name="T32" fmla="*/ 8 w 34"/>
                <a:gd name="T33" fmla="*/ 36 h 40"/>
                <a:gd name="T34" fmla="*/ 15 w 34"/>
                <a:gd name="T35" fmla="*/ 40 h 40"/>
                <a:gd name="T36" fmla="*/ 29 w 34"/>
                <a:gd name="T37" fmla="*/ 37 h 40"/>
                <a:gd name="T38" fmla="*/ 29 w 34"/>
                <a:gd name="T39" fmla="*/ 35 h 40"/>
                <a:gd name="T40" fmla="*/ 32 w 34"/>
                <a:gd name="T41" fmla="*/ 32 h 40"/>
                <a:gd name="T42" fmla="*/ 30 w 34"/>
                <a:gd name="T43" fmla="*/ 2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4" h="40">
                  <a:moveTo>
                    <a:pt x="30" y="27"/>
                  </a:moveTo>
                  <a:cubicBezTo>
                    <a:pt x="28" y="25"/>
                    <a:pt x="28" y="22"/>
                    <a:pt x="30" y="21"/>
                  </a:cubicBezTo>
                  <a:cubicBezTo>
                    <a:pt x="31" y="20"/>
                    <a:pt x="30" y="18"/>
                    <a:pt x="30" y="17"/>
                  </a:cubicBezTo>
                  <a:cubicBezTo>
                    <a:pt x="30" y="15"/>
                    <a:pt x="22" y="14"/>
                    <a:pt x="21" y="14"/>
                  </a:cubicBezTo>
                  <a:cubicBezTo>
                    <a:pt x="20" y="14"/>
                    <a:pt x="22" y="9"/>
                    <a:pt x="20" y="9"/>
                  </a:cubicBezTo>
                  <a:cubicBezTo>
                    <a:pt x="18" y="9"/>
                    <a:pt x="17" y="8"/>
                    <a:pt x="17" y="6"/>
                  </a:cubicBezTo>
                  <a:cubicBezTo>
                    <a:pt x="17" y="5"/>
                    <a:pt x="14" y="2"/>
                    <a:pt x="14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1" y="1"/>
                    <a:pt x="9" y="0"/>
                    <a:pt x="9" y="0"/>
                  </a:cubicBezTo>
                  <a:cubicBezTo>
                    <a:pt x="9" y="0"/>
                    <a:pt x="4" y="1"/>
                    <a:pt x="0" y="2"/>
                  </a:cubicBezTo>
                  <a:cubicBezTo>
                    <a:pt x="1" y="4"/>
                    <a:pt x="1" y="7"/>
                    <a:pt x="2" y="7"/>
                  </a:cubicBezTo>
                  <a:cubicBezTo>
                    <a:pt x="5" y="8"/>
                    <a:pt x="4" y="11"/>
                    <a:pt x="5" y="13"/>
                  </a:cubicBezTo>
                  <a:cubicBezTo>
                    <a:pt x="6" y="15"/>
                    <a:pt x="6" y="25"/>
                    <a:pt x="4" y="25"/>
                  </a:cubicBezTo>
                  <a:cubicBezTo>
                    <a:pt x="4" y="25"/>
                    <a:pt x="3" y="27"/>
                    <a:pt x="1" y="28"/>
                  </a:cubicBezTo>
                  <a:cubicBezTo>
                    <a:pt x="3" y="30"/>
                    <a:pt x="6" y="33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0" y="36"/>
                    <a:pt x="15" y="40"/>
                    <a:pt x="15" y="40"/>
                  </a:cubicBezTo>
                  <a:cubicBezTo>
                    <a:pt x="15" y="40"/>
                    <a:pt x="24" y="38"/>
                    <a:pt x="29" y="37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9" y="34"/>
                    <a:pt x="30" y="32"/>
                    <a:pt x="32" y="32"/>
                  </a:cubicBezTo>
                  <a:cubicBezTo>
                    <a:pt x="34" y="32"/>
                    <a:pt x="31" y="28"/>
                    <a:pt x="30" y="27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5" name="Freeform 233">
              <a:extLst>
                <a:ext uri="{FF2B5EF4-FFF2-40B4-BE49-F238E27FC236}">
                  <a16:creationId xmlns:a16="http://schemas.microsoft.com/office/drawing/2014/main" id="{296B7E69-1C89-E6E7-AA8D-1B88AEBAB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5044" y="2543668"/>
              <a:ext cx="950789" cy="406347"/>
            </a:xfrm>
            <a:custGeom>
              <a:avLst/>
              <a:gdLst>
                <a:gd name="T0" fmla="*/ 235 w 253"/>
                <a:gd name="T1" fmla="*/ 46 h 108"/>
                <a:gd name="T2" fmla="*/ 219 w 253"/>
                <a:gd name="T3" fmla="*/ 45 h 108"/>
                <a:gd name="T4" fmla="*/ 220 w 253"/>
                <a:gd name="T5" fmla="*/ 36 h 108"/>
                <a:gd name="T6" fmla="*/ 221 w 253"/>
                <a:gd name="T7" fmla="*/ 23 h 108"/>
                <a:gd name="T8" fmla="*/ 204 w 253"/>
                <a:gd name="T9" fmla="*/ 21 h 108"/>
                <a:gd name="T10" fmla="*/ 191 w 253"/>
                <a:gd name="T11" fmla="*/ 28 h 108"/>
                <a:gd name="T12" fmla="*/ 170 w 253"/>
                <a:gd name="T13" fmla="*/ 30 h 108"/>
                <a:gd name="T14" fmla="*/ 155 w 253"/>
                <a:gd name="T15" fmla="*/ 24 h 108"/>
                <a:gd name="T16" fmla="*/ 143 w 253"/>
                <a:gd name="T17" fmla="*/ 19 h 108"/>
                <a:gd name="T18" fmla="*/ 128 w 253"/>
                <a:gd name="T19" fmla="*/ 18 h 108"/>
                <a:gd name="T20" fmla="*/ 115 w 253"/>
                <a:gd name="T21" fmla="*/ 19 h 108"/>
                <a:gd name="T22" fmla="*/ 109 w 253"/>
                <a:gd name="T23" fmla="*/ 8 h 108"/>
                <a:gd name="T24" fmla="*/ 95 w 253"/>
                <a:gd name="T25" fmla="*/ 4 h 108"/>
                <a:gd name="T26" fmla="*/ 84 w 253"/>
                <a:gd name="T27" fmla="*/ 0 h 108"/>
                <a:gd name="T28" fmla="*/ 77 w 253"/>
                <a:gd name="T29" fmla="*/ 6 h 108"/>
                <a:gd name="T30" fmla="*/ 77 w 253"/>
                <a:gd name="T31" fmla="*/ 16 h 108"/>
                <a:gd name="T32" fmla="*/ 70 w 253"/>
                <a:gd name="T33" fmla="*/ 24 h 108"/>
                <a:gd name="T34" fmla="*/ 58 w 253"/>
                <a:gd name="T35" fmla="*/ 23 h 108"/>
                <a:gd name="T36" fmla="*/ 48 w 253"/>
                <a:gd name="T37" fmla="*/ 16 h 108"/>
                <a:gd name="T38" fmla="*/ 31 w 253"/>
                <a:gd name="T39" fmla="*/ 15 h 108"/>
                <a:gd name="T40" fmla="*/ 21 w 253"/>
                <a:gd name="T41" fmla="*/ 21 h 108"/>
                <a:gd name="T42" fmla="*/ 7 w 253"/>
                <a:gd name="T43" fmla="*/ 28 h 108"/>
                <a:gd name="T44" fmla="*/ 0 w 253"/>
                <a:gd name="T45" fmla="*/ 31 h 108"/>
                <a:gd name="T46" fmla="*/ 6 w 253"/>
                <a:gd name="T47" fmla="*/ 39 h 108"/>
                <a:gd name="T48" fmla="*/ 20 w 253"/>
                <a:gd name="T49" fmla="*/ 48 h 108"/>
                <a:gd name="T50" fmla="*/ 24 w 253"/>
                <a:gd name="T51" fmla="*/ 63 h 108"/>
                <a:gd name="T52" fmla="*/ 41 w 253"/>
                <a:gd name="T53" fmla="*/ 74 h 108"/>
                <a:gd name="T54" fmla="*/ 52 w 253"/>
                <a:gd name="T55" fmla="*/ 81 h 108"/>
                <a:gd name="T56" fmla="*/ 63 w 253"/>
                <a:gd name="T57" fmla="*/ 96 h 108"/>
                <a:gd name="T58" fmla="*/ 92 w 253"/>
                <a:gd name="T59" fmla="*/ 97 h 108"/>
                <a:gd name="T60" fmla="*/ 115 w 253"/>
                <a:gd name="T61" fmla="*/ 103 h 108"/>
                <a:gd name="T62" fmla="*/ 130 w 253"/>
                <a:gd name="T63" fmla="*/ 108 h 108"/>
                <a:gd name="T64" fmla="*/ 162 w 253"/>
                <a:gd name="T65" fmla="*/ 100 h 108"/>
                <a:gd name="T66" fmla="*/ 186 w 253"/>
                <a:gd name="T67" fmla="*/ 86 h 108"/>
                <a:gd name="T68" fmla="*/ 192 w 253"/>
                <a:gd name="T69" fmla="*/ 75 h 108"/>
                <a:gd name="T70" fmla="*/ 217 w 253"/>
                <a:gd name="T71" fmla="*/ 70 h 108"/>
                <a:gd name="T72" fmla="*/ 234 w 253"/>
                <a:gd name="T73" fmla="*/ 59 h 108"/>
                <a:gd name="T74" fmla="*/ 253 w 253"/>
                <a:gd name="T75" fmla="*/ 5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53" h="108">
                  <a:moveTo>
                    <a:pt x="242" y="45"/>
                  </a:moveTo>
                  <a:cubicBezTo>
                    <a:pt x="240" y="42"/>
                    <a:pt x="236" y="44"/>
                    <a:pt x="235" y="46"/>
                  </a:cubicBezTo>
                  <a:cubicBezTo>
                    <a:pt x="234" y="49"/>
                    <a:pt x="232" y="45"/>
                    <a:pt x="227" y="45"/>
                  </a:cubicBezTo>
                  <a:cubicBezTo>
                    <a:pt x="222" y="45"/>
                    <a:pt x="222" y="48"/>
                    <a:pt x="219" y="45"/>
                  </a:cubicBezTo>
                  <a:cubicBezTo>
                    <a:pt x="215" y="42"/>
                    <a:pt x="220" y="40"/>
                    <a:pt x="220" y="40"/>
                  </a:cubicBezTo>
                  <a:cubicBezTo>
                    <a:pt x="220" y="36"/>
                    <a:pt x="220" y="36"/>
                    <a:pt x="220" y="36"/>
                  </a:cubicBezTo>
                  <a:cubicBezTo>
                    <a:pt x="227" y="23"/>
                    <a:pt x="227" y="23"/>
                    <a:pt x="227" y="23"/>
                  </a:cubicBezTo>
                  <a:cubicBezTo>
                    <a:pt x="225" y="23"/>
                    <a:pt x="222" y="22"/>
                    <a:pt x="221" y="23"/>
                  </a:cubicBezTo>
                  <a:cubicBezTo>
                    <a:pt x="219" y="24"/>
                    <a:pt x="214" y="23"/>
                    <a:pt x="214" y="21"/>
                  </a:cubicBezTo>
                  <a:cubicBezTo>
                    <a:pt x="213" y="20"/>
                    <a:pt x="206" y="20"/>
                    <a:pt x="204" y="21"/>
                  </a:cubicBezTo>
                  <a:cubicBezTo>
                    <a:pt x="202" y="22"/>
                    <a:pt x="198" y="24"/>
                    <a:pt x="197" y="25"/>
                  </a:cubicBezTo>
                  <a:cubicBezTo>
                    <a:pt x="197" y="27"/>
                    <a:pt x="193" y="26"/>
                    <a:pt x="191" y="28"/>
                  </a:cubicBezTo>
                  <a:cubicBezTo>
                    <a:pt x="189" y="29"/>
                    <a:pt x="181" y="29"/>
                    <a:pt x="181" y="30"/>
                  </a:cubicBezTo>
                  <a:cubicBezTo>
                    <a:pt x="180" y="31"/>
                    <a:pt x="171" y="31"/>
                    <a:pt x="170" y="30"/>
                  </a:cubicBezTo>
                  <a:cubicBezTo>
                    <a:pt x="168" y="29"/>
                    <a:pt x="161" y="30"/>
                    <a:pt x="160" y="28"/>
                  </a:cubicBezTo>
                  <a:cubicBezTo>
                    <a:pt x="159" y="26"/>
                    <a:pt x="155" y="26"/>
                    <a:pt x="155" y="24"/>
                  </a:cubicBezTo>
                  <a:cubicBezTo>
                    <a:pt x="155" y="22"/>
                    <a:pt x="149" y="22"/>
                    <a:pt x="149" y="21"/>
                  </a:cubicBezTo>
                  <a:cubicBezTo>
                    <a:pt x="148" y="19"/>
                    <a:pt x="143" y="19"/>
                    <a:pt x="143" y="19"/>
                  </a:cubicBezTo>
                  <a:cubicBezTo>
                    <a:pt x="142" y="20"/>
                    <a:pt x="137" y="18"/>
                    <a:pt x="135" y="17"/>
                  </a:cubicBezTo>
                  <a:cubicBezTo>
                    <a:pt x="134" y="17"/>
                    <a:pt x="129" y="18"/>
                    <a:pt x="128" y="18"/>
                  </a:cubicBezTo>
                  <a:cubicBezTo>
                    <a:pt x="126" y="18"/>
                    <a:pt x="124" y="21"/>
                    <a:pt x="122" y="21"/>
                  </a:cubicBezTo>
                  <a:cubicBezTo>
                    <a:pt x="120" y="21"/>
                    <a:pt x="116" y="18"/>
                    <a:pt x="115" y="19"/>
                  </a:cubicBezTo>
                  <a:cubicBezTo>
                    <a:pt x="114" y="20"/>
                    <a:pt x="111" y="17"/>
                    <a:pt x="110" y="15"/>
                  </a:cubicBezTo>
                  <a:cubicBezTo>
                    <a:pt x="109" y="14"/>
                    <a:pt x="110" y="10"/>
                    <a:pt x="109" y="8"/>
                  </a:cubicBezTo>
                  <a:cubicBezTo>
                    <a:pt x="108" y="7"/>
                    <a:pt x="103" y="7"/>
                    <a:pt x="101" y="6"/>
                  </a:cubicBezTo>
                  <a:cubicBezTo>
                    <a:pt x="99" y="5"/>
                    <a:pt x="97" y="4"/>
                    <a:pt x="95" y="4"/>
                  </a:cubicBezTo>
                  <a:cubicBezTo>
                    <a:pt x="94" y="4"/>
                    <a:pt x="91" y="3"/>
                    <a:pt x="90" y="2"/>
                  </a:cubicBezTo>
                  <a:cubicBezTo>
                    <a:pt x="89" y="2"/>
                    <a:pt x="86" y="1"/>
                    <a:pt x="84" y="0"/>
                  </a:cubicBezTo>
                  <a:cubicBezTo>
                    <a:pt x="83" y="0"/>
                    <a:pt x="82" y="2"/>
                    <a:pt x="81" y="3"/>
                  </a:cubicBezTo>
                  <a:cubicBezTo>
                    <a:pt x="80" y="4"/>
                    <a:pt x="78" y="4"/>
                    <a:pt x="77" y="6"/>
                  </a:cubicBezTo>
                  <a:cubicBezTo>
                    <a:pt x="77" y="7"/>
                    <a:pt x="73" y="8"/>
                    <a:pt x="74" y="10"/>
                  </a:cubicBezTo>
                  <a:cubicBezTo>
                    <a:pt x="74" y="11"/>
                    <a:pt x="75" y="15"/>
                    <a:pt x="77" y="16"/>
                  </a:cubicBezTo>
                  <a:cubicBezTo>
                    <a:pt x="78" y="17"/>
                    <a:pt x="77" y="20"/>
                    <a:pt x="76" y="21"/>
                  </a:cubicBezTo>
                  <a:cubicBezTo>
                    <a:pt x="76" y="22"/>
                    <a:pt x="71" y="23"/>
                    <a:pt x="70" y="24"/>
                  </a:cubicBezTo>
                  <a:cubicBezTo>
                    <a:pt x="69" y="26"/>
                    <a:pt x="66" y="24"/>
                    <a:pt x="64" y="23"/>
                  </a:cubicBezTo>
                  <a:cubicBezTo>
                    <a:pt x="62" y="21"/>
                    <a:pt x="59" y="22"/>
                    <a:pt x="58" y="23"/>
                  </a:cubicBezTo>
                  <a:cubicBezTo>
                    <a:pt x="56" y="24"/>
                    <a:pt x="52" y="21"/>
                    <a:pt x="51" y="21"/>
                  </a:cubicBezTo>
                  <a:cubicBezTo>
                    <a:pt x="50" y="20"/>
                    <a:pt x="50" y="16"/>
                    <a:pt x="48" y="16"/>
                  </a:cubicBezTo>
                  <a:cubicBezTo>
                    <a:pt x="47" y="16"/>
                    <a:pt x="39" y="15"/>
                    <a:pt x="37" y="14"/>
                  </a:cubicBezTo>
                  <a:cubicBezTo>
                    <a:pt x="35" y="14"/>
                    <a:pt x="32" y="14"/>
                    <a:pt x="31" y="15"/>
                  </a:cubicBezTo>
                  <a:cubicBezTo>
                    <a:pt x="31" y="16"/>
                    <a:pt x="27" y="16"/>
                    <a:pt x="26" y="17"/>
                  </a:cubicBezTo>
                  <a:cubicBezTo>
                    <a:pt x="25" y="19"/>
                    <a:pt x="22" y="20"/>
                    <a:pt x="21" y="21"/>
                  </a:cubicBezTo>
                  <a:cubicBezTo>
                    <a:pt x="20" y="22"/>
                    <a:pt x="16" y="22"/>
                    <a:pt x="15" y="25"/>
                  </a:cubicBezTo>
                  <a:cubicBezTo>
                    <a:pt x="14" y="27"/>
                    <a:pt x="9" y="28"/>
                    <a:pt x="7" y="28"/>
                  </a:cubicBezTo>
                  <a:cubicBezTo>
                    <a:pt x="6" y="28"/>
                    <a:pt x="2" y="29"/>
                    <a:pt x="2" y="30"/>
                  </a:cubicBezTo>
                  <a:cubicBezTo>
                    <a:pt x="2" y="31"/>
                    <a:pt x="1" y="31"/>
                    <a:pt x="0" y="31"/>
                  </a:cubicBezTo>
                  <a:cubicBezTo>
                    <a:pt x="0" y="31"/>
                    <a:pt x="0" y="31"/>
                    <a:pt x="1" y="31"/>
                  </a:cubicBezTo>
                  <a:cubicBezTo>
                    <a:pt x="2" y="37"/>
                    <a:pt x="4" y="37"/>
                    <a:pt x="6" y="39"/>
                  </a:cubicBezTo>
                  <a:cubicBezTo>
                    <a:pt x="9" y="41"/>
                    <a:pt x="11" y="43"/>
                    <a:pt x="14" y="43"/>
                  </a:cubicBezTo>
                  <a:cubicBezTo>
                    <a:pt x="16" y="43"/>
                    <a:pt x="20" y="46"/>
                    <a:pt x="20" y="48"/>
                  </a:cubicBezTo>
                  <a:cubicBezTo>
                    <a:pt x="21" y="51"/>
                    <a:pt x="23" y="53"/>
                    <a:pt x="25" y="55"/>
                  </a:cubicBezTo>
                  <a:cubicBezTo>
                    <a:pt x="26" y="56"/>
                    <a:pt x="24" y="60"/>
                    <a:pt x="24" y="63"/>
                  </a:cubicBezTo>
                  <a:cubicBezTo>
                    <a:pt x="24" y="66"/>
                    <a:pt x="21" y="66"/>
                    <a:pt x="22" y="69"/>
                  </a:cubicBezTo>
                  <a:cubicBezTo>
                    <a:pt x="24" y="72"/>
                    <a:pt x="37" y="74"/>
                    <a:pt x="41" y="74"/>
                  </a:cubicBezTo>
                  <a:cubicBezTo>
                    <a:pt x="44" y="74"/>
                    <a:pt x="45" y="77"/>
                    <a:pt x="47" y="77"/>
                  </a:cubicBezTo>
                  <a:cubicBezTo>
                    <a:pt x="49" y="78"/>
                    <a:pt x="49" y="80"/>
                    <a:pt x="52" y="81"/>
                  </a:cubicBezTo>
                  <a:cubicBezTo>
                    <a:pt x="54" y="81"/>
                    <a:pt x="57" y="83"/>
                    <a:pt x="58" y="88"/>
                  </a:cubicBezTo>
                  <a:cubicBezTo>
                    <a:pt x="59" y="92"/>
                    <a:pt x="62" y="94"/>
                    <a:pt x="63" y="96"/>
                  </a:cubicBezTo>
                  <a:cubicBezTo>
                    <a:pt x="63" y="98"/>
                    <a:pt x="69" y="96"/>
                    <a:pt x="73" y="97"/>
                  </a:cubicBezTo>
                  <a:cubicBezTo>
                    <a:pt x="77" y="97"/>
                    <a:pt x="89" y="97"/>
                    <a:pt x="92" y="97"/>
                  </a:cubicBezTo>
                  <a:cubicBezTo>
                    <a:pt x="95" y="98"/>
                    <a:pt x="103" y="97"/>
                    <a:pt x="107" y="101"/>
                  </a:cubicBezTo>
                  <a:cubicBezTo>
                    <a:pt x="111" y="104"/>
                    <a:pt x="113" y="101"/>
                    <a:pt x="115" y="103"/>
                  </a:cubicBezTo>
                  <a:cubicBezTo>
                    <a:pt x="118" y="104"/>
                    <a:pt x="120" y="105"/>
                    <a:pt x="124" y="105"/>
                  </a:cubicBezTo>
                  <a:cubicBezTo>
                    <a:pt x="127" y="104"/>
                    <a:pt x="127" y="107"/>
                    <a:pt x="130" y="108"/>
                  </a:cubicBezTo>
                  <a:cubicBezTo>
                    <a:pt x="133" y="108"/>
                    <a:pt x="137" y="104"/>
                    <a:pt x="144" y="101"/>
                  </a:cubicBezTo>
                  <a:cubicBezTo>
                    <a:pt x="151" y="97"/>
                    <a:pt x="158" y="100"/>
                    <a:pt x="162" y="100"/>
                  </a:cubicBezTo>
                  <a:cubicBezTo>
                    <a:pt x="166" y="101"/>
                    <a:pt x="172" y="99"/>
                    <a:pt x="177" y="94"/>
                  </a:cubicBezTo>
                  <a:cubicBezTo>
                    <a:pt x="181" y="89"/>
                    <a:pt x="186" y="90"/>
                    <a:pt x="186" y="86"/>
                  </a:cubicBezTo>
                  <a:cubicBezTo>
                    <a:pt x="187" y="82"/>
                    <a:pt x="182" y="80"/>
                    <a:pt x="184" y="77"/>
                  </a:cubicBezTo>
                  <a:cubicBezTo>
                    <a:pt x="186" y="73"/>
                    <a:pt x="190" y="74"/>
                    <a:pt x="192" y="75"/>
                  </a:cubicBezTo>
                  <a:cubicBezTo>
                    <a:pt x="194" y="76"/>
                    <a:pt x="200" y="77"/>
                    <a:pt x="205" y="74"/>
                  </a:cubicBezTo>
                  <a:cubicBezTo>
                    <a:pt x="210" y="70"/>
                    <a:pt x="212" y="71"/>
                    <a:pt x="217" y="70"/>
                  </a:cubicBezTo>
                  <a:cubicBezTo>
                    <a:pt x="222" y="69"/>
                    <a:pt x="221" y="66"/>
                    <a:pt x="224" y="63"/>
                  </a:cubicBezTo>
                  <a:cubicBezTo>
                    <a:pt x="227" y="60"/>
                    <a:pt x="231" y="59"/>
                    <a:pt x="234" y="59"/>
                  </a:cubicBezTo>
                  <a:cubicBezTo>
                    <a:pt x="237" y="59"/>
                    <a:pt x="241" y="56"/>
                    <a:pt x="244" y="57"/>
                  </a:cubicBezTo>
                  <a:cubicBezTo>
                    <a:pt x="248" y="58"/>
                    <a:pt x="252" y="59"/>
                    <a:pt x="253" y="56"/>
                  </a:cubicBezTo>
                  <a:cubicBezTo>
                    <a:pt x="253" y="53"/>
                    <a:pt x="245" y="48"/>
                    <a:pt x="242" y="45"/>
                  </a:cubicBezTo>
                  <a:close/>
                </a:path>
              </a:pathLst>
            </a:custGeom>
            <a:grpFill/>
            <a:ln w="4763" cap="flat">
              <a:solidFill>
                <a:srgbClr val="DFE6E9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27" name="Freeform 61">
              <a:extLst>
                <a:ext uri="{FF2B5EF4-FFF2-40B4-BE49-F238E27FC236}">
                  <a16:creationId xmlns:a16="http://schemas.microsoft.com/office/drawing/2014/main" id="{7CCDCCCC-7C4F-BED0-F0DC-9B801110E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1172" y="2990640"/>
              <a:ext cx="125639" cy="173677"/>
            </a:xfrm>
            <a:custGeom>
              <a:avLst/>
              <a:gdLst>
                <a:gd name="T0" fmla="*/ 56 w 112"/>
                <a:gd name="T1" fmla="*/ 156 h 156"/>
                <a:gd name="T2" fmla="*/ 0 w 112"/>
                <a:gd name="T3" fmla="*/ 56 h 156"/>
                <a:gd name="T4" fmla="*/ 56 w 112"/>
                <a:gd name="T5" fmla="*/ 0 h 156"/>
                <a:gd name="T6" fmla="*/ 112 w 112"/>
                <a:gd name="T7" fmla="*/ 56 h 156"/>
                <a:gd name="T8" fmla="*/ 56 w 112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56">
                  <a:moveTo>
                    <a:pt x="56" y="156"/>
                  </a:moveTo>
                  <a:cubicBezTo>
                    <a:pt x="56" y="156"/>
                    <a:pt x="0" y="104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87" y="0"/>
                    <a:pt x="112" y="25"/>
                    <a:pt x="112" y="56"/>
                  </a:cubicBezTo>
                  <a:cubicBezTo>
                    <a:pt x="112" y="104"/>
                    <a:pt x="56" y="156"/>
                    <a:pt x="56" y="156"/>
                  </a:cubicBezTo>
                </a:path>
              </a:pathLst>
            </a:custGeom>
            <a:grpFill/>
            <a:ln w="9525">
              <a:solidFill>
                <a:srgbClr val="DFE6E9"/>
              </a:solidFill>
              <a:round/>
              <a:headEnd/>
              <a:tailEnd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</p:grpSp>
      <p:sp>
        <p:nvSpPr>
          <p:cNvPr id="12" name="Ellipse 16">
            <a:extLst>
              <a:ext uri="{FF2B5EF4-FFF2-40B4-BE49-F238E27FC236}">
                <a16:creationId xmlns:a16="http://schemas.microsoft.com/office/drawing/2014/main" id="{0E3AB7D1-4157-5373-E2DD-C58E83937B45}"/>
              </a:ext>
            </a:extLst>
          </p:cNvPr>
          <p:cNvSpPr/>
          <p:nvPr/>
        </p:nvSpPr>
        <p:spPr>
          <a:xfrm>
            <a:off x="6789899" y="2950355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Ellipse 17">
            <a:extLst>
              <a:ext uri="{FF2B5EF4-FFF2-40B4-BE49-F238E27FC236}">
                <a16:creationId xmlns:a16="http://schemas.microsoft.com/office/drawing/2014/main" id="{3BDAA244-CEF2-4585-07F3-B398DA4F9612}"/>
              </a:ext>
            </a:extLst>
          </p:cNvPr>
          <p:cNvSpPr/>
          <p:nvPr/>
        </p:nvSpPr>
        <p:spPr>
          <a:xfrm>
            <a:off x="6850178" y="3028362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Ellipse 18">
            <a:extLst>
              <a:ext uri="{FF2B5EF4-FFF2-40B4-BE49-F238E27FC236}">
                <a16:creationId xmlns:a16="http://schemas.microsoft.com/office/drawing/2014/main" id="{59C982AD-4AE2-EBA5-45A9-4AFF90E1FAC6}"/>
              </a:ext>
            </a:extLst>
          </p:cNvPr>
          <p:cNvSpPr/>
          <p:nvPr/>
        </p:nvSpPr>
        <p:spPr>
          <a:xfrm>
            <a:off x="6860815" y="3386489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Ellipse 19">
            <a:extLst>
              <a:ext uri="{FF2B5EF4-FFF2-40B4-BE49-F238E27FC236}">
                <a16:creationId xmlns:a16="http://schemas.microsoft.com/office/drawing/2014/main" id="{9649AFEF-49C5-4EFB-9464-D0CDA489CFA1}"/>
              </a:ext>
            </a:extLst>
          </p:cNvPr>
          <p:cNvSpPr/>
          <p:nvPr/>
        </p:nvSpPr>
        <p:spPr>
          <a:xfrm>
            <a:off x="7148026" y="3248203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Ellipse 20">
            <a:extLst>
              <a:ext uri="{FF2B5EF4-FFF2-40B4-BE49-F238E27FC236}">
                <a16:creationId xmlns:a16="http://schemas.microsoft.com/office/drawing/2014/main" id="{F95E54FA-0C25-47E4-73A4-436D5049D716}"/>
              </a:ext>
            </a:extLst>
          </p:cNvPr>
          <p:cNvSpPr/>
          <p:nvPr/>
        </p:nvSpPr>
        <p:spPr>
          <a:xfrm>
            <a:off x="7406869" y="2996450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Ellipse 21">
            <a:extLst>
              <a:ext uri="{FF2B5EF4-FFF2-40B4-BE49-F238E27FC236}">
                <a16:creationId xmlns:a16="http://schemas.microsoft.com/office/drawing/2014/main" id="{941D7DB6-7CF8-F0F7-9871-9C52C96C4F9C}"/>
              </a:ext>
            </a:extLst>
          </p:cNvPr>
          <p:cNvSpPr/>
          <p:nvPr/>
        </p:nvSpPr>
        <p:spPr>
          <a:xfrm>
            <a:off x="7222487" y="2985814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Ellipse 22">
            <a:extLst>
              <a:ext uri="{FF2B5EF4-FFF2-40B4-BE49-F238E27FC236}">
                <a16:creationId xmlns:a16="http://schemas.microsoft.com/office/drawing/2014/main" id="{DD290A52-95BC-8ACE-8409-619A774EC735}"/>
              </a:ext>
            </a:extLst>
          </p:cNvPr>
          <p:cNvSpPr/>
          <p:nvPr/>
        </p:nvSpPr>
        <p:spPr>
          <a:xfrm>
            <a:off x="7176391" y="3063822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Ellipse 23">
            <a:extLst>
              <a:ext uri="{FF2B5EF4-FFF2-40B4-BE49-F238E27FC236}">
                <a16:creationId xmlns:a16="http://schemas.microsoft.com/office/drawing/2014/main" id="{EED7890D-AFBC-AA4C-C2A4-6C736151EEED}"/>
              </a:ext>
            </a:extLst>
          </p:cNvPr>
          <p:cNvSpPr/>
          <p:nvPr/>
        </p:nvSpPr>
        <p:spPr>
          <a:xfrm>
            <a:off x="7137388" y="3028364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Ellipse 24">
            <a:extLst>
              <a:ext uri="{FF2B5EF4-FFF2-40B4-BE49-F238E27FC236}">
                <a16:creationId xmlns:a16="http://schemas.microsoft.com/office/drawing/2014/main" id="{FEB84D6D-750A-26E9-E911-541466D1153C}"/>
              </a:ext>
            </a:extLst>
          </p:cNvPr>
          <p:cNvSpPr/>
          <p:nvPr/>
        </p:nvSpPr>
        <p:spPr>
          <a:xfrm>
            <a:off x="7013284" y="2975177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Ellipse 25">
            <a:extLst>
              <a:ext uri="{FF2B5EF4-FFF2-40B4-BE49-F238E27FC236}">
                <a16:creationId xmlns:a16="http://schemas.microsoft.com/office/drawing/2014/main" id="{4DC0751A-47AD-B50B-718C-9359C4A354B2}"/>
              </a:ext>
            </a:extLst>
          </p:cNvPr>
          <p:cNvSpPr/>
          <p:nvPr/>
        </p:nvSpPr>
        <p:spPr>
          <a:xfrm>
            <a:off x="7038105" y="3024819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Ellipse 26">
            <a:extLst>
              <a:ext uri="{FF2B5EF4-FFF2-40B4-BE49-F238E27FC236}">
                <a16:creationId xmlns:a16="http://schemas.microsoft.com/office/drawing/2014/main" id="{9A83C093-412C-9D12-341A-CDDBD71AC685}"/>
              </a:ext>
            </a:extLst>
          </p:cNvPr>
          <p:cNvSpPr/>
          <p:nvPr/>
        </p:nvSpPr>
        <p:spPr>
          <a:xfrm>
            <a:off x="7031014" y="3085098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Ellipse 27">
            <a:extLst>
              <a:ext uri="{FF2B5EF4-FFF2-40B4-BE49-F238E27FC236}">
                <a16:creationId xmlns:a16="http://schemas.microsoft.com/office/drawing/2014/main" id="{0784395A-FCE9-3EB4-9A2E-01DA64806A56}"/>
              </a:ext>
            </a:extLst>
          </p:cNvPr>
          <p:cNvSpPr/>
          <p:nvPr/>
        </p:nvSpPr>
        <p:spPr>
          <a:xfrm>
            <a:off x="7027467" y="3131194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lipse 28">
            <a:extLst>
              <a:ext uri="{FF2B5EF4-FFF2-40B4-BE49-F238E27FC236}">
                <a16:creationId xmlns:a16="http://schemas.microsoft.com/office/drawing/2014/main" id="{DAF7B01E-12B6-E396-6E8D-253601B52918}"/>
              </a:ext>
            </a:extLst>
          </p:cNvPr>
          <p:cNvSpPr/>
          <p:nvPr/>
        </p:nvSpPr>
        <p:spPr>
          <a:xfrm>
            <a:off x="6935276" y="3141831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Ellipse 29">
            <a:extLst>
              <a:ext uri="{FF2B5EF4-FFF2-40B4-BE49-F238E27FC236}">
                <a16:creationId xmlns:a16="http://schemas.microsoft.com/office/drawing/2014/main" id="{B37FD6D9-6EE3-C0F2-335A-7C12A6BC4725}"/>
              </a:ext>
            </a:extLst>
          </p:cNvPr>
          <p:cNvSpPr/>
          <p:nvPr/>
        </p:nvSpPr>
        <p:spPr>
          <a:xfrm>
            <a:off x="8917384" y="4085015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Ellipse 30">
            <a:extLst>
              <a:ext uri="{FF2B5EF4-FFF2-40B4-BE49-F238E27FC236}">
                <a16:creationId xmlns:a16="http://schemas.microsoft.com/office/drawing/2014/main" id="{A3A3161E-7F91-652F-FCC9-3A88C570DDC2}"/>
              </a:ext>
            </a:extLst>
          </p:cNvPr>
          <p:cNvSpPr/>
          <p:nvPr/>
        </p:nvSpPr>
        <p:spPr>
          <a:xfrm>
            <a:off x="9473621" y="4480023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Ellipse 31">
            <a:extLst>
              <a:ext uri="{FF2B5EF4-FFF2-40B4-BE49-F238E27FC236}">
                <a16:creationId xmlns:a16="http://schemas.microsoft.com/office/drawing/2014/main" id="{BF9BE75A-191B-1865-9838-725C725E8078}"/>
              </a:ext>
            </a:extLst>
          </p:cNvPr>
          <p:cNvSpPr/>
          <p:nvPr/>
        </p:nvSpPr>
        <p:spPr>
          <a:xfrm>
            <a:off x="9602604" y="4459869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Ellipse 32">
            <a:extLst>
              <a:ext uri="{FF2B5EF4-FFF2-40B4-BE49-F238E27FC236}">
                <a16:creationId xmlns:a16="http://schemas.microsoft.com/office/drawing/2014/main" id="{E6000106-A17B-A9DA-E7A3-B9328E80A92F}"/>
              </a:ext>
            </a:extLst>
          </p:cNvPr>
          <p:cNvSpPr/>
          <p:nvPr/>
        </p:nvSpPr>
        <p:spPr>
          <a:xfrm>
            <a:off x="9755770" y="3863324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Ellipse 33">
            <a:extLst>
              <a:ext uri="{FF2B5EF4-FFF2-40B4-BE49-F238E27FC236}">
                <a16:creationId xmlns:a16="http://schemas.microsoft.com/office/drawing/2014/main" id="{1EA22D35-740D-192E-F082-AF7B8D6D68D3}"/>
              </a:ext>
            </a:extLst>
          </p:cNvPr>
          <p:cNvSpPr/>
          <p:nvPr/>
        </p:nvSpPr>
        <p:spPr>
          <a:xfrm>
            <a:off x="9848476" y="3947968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Ellipse 34">
            <a:extLst>
              <a:ext uri="{FF2B5EF4-FFF2-40B4-BE49-F238E27FC236}">
                <a16:creationId xmlns:a16="http://schemas.microsoft.com/office/drawing/2014/main" id="{61C4FC2F-98C6-4E1D-15D4-8A58B7D944CB}"/>
              </a:ext>
            </a:extLst>
          </p:cNvPr>
          <p:cNvSpPr/>
          <p:nvPr/>
        </p:nvSpPr>
        <p:spPr>
          <a:xfrm>
            <a:off x="10037920" y="3774647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Ellipse 35">
            <a:extLst>
              <a:ext uri="{FF2B5EF4-FFF2-40B4-BE49-F238E27FC236}">
                <a16:creationId xmlns:a16="http://schemas.microsoft.com/office/drawing/2014/main" id="{6B04DEB4-6A33-B8B7-7113-46053555142F}"/>
              </a:ext>
            </a:extLst>
          </p:cNvPr>
          <p:cNvSpPr/>
          <p:nvPr/>
        </p:nvSpPr>
        <p:spPr>
          <a:xfrm>
            <a:off x="9993582" y="3702095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Ellipse 36">
            <a:extLst>
              <a:ext uri="{FF2B5EF4-FFF2-40B4-BE49-F238E27FC236}">
                <a16:creationId xmlns:a16="http://schemas.microsoft.com/office/drawing/2014/main" id="{619671E5-D4FF-7653-B2FD-EB0F4BC5EF13}"/>
              </a:ext>
            </a:extLst>
          </p:cNvPr>
          <p:cNvSpPr/>
          <p:nvPr/>
        </p:nvSpPr>
        <p:spPr>
          <a:xfrm>
            <a:off x="9973429" y="3528775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Ellipse 37">
            <a:extLst>
              <a:ext uri="{FF2B5EF4-FFF2-40B4-BE49-F238E27FC236}">
                <a16:creationId xmlns:a16="http://schemas.microsoft.com/office/drawing/2014/main" id="{0E6DBCFC-2523-B273-8F7A-40981362E305}"/>
              </a:ext>
            </a:extLst>
          </p:cNvPr>
          <p:cNvSpPr/>
          <p:nvPr/>
        </p:nvSpPr>
        <p:spPr>
          <a:xfrm>
            <a:off x="9968358" y="5375218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0" name="Ellipse 38">
            <a:extLst>
              <a:ext uri="{FF2B5EF4-FFF2-40B4-BE49-F238E27FC236}">
                <a16:creationId xmlns:a16="http://schemas.microsoft.com/office/drawing/2014/main" id="{BF5B866D-87D5-09A8-E18A-25232C63D129}"/>
              </a:ext>
            </a:extLst>
          </p:cNvPr>
          <p:cNvSpPr/>
          <p:nvPr/>
        </p:nvSpPr>
        <p:spPr>
          <a:xfrm>
            <a:off x="10812620" y="5548919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1" name="Ellipse 39">
            <a:extLst>
              <a:ext uri="{FF2B5EF4-FFF2-40B4-BE49-F238E27FC236}">
                <a16:creationId xmlns:a16="http://schemas.microsoft.com/office/drawing/2014/main" id="{651C9E43-474F-213D-9A61-B06CC7A402EE}"/>
              </a:ext>
            </a:extLst>
          </p:cNvPr>
          <p:cNvSpPr/>
          <p:nvPr/>
        </p:nvSpPr>
        <p:spPr>
          <a:xfrm>
            <a:off x="10954087" y="5414222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2" name="Ellipse 40">
            <a:extLst>
              <a:ext uri="{FF2B5EF4-FFF2-40B4-BE49-F238E27FC236}">
                <a16:creationId xmlns:a16="http://schemas.microsoft.com/office/drawing/2014/main" id="{9A6A1048-065A-BF92-10E7-584E8A03C542}"/>
              </a:ext>
            </a:extLst>
          </p:cNvPr>
          <p:cNvSpPr/>
          <p:nvPr/>
        </p:nvSpPr>
        <p:spPr>
          <a:xfrm>
            <a:off x="4638367" y="3836488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3" name="Ellipse 41">
            <a:extLst>
              <a:ext uri="{FF2B5EF4-FFF2-40B4-BE49-F238E27FC236}">
                <a16:creationId xmlns:a16="http://schemas.microsoft.com/office/drawing/2014/main" id="{2D6A01ED-CCF4-9E7D-1B46-085D77920725}"/>
              </a:ext>
            </a:extLst>
          </p:cNvPr>
          <p:cNvSpPr/>
          <p:nvPr/>
        </p:nvSpPr>
        <p:spPr>
          <a:xfrm>
            <a:off x="4585968" y="3731689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4" name="Ellipse 42">
            <a:extLst>
              <a:ext uri="{FF2B5EF4-FFF2-40B4-BE49-F238E27FC236}">
                <a16:creationId xmlns:a16="http://schemas.microsoft.com/office/drawing/2014/main" id="{26B10EFF-F2EB-FB72-6820-9DB0EF04ECCD}"/>
              </a:ext>
            </a:extLst>
          </p:cNvPr>
          <p:cNvSpPr/>
          <p:nvPr/>
        </p:nvSpPr>
        <p:spPr>
          <a:xfrm>
            <a:off x="4258473" y="3705490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5" name="Ellipse 43">
            <a:extLst>
              <a:ext uri="{FF2B5EF4-FFF2-40B4-BE49-F238E27FC236}">
                <a16:creationId xmlns:a16="http://schemas.microsoft.com/office/drawing/2014/main" id="{4BF151E1-3BC1-6898-39C7-A0BD47C6DE46}"/>
              </a:ext>
            </a:extLst>
          </p:cNvPr>
          <p:cNvSpPr/>
          <p:nvPr/>
        </p:nvSpPr>
        <p:spPr>
          <a:xfrm>
            <a:off x="4075076" y="3682565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6" name="Ellipse 44">
            <a:extLst>
              <a:ext uri="{FF2B5EF4-FFF2-40B4-BE49-F238E27FC236}">
                <a16:creationId xmlns:a16="http://schemas.microsoft.com/office/drawing/2014/main" id="{819BDE57-8F33-64CA-EAAA-5D98382E904F}"/>
              </a:ext>
            </a:extLst>
          </p:cNvPr>
          <p:cNvSpPr/>
          <p:nvPr/>
        </p:nvSpPr>
        <p:spPr>
          <a:xfrm>
            <a:off x="4134025" y="3564667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7" name="Ellipse 45">
            <a:extLst>
              <a:ext uri="{FF2B5EF4-FFF2-40B4-BE49-F238E27FC236}">
                <a16:creationId xmlns:a16="http://schemas.microsoft.com/office/drawing/2014/main" id="{0785302C-DF2F-11A0-72F9-DB0F9F2C9D28}"/>
              </a:ext>
            </a:extLst>
          </p:cNvPr>
          <p:cNvSpPr/>
          <p:nvPr/>
        </p:nvSpPr>
        <p:spPr>
          <a:xfrm>
            <a:off x="4271573" y="3433669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8" name="Ellipse 46">
            <a:extLst>
              <a:ext uri="{FF2B5EF4-FFF2-40B4-BE49-F238E27FC236}">
                <a16:creationId xmlns:a16="http://schemas.microsoft.com/office/drawing/2014/main" id="{CB55243A-B88A-385F-DDA7-68F43B29FF0E}"/>
              </a:ext>
            </a:extLst>
          </p:cNvPr>
          <p:cNvSpPr/>
          <p:nvPr/>
        </p:nvSpPr>
        <p:spPr>
          <a:xfrm>
            <a:off x="4566318" y="3617066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49" name="Ellipse 47">
            <a:extLst>
              <a:ext uri="{FF2B5EF4-FFF2-40B4-BE49-F238E27FC236}">
                <a16:creationId xmlns:a16="http://schemas.microsoft.com/office/drawing/2014/main" id="{7856C6B0-9516-D260-6206-09C7917957F8}"/>
              </a:ext>
            </a:extLst>
          </p:cNvPr>
          <p:cNvSpPr/>
          <p:nvPr/>
        </p:nvSpPr>
        <p:spPr>
          <a:xfrm>
            <a:off x="5044461" y="3210973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0" name="Ellipse 48">
            <a:extLst>
              <a:ext uri="{FF2B5EF4-FFF2-40B4-BE49-F238E27FC236}">
                <a16:creationId xmlns:a16="http://schemas.microsoft.com/office/drawing/2014/main" id="{91D5C5A7-4062-9C02-8C74-16CF3C49A0CA}"/>
              </a:ext>
            </a:extLst>
          </p:cNvPr>
          <p:cNvSpPr/>
          <p:nvPr/>
        </p:nvSpPr>
        <p:spPr>
          <a:xfrm>
            <a:off x="4969137" y="3266647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1" name="Ellipse 49">
            <a:extLst>
              <a:ext uri="{FF2B5EF4-FFF2-40B4-BE49-F238E27FC236}">
                <a16:creationId xmlns:a16="http://schemas.microsoft.com/office/drawing/2014/main" id="{7F3E247C-A6F8-28C7-B6B2-73DFAD46A15A}"/>
              </a:ext>
            </a:extLst>
          </p:cNvPr>
          <p:cNvSpPr/>
          <p:nvPr/>
        </p:nvSpPr>
        <p:spPr>
          <a:xfrm>
            <a:off x="4893813" y="3286296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2" name="Ellipse 50">
            <a:extLst>
              <a:ext uri="{FF2B5EF4-FFF2-40B4-BE49-F238E27FC236}">
                <a16:creationId xmlns:a16="http://schemas.microsoft.com/office/drawing/2014/main" id="{39BFF1EE-AF62-232D-DD5C-E18820347FB8}"/>
              </a:ext>
            </a:extLst>
          </p:cNvPr>
          <p:cNvSpPr/>
          <p:nvPr/>
        </p:nvSpPr>
        <p:spPr>
          <a:xfrm>
            <a:off x="4874164" y="3364895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3" name="Ellipse 51">
            <a:extLst>
              <a:ext uri="{FF2B5EF4-FFF2-40B4-BE49-F238E27FC236}">
                <a16:creationId xmlns:a16="http://schemas.microsoft.com/office/drawing/2014/main" id="{81ECD90D-A786-D0E7-321F-1EA5ABA715E7}"/>
              </a:ext>
            </a:extLst>
          </p:cNvPr>
          <p:cNvSpPr/>
          <p:nvPr/>
        </p:nvSpPr>
        <p:spPr>
          <a:xfrm>
            <a:off x="4808665" y="3332146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4" name="Ellipse 52">
            <a:extLst>
              <a:ext uri="{FF2B5EF4-FFF2-40B4-BE49-F238E27FC236}">
                <a16:creationId xmlns:a16="http://schemas.microsoft.com/office/drawing/2014/main" id="{38EA4587-2580-8D26-5D71-2215F5E89D8A}"/>
              </a:ext>
            </a:extLst>
          </p:cNvPr>
          <p:cNvSpPr/>
          <p:nvPr/>
        </p:nvSpPr>
        <p:spPr>
          <a:xfrm>
            <a:off x="4795565" y="3430394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5" name="Ellipse 53">
            <a:extLst>
              <a:ext uri="{FF2B5EF4-FFF2-40B4-BE49-F238E27FC236}">
                <a16:creationId xmlns:a16="http://schemas.microsoft.com/office/drawing/2014/main" id="{E56F5F89-A666-9287-EEF7-61A9396FAC67}"/>
              </a:ext>
            </a:extLst>
          </p:cNvPr>
          <p:cNvSpPr/>
          <p:nvPr/>
        </p:nvSpPr>
        <p:spPr>
          <a:xfrm>
            <a:off x="4713691" y="3358345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6" name="Ellipse 54">
            <a:extLst>
              <a:ext uri="{FF2B5EF4-FFF2-40B4-BE49-F238E27FC236}">
                <a16:creationId xmlns:a16="http://schemas.microsoft.com/office/drawing/2014/main" id="{9CB8A1D4-4577-2F00-4B7D-6C2977791913}"/>
              </a:ext>
            </a:extLst>
          </p:cNvPr>
          <p:cNvSpPr/>
          <p:nvPr/>
        </p:nvSpPr>
        <p:spPr>
          <a:xfrm>
            <a:off x="4674392" y="3430394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7" name="Ellipse 55">
            <a:extLst>
              <a:ext uri="{FF2B5EF4-FFF2-40B4-BE49-F238E27FC236}">
                <a16:creationId xmlns:a16="http://schemas.microsoft.com/office/drawing/2014/main" id="{923925F2-23C6-7EC4-0AD0-3EB75989CFBC}"/>
              </a:ext>
            </a:extLst>
          </p:cNvPr>
          <p:cNvSpPr/>
          <p:nvPr/>
        </p:nvSpPr>
        <p:spPr>
          <a:xfrm>
            <a:off x="4612168" y="3443494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8" name="Ellipse 56">
            <a:extLst>
              <a:ext uri="{FF2B5EF4-FFF2-40B4-BE49-F238E27FC236}">
                <a16:creationId xmlns:a16="http://schemas.microsoft.com/office/drawing/2014/main" id="{9334EF36-E866-2DA8-419D-0A06F2ABD1F6}"/>
              </a:ext>
            </a:extLst>
          </p:cNvPr>
          <p:cNvSpPr/>
          <p:nvPr/>
        </p:nvSpPr>
        <p:spPr>
          <a:xfrm>
            <a:off x="4576143" y="3499168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9" name="Ellipse 57">
            <a:extLst>
              <a:ext uri="{FF2B5EF4-FFF2-40B4-BE49-F238E27FC236}">
                <a16:creationId xmlns:a16="http://schemas.microsoft.com/office/drawing/2014/main" id="{A53F828E-FCB9-0187-FED6-512B20F2F0A5}"/>
              </a:ext>
            </a:extLst>
          </p:cNvPr>
          <p:cNvSpPr/>
          <p:nvPr/>
        </p:nvSpPr>
        <p:spPr>
          <a:xfrm>
            <a:off x="4549944" y="3289571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0" name="Ellipse 58">
            <a:extLst>
              <a:ext uri="{FF2B5EF4-FFF2-40B4-BE49-F238E27FC236}">
                <a16:creationId xmlns:a16="http://schemas.microsoft.com/office/drawing/2014/main" id="{5C98EA02-3419-B106-0C26-59707B73FD75}"/>
              </a:ext>
            </a:extLst>
          </p:cNvPr>
          <p:cNvSpPr/>
          <p:nvPr/>
        </p:nvSpPr>
        <p:spPr>
          <a:xfrm>
            <a:off x="4481170" y="3374720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1" name="Ellipse 59">
            <a:extLst>
              <a:ext uri="{FF2B5EF4-FFF2-40B4-BE49-F238E27FC236}">
                <a16:creationId xmlns:a16="http://schemas.microsoft.com/office/drawing/2014/main" id="{8CB4DB9E-AF02-D0F8-20E1-1827A7242D0B}"/>
              </a:ext>
            </a:extLst>
          </p:cNvPr>
          <p:cNvSpPr/>
          <p:nvPr/>
        </p:nvSpPr>
        <p:spPr>
          <a:xfrm>
            <a:off x="4448420" y="3302671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2" name="Ellipse 60">
            <a:extLst>
              <a:ext uri="{FF2B5EF4-FFF2-40B4-BE49-F238E27FC236}">
                <a16:creationId xmlns:a16="http://schemas.microsoft.com/office/drawing/2014/main" id="{95064D7E-3A6A-5538-8676-FA65F72A01DA}"/>
              </a:ext>
            </a:extLst>
          </p:cNvPr>
          <p:cNvSpPr/>
          <p:nvPr/>
        </p:nvSpPr>
        <p:spPr>
          <a:xfrm>
            <a:off x="4382921" y="3361620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63" name="Ellipse 61">
            <a:extLst>
              <a:ext uri="{FF2B5EF4-FFF2-40B4-BE49-F238E27FC236}">
                <a16:creationId xmlns:a16="http://schemas.microsoft.com/office/drawing/2014/main" id="{1DEBAF37-F2C7-1F11-47EC-B586C59D78BE}"/>
              </a:ext>
            </a:extLst>
          </p:cNvPr>
          <p:cNvSpPr/>
          <p:nvPr/>
        </p:nvSpPr>
        <p:spPr>
          <a:xfrm>
            <a:off x="4330522" y="3266647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48" name="Ellipse 62">
            <a:extLst>
              <a:ext uri="{FF2B5EF4-FFF2-40B4-BE49-F238E27FC236}">
                <a16:creationId xmlns:a16="http://schemas.microsoft.com/office/drawing/2014/main" id="{8754E337-49FB-2ABE-0E69-D6CBF00F2443}"/>
              </a:ext>
            </a:extLst>
          </p:cNvPr>
          <p:cNvSpPr/>
          <p:nvPr/>
        </p:nvSpPr>
        <p:spPr>
          <a:xfrm>
            <a:off x="4716966" y="3237172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55" name="Ellipse 63">
            <a:extLst>
              <a:ext uri="{FF2B5EF4-FFF2-40B4-BE49-F238E27FC236}">
                <a16:creationId xmlns:a16="http://schemas.microsoft.com/office/drawing/2014/main" id="{3FF1D3E5-5C66-184E-526D-F209C05E0F0D}"/>
              </a:ext>
            </a:extLst>
          </p:cNvPr>
          <p:cNvSpPr/>
          <p:nvPr/>
        </p:nvSpPr>
        <p:spPr>
          <a:xfrm>
            <a:off x="3616583" y="3220797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62" name="Ellipse 64">
            <a:extLst>
              <a:ext uri="{FF2B5EF4-FFF2-40B4-BE49-F238E27FC236}">
                <a16:creationId xmlns:a16="http://schemas.microsoft.com/office/drawing/2014/main" id="{0DE0D92F-040F-1F21-25F3-15DDDDB9C9E8}"/>
              </a:ext>
            </a:extLst>
          </p:cNvPr>
          <p:cNvSpPr/>
          <p:nvPr/>
        </p:nvSpPr>
        <p:spPr>
          <a:xfrm>
            <a:off x="3521610" y="3296121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63" name="Ellipse 65">
            <a:extLst>
              <a:ext uri="{FF2B5EF4-FFF2-40B4-BE49-F238E27FC236}">
                <a16:creationId xmlns:a16="http://schemas.microsoft.com/office/drawing/2014/main" id="{A66CDEF3-F3B9-1BB7-D087-9F8E4A115842}"/>
              </a:ext>
            </a:extLst>
          </p:cNvPr>
          <p:cNvSpPr/>
          <p:nvPr/>
        </p:nvSpPr>
        <p:spPr>
          <a:xfrm>
            <a:off x="3501960" y="3220797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64" name="Ellipse 66">
            <a:extLst>
              <a:ext uri="{FF2B5EF4-FFF2-40B4-BE49-F238E27FC236}">
                <a16:creationId xmlns:a16="http://schemas.microsoft.com/office/drawing/2014/main" id="{A461EEA7-6B6B-DB47-29CE-98C009C1B577}"/>
              </a:ext>
            </a:extLst>
          </p:cNvPr>
          <p:cNvSpPr/>
          <p:nvPr/>
        </p:nvSpPr>
        <p:spPr>
          <a:xfrm>
            <a:off x="3524885" y="3495893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65" name="Ellipse 67">
            <a:extLst>
              <a:ext uri="{FF2B5EF4-FFF2-40B4-BE49-F238E27FC236}">
                <a16:creationId xmlns:a16="http://schemas.microsoft.com/office/drawing/2014/main" id="{99164A86-6662-C174-0967-0D67D0E9801A}"/>
              </a:ext>
            </a:extLst>
          </p:cNvPr>
          <p:cNvSpPr/>
          <p:nvPr/>
        </p:nvSpPr>
        <p:spPr>
          <a:xfrm>
            <a:off x="3632958" y="3600691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66" name="Ellipse 68">
            <a:extLst>
              <a:ext uri="{FF2B5EF4-FFF2-40B4-BE49-F238E27FC236}">
                <a16:creationId xmlns:a16="http://schemas.microsoft.com/office/drawing/2014/main" id="{0C7ADE33-C53A-82AF-A781-4A8135FD02AF}"/>
              </a:ext>
            </a:extLst>
          </p:cNvPr>
          <p:cNvSpPr/>
          <p:nvPr/>
        </p:nvSpPr>
        <p:spPr>
          <a:xfrm>
            <a:off x="3718107" y="3653091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067" name="Ellipse 69">
            <a:extLst>
              <a:ext uri="{FF2B5EF4-FFF2-40B4-BE49-F238E27FC236}">
                <a16:creationId xmlns:a16="http://schemas.microsoft.com/office/drawing/2014/main" id="{11A43ACF-8F65-9FD2-F780-C5969F939CA2}"/>
              </a:ext>
            </a:extLst>
          </p:cNvPr>
          <p:cNvSpPr/>
          <p:nvPr/>
        </p:nvSpPr>
        <p:spPr>
          <a:xfrm>
            <a:off x="3737756" y="3522093"/>
            <a:ext cx="78008" cy="78008"/>
          </a:xfrm>
          <a:prstGeom prst="ellipse">
            <a:avLst/>
          </a:prstGeom>
          <a:solidFill>
            <a:schemeClr val="accent1"/>
          </a:solidFill>
          <a:ln w="44450">
            <a:solidFill>
              <a:schemeClr val="bg1">
                <a:alpha val="81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cxnSp>
        <p:nvCxnSpPr>
          <p:cNvPr id="2068" name="Connecteur droit 77">
            <a:extLst>
              <a:ext uri="{FF2B5EF4-FFF2-40B4-BE49-F238E27FC236}">
                <a16:creationId xmlns:a16="http://schemas.microsoft.com/office/drawing/2014/main" id="{E4BB6A2B-A3B2-2704-EC97-26A8B1964611}"/>
              </a:ext>
            </a:extLst>
          </p:cNvPr>
          <p:cNvCxnSpPr>
            <a:cxnSpLocks/>
            <a:endCxn id="2071" idx="0"/>
          </p:cNvCxnSpPr>
          <p:nvPr/>
        </p:nvCxnSpPr>
        <p:spPr>
          <a:xfrm>
            <a:off x="6980063" y="2381746"/>
            <a:ext cx="0" cy="594407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9" name="Rectangle : coins arrondis 75">
            <a:extLst>
              <a:ext uri="{FF2B5EF4-FFF2-40B4-BE49-F238E27FC236}">
                <a16:creationId xmlns:a16="http://schemas.microsoft.com/office/drawing/2014/main" id="{7129CF9B-EF03-C424-0993-D45AF015454F}"/>
              </a:ext>
            </a:extLst>
          </p:cNvPr>
          <p:cNvSpPr/>
          <p:nvPr/>
        </p:nvSpPr>
        <p:spPr>
          <a:xfrm>
            <a:off x="6239121" y="2049991"/>
            <a:ext cx="1452843" cy="33333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70" name="Rectangle 2069">
            <a:extLst>
              <a:ext uri="{FF2B5EF4-FFF2-40B4-BE49-F238E27FC236}">
                <a16:creationId xmlns:a16="http://schemas.microsoft.com/office/drawing/2014/main" id="{FD0B1661-16E2-B630-D7C2-A95D6F8ADF34}"/>
              </a:ext>
            </a:extLst>
          </p:cNvPr>
          <p:cNvSpPr/>
          <p:nvPr/>
        </p:nvSpPr>
        <p:spPr>
          <a:xfrm>
            <a:off x="6246873" y="2048408"/>
            <a:ext cx="1452843" cy="333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1EF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Q Brussels</a:t>
            </a:r>
          </a:p>
        </p:txBody>
      </p:sp>
      <p:sp>
        <p:nvSpPr>
          <p:cNvPr id="2071" name="Ellipse 13">
            <a:extLst>
              <a:ext uri="{FF2B5EF4-FFF2-40B4-BE49-F238E27FC236}">
                <a16:creationId xmlns:a16="http://schemas.microsoft.com/office/drawing/2014/main" id="{11D58EE2-B9A5-5280-8BA8-D01617CB3808}"/>
              </a:ext>
            </a:extLst>
          </p:cNvPr>
          <p:cNvSpPr/>
          <p:nvPr/>
        </p:nvSpPr>
        <p:spPr>
          <a:xfrm>
            <a:off x="6896020" y="2976153"/>
            <a:ext cx="168086" cy="168086"/>
          </a:xfrm>
          <a:prstGeom prst="ellipse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err="1">
              <a:ln>
                <a:noFill/>
              </a:ln>
              <a:solidFill>
                <a:srgbClr val="F1EF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3D6B88C0-6888-4ACA-A314-82DE598F194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3113" y="-289381"/>
            <a:ext cx="3604723" cy="1262004"/>
          </a:xfrm>
          <a:prstGeom prst="rect">
            <a:avLst/>
          </a:prstGeom>
        </p:spPr>
      </p:pic>
      <p:sp>
        <p:nvSpPr>
          <p:cNvPr id="242" name="Title 1">
            <a:extLst>
              <a:ext uri="{FF2B5EF4-FFF2-40B4-BE49-F238E27FC236}">
                <a16:creationId xmlns:a16="http://schemas.microsoft.com/office/drawing/2014/main" id="{A4748883-138F-4266-96DC-C58B155C5965}"/>
              </a:ext>
            </a:extLst>
          </p:cNvPr>
          <p:cNvSpPr txBox="1">
            <a:spLocks/>
          </p:cNvSpPr>
          <p:nvPr/>
        </p:nvSpPr>
        <p:spPr>
          <a:xfrm>
            <a:off x="731407" y="832598"/>
            <a:ext cx="11112001" cy="4182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32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/>
              <a:t>Belgium’s leading postal operator and a growing parcel &amp; omni-commerce logistics partner in Europe, North-America and Asia. </a:t>
            </a:r>
            <a:endParaRPr lang="en-GB" sz="2400" dirty="0"/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86A954F8-A13B-8B9D-B0EC-2DA71FADB817}"/>
              </a:ext>
            </a:extLst>
          </p:cNvPr>
          <p:cNvSpPr txBox="1"/>
          <p:nvPr/>
        </p:nvSpPr>
        <p:spPr>
          <a:xfrm>
            <a:off x="3757111" y="5664943"/>
            <a:ext cx="6494289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81C38"/>
                </a:solidFill>
                <a:latin typeface="Source Sans Pro"/>
                <a:ea typeface="Source Sans Pro"/>
              </a:rPr>
              <a:t>P</a:t>
            </a:r>
            <a:r>
              <a:rPr lang="en-US" sz="1600" b="0" i="0" dirty="0">
                <a:solidFill>
                  <a:srgbClr val="081C38"/>
                </a:solidFill>
                <a:effectLst/>
                <a:latin typeface="Source Sans Pro"/>
                <a:ea typeface="Source Sans Pro"/>
              </a:rPr>
              <a:t>resent in over 10 countries in 4 contine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b="0" i="0" dirty="0">
                <a:solidFill>
                  <a:srgbClr val="081C38"/>
                </a:solidFill>
                <a:effectLst/>
                <a:latin typeface="Source Sans Pro"/>
                <a:ea typeface="Source Sans Pro"/>
              </a:rPr>
              <a:t>Over 80 hubs for e-commerce logistics, spread over our 13 entit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81C38"/>
                </a:solidFill>
                <a:latin typeface="Source Sans Pro"/>
                <a:ea typeface="Source Sans Pro"/>
              </a:rPr>
              <a:t>Offers</a:t>
            </a:r>
            <a:r>
              <a:rPr lang="en-US" sz="1600" b="0" i="0" dirty="0">
                <a:solidFill>
                  <a:srgbClr val="081C38"/>
                </a:solidFill>
                <a:effectLst/>
                <a:latin typeface="Source Sans Pro"/>
                <a:ea typeface="Source Sans Pro"/>
              </a:rPr>
              <a:t> services in over 200 </a:t>
            </a:r>
            <a:r>
              <a:rPr lang="en-US" sz="1600" dirty="0">
                <a:solidFill>
                  <a:srgbClr val="081C38"/>
                </a:solidFill>
                <a:latin typeface="Source Sans Pro"/>
                <a:ea typeface="Source Sans Pro"/>
              </a:rPr>
              <a:t>destinations</a:t>
            </a:r>
            <a:endParaRPr lang="en-US" sz="1600" b="0" i="0" dirty="0" err="1">
              <a:solidFill>
                <a:srgbClr val="081C38"/>
              </a:solidFill>
              <a:effectLst/>
              <a:latin typeface="Source Sans Pro" panose="020B0503030403020204" pitchFamily="34" charset="0"/>
              <a:ea typeface="Source Sans Pro"/>
            </a:endParaRPr>
          </a:p>
          <a:p>
            <a:pPr algn="l"/>
            <a:endParaRPr lang="en-US" sz="1600" b="0" i="0" dirty="0">
              <a:solidFill>
                <a:srgbClr val="081C38"/>
              </a:solidFill>
              <a:effectLst/>
              <a:latin typeface="Source Sans Pro" panose="020B0503030403020204" pitchFamily="34" charset="0"/>
            </a:endParaRPr>
          </a:p>
        </p:txBody>
      </p: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CAF5DCE7-7234-0DE5-49C7-EF04AB7E7864}"/>
              </a:ext>
            </a:extLst>
          </p:cNvPr>
          <p:cNvGrpSpPr/>
          <p:nvPr/>
        </p:nvGrpSpPr>
        <p:grpSpPr>
          <a:xfrm>
            <a:off x="222616" y="2014178"/>
            <a:ext cx="2459415" cy="4309738"/>
            <a:chOff x="9296103" y="2239812"/>
            <a:chExt cx="2459415" cy="4309738"/>
          </a:xfrm>
        </p:grpSpPr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2D34965B-7E0F-0A95-E5A1-EAF2A9F0DF99}"/>
                </a:ext>
              </a:extLst>
            </p:cNvPr>
            <p:cNvGrpSpPr/>
            <p:nvPr/>
          </p:nvGrpSpPr>
          <p:grpSpPr>
            <a:xfrm>
              <a:off x="9296103" y="2239812"/>
              <a:ext cx="2459415" cy="4309738"/>
              <a:chOff x="9296103" y="2239812"/>
              <a:chExt cx="2459415" cy="4309738"/>
            </a:xfrm>
          </p:grpSpPr>
          <p:sp>
            <p:nvSpPr>
              <p:cNvPr id="222" name="Rectangle: Rounded Corners 221">
                <a:extLst>
                  <a:ext uri="{FF2B5EF4-FFF2-40B4-BE49-F238E27FC236}">
                    <a16:creationId xmlns:a16="http://schemas.microsoft.com/office/drawing/2014/main" id="{A8835A19-D53A-E6FB-F2CA-838F60A206AB}"/>
                  </a:ext>
                </a:extLst>
              </p:cNvPr>
              <p:cNvSpPr/>
              <p:nvPr/>
            </p:nvSpPr>
            <p:spPr>
              <a:xfrm>
                <a:off x="9296103" y="2239812"/>
                <a:ext cx="2459415" cy="4309738"/>
              </a:xfrm>
              <a:prstGeom prst="roundRect">
                <a:avLst>
                  <a:gd name="adj" fmla="val 4671"/>
                </a:avLst>
              </a:prstGeom>
              <a:solidFill>
                <a:schemeClr val="bg1"/>
              </a:solidFill>
              <a:ln w="9525">
                <a:noFill/>
              </a:ln>
              <a:effectLst>
                <a:outerShdw blurRad="1143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D1C36"/>
                  </a:solidFill>
                  <a:effectLst/>
                  <a:uLnTx/>
                  <a:uFillTx/>
                  <a:latin typeface="Source Sans Pro"/>
                  <a:ea typeface="+mn-ea"/>
                  <a:cs typeface="+mn-cs"/>
                </a:endParaRPr>
              </a:p>
            </p:txBody>
          </p:sp>
          <p:sp>
            <p:nvSpPr>
              <p:cNvPr id="223" name="Oval 37">
                <a:extLst>
                  <a:ext uri="{FF2B5EF4-FFF2-40B4-BE49-F238E27FC236}">
                    <a16:creationId xmlns:a16="http://schemas.microsoft.com/office/drawing/2014/main" id="{A7325652-8E50-7905-296D-575D93CF8827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gray">
              <a:xfrm>
                <a:off x="9882068" y="4727702"/>
                <a:ext cx="82800" cy="91332"/>
              </a:xfrm>
              <a:prstGeom prst="ellipse">
                <a:avLst/>
              </a:prstGeom>
              <a:solidFill>
                <a:schemeClr val="accent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38100" sx="103000" sy="103000" algn="tl" rotWithShape="0">
                  <a:prstClr val="black">
                    <a:alpha val="60000"/>
                  </a:prstClr>
                </a:outerShdw>
              </a:effec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D1C36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sp>
            <p:nvSpPr>
              <p:cNvPr id="224" name="Oval 37">
                <a:extLst>
                  <a:ext uri="{FF2B5EF4-FFF2-40B4-BE49-F238E27FC236}">
                    <a16:creationId xmlns:a16="http://schemas.microsoft.com/office/drawing/2014/main" id="{B768F2D3-D857-9F55-9BF3-5D5EA55952CF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gray">
              <a:xfrm>
                <a:off x="9881248" y="2790920"/>
                <a:ext cx="82800" cy="91332"/>
              </a:xfrm>
              <a:prstGeom prst="ellipse">
                <a:avLst/>
              </a:prstGeom>
              <a:solidFill>
                <a:srgbClr val="9B9BA0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38100" sx="103000" sy="103000" algn="tl" rotWithShape="0">
                  <a:prstClr val="black">
                    <a:alpha val="60000"/>
                  </a:prstClr>
                </a:outerShdw>
              </a:effec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D1C36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sp>
            <p:nvSpPr>
              <p:cNvPr id="225" name="Oval 37">
                <a:extLst>
                  <a:ext uri="{FF2B5EF4-FFF2-40B4-BE49-F238E27FC236}">
                    <a16:creationId xmlns:a16="http://schemas.microsoft.com/office/drawing/2014/main" id="{FA1F212D-E554-A77B-692F-AF981A4C5B67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gray">
              <a:xfrm>
                <a:off x="9881645" y="3247397"/>
                <a:ext cx="82800" cy="91332"/>
              </a:xfrm>
              <a:prstGeom prst="ellipse">
                <a:avLst/>
              </a:prstGeom>
              <a:solidFill>
                <a:srgbClr val="39A2E0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  <a:effectLst>
                <a:outerShdw blurRad="38100" sx="103000" sy="103000" algn="tl" rotWithShape="0">
                  <a:prstClr val="black">
                    <a:alpha val="60000"/>
                  </a:prstClr>
                </a:outerShdw>
              </a:effectLst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D1C36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grpSp>
            <p:nvGrpSpPr>
              <p:cNvPr id="226" name="Group 225">
                <a:extLst>
                  <a:ext uri="{FF2B5EF4-FFF2-40B4-BE49-F238E27FC236}">
                    <a16:creationId xmlns:a16="http://schemas.microsoft.com/office/drawing/2014/main" id="{0A671269-5697-4716-B8CD-661BDFE800F3}"/>
                  </a:ext>
                </a:extLst>
              </p:cNvPr>
              <p:cNvGrpSpPr/>
              <p:nvPr/>
            </p:nvGrpSpPr>
            <p:grpSpPr>
              <a:xfrm>
                <a:off x="9882523" y="3544089"/>
                <a:ext cx="1501110" cy="224189"/>
                <a:chOff x="10074564" y="3005902"/>
                <a:chExt cx="1501110" cy="203244"/>
              </a:xfrm>
            </p:grpSpPr>
            <p:pic>
              <p:nvPicPr>
                <p:cNvPr id="247" name="Picture 2" descr="Koeltransport Leen Menken Foodservice Logistics">
                  <a:extLst>
                    <a:ext uri="{FF2B5EF4-FFF2-40B4-BE49-F238E27FC236}">
                      <a16:creationId xmlns:a16="http://schemas.microsoft.com/office/drawing/2014/main" id="{404FB06B-DB42-E8F0-D60D-EF5613BD3B07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226569" y="3005902"/>
                  <a:ext cx="1349105" cy="20324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48" name="Oval 37">
                  <a:extLst>
                    <a:ext uri="{FF2B5EF4-FFF2-40B4-BE49-F238E27FC236}">
                      <a16:creationId xmlns:a16="http://schemas.microsoft.com/office/drawing/2014/main" id="{37C27CB4-0D98-A1D3-2699-BCC5E8341895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10074564" y="3051533"/>
                  <a:ext cx="82800" cy="82799"/>
                </a:xfrm>
                <a:prstGeom prst="ellipse">
                  <a:avLst/>
                </a:prstGeom>
                <a:solidFill>
                  <a:srgbClr val="D5F3FF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blurRad="38100" sx="103000" sy="103000" algn="tl" rotWithShape="0">
                    <a:prstClr val="black">
                      <a:alpha val="6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1C36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7" name="Group 226">
                <a:extLst>
                  <a:ext uri="{FF2B5EF4-FFF2-40B4-BE49-F238E27FC236}">
                    <a16:creationId xmlns:a16="http://schemas.microsoft.com/office/drawing/2014/main" id="{A86C127F-7401-F202-EA28-46BC5FD29325}"/>
                  </a:ext>
                </a:extLst>
              </p:cNvPr>
              <p:cNvGrpSpPr/>
              <p:nvPr/>
            </p:nvGrpSpPr>
            <p:grpSpPr>
              <a:xfrm>
                <a:off x="9894368" y="6226223"/>
                <a:ext cx="1166599" cy="198682"/>
                <a:chOff x="3761166" y="6463254"/>
                <a:chExt cx="1166599" cy="180120"/>
              </a:xfrm>
            </p:grpSpPr>
            <p:pic>
              <p:nvPicPr>
                <p:cNvPr id="245" name="Picture 4" descr="Dynafix">
                  <a:extLst>
                    <a:ext uri="{FF2B5EF4-FFF2-40B4-BE49-F238E27FC236}">
                      <a16:creationId xmlns:a16="http://schemas.microsoft.com/office/drawing/2014/main" id="{37F8C48B-EF80-46E5-69E2-E53E7DFC5FE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37103" y="6463254"/>
                  <a:ext cx="990662" cy="18012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46" name="Oval 37">
                  <a:extLst>
                    <a:ext uri="{FF2B5EF4-FFF2-40B4-BE49-F238E27FC236}">
                      <a16:creationId xmlns:a16="http://schemas.microsoft.com/office/drawing/2014/main" id="{13988924-DEF3-1018-8B88-3BAE0CF317B3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3761166" y="6483215"/>
                  <a:ext cx="82800" cy="82799"/>
                </a:xfrm>
                <a:prstGeom prst="ellipse">
                  <a:avLst/>
                </a:prstGeom>
                <a:solidFill>
                  <a:schemeClr val="accent3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blurRad="38100" sx="103000" sy="103000" algn="tl" rotWithShape="0">
                    <a:prstClr val="black">
                      <a:alpha val="6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1C36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8" name="Group 227">
                <a:extLst>
                  <a:ext uri="{FF2B5EF4-FFF2-40B4-BE49-F238E27FC236}">
                    <a16:creationId xmlns:a16="http://schemas.microsoft.com/office/drawing/2014/main" id="{7335563A-E617-13CE-4134-81226BE25152}"/>
                  </a:ext>
                </a:extLst>
              </p:cNvPr>
              <p:cNvGrpSpPr/>
              <p:nvPr/>
            </p:nvGrpSpPr>
            <p:grpSpPr>
              <a:xfrm>
                <a:off x="9894368" y="5469596"/>
                <a:ext cx="1028648" cy="191520"/>
                <a:chOff x="5048610" y="6416797"/>
                <a:chExt cx="1028648" cy="173627"/>
              </a:xfrm>
            </p:grpSpPr>
            <p:pic>
              <p:nvPicPr>
                <p:cNvPr id="243" name="Picture 2" descr="Home - Dynalogic">
                  <a:extLst>
                    <a:ext uri="{FF2B5EF4-FFF2-40B4-BE49-F238E27FC236}">
                      <a16:creationId xmlns:a16="http://schemas.microsoft.com/office/drawing/2014/main" id="{3CB58DD1-3854-F3EA-A948-504389C316A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17696" y="6416797"/>
                  <a:ext cx="859562" cy="17362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44" name="Oval 37">
                  <a:extLst>
                    <a:ext uri="{FF2B5EF4-FFF2-40B4-BE49-F238E27FC236}">
                      <a16:creationId xmlns:a16="http://schemas.microsoft.com/office/drawing/2014/main" id="{31153CB5-EF87-D281-0D0C-28A3AEB6C64E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5048610" y="6434015"/>
                  <a:ext cx="82800" cy="82799"/>
                </a:xfrm>
                <a:prstGeom prst="ellipse">
                  <a:avLst/>
                </a:prstGeom>
                <a:solidFill>
                  <a:schemeClr val="accent6"/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blurRad="38100" sx="103000" sy="103000" algn="tl" rotWithShape="0">
                    <a:prstClr val="black">
                      <a:alpha val="6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1C36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9" name="Group 228">
                <a:extLst>
                  <a:ext uri="{FF2B5EF4-FFF2-40B4-BE49-F238E27FC236}">
                    <a16:creationId xmlns:a16="http://schemas.microsoft.com/office/drawing/2014/main" id="{DCF1367E-3484-1593-4DB9-B17BAAF369AF}"/>
                  </a:ext>
                </a:extLst>
              </p:cNvPr>
              <p:cNvGrpSpPr/>
              <p:nvPr/>
            </p:nvGrpSpPr>
            <p:grpSpPr>
              <a:xfrm>
                <a:off x="9888179" y="5038346"/>
                <a:ext cx="442121" cy="284179"/>
                <a:chOff x="2179364" y="6346600"/>
                <a:chExt cx="442121" cy="257629"/>
              </a:xfrm>
            </p:grpSpPr>
            <p:sp>
              <p:nvSpPr>
                <p:cNvPr id="240" name="Oval 37">
                  <a:extLst>
                    <a:ext uri="{FF2B5EF4-FFF2-40B4-BE49-F238E27FC236}">
                      <a16:creationId xmlns:a16="http://schemas.microsoft.com/office/drawing/2014/main" id="{0FCC3931-B7C3-E5D4-DA27-E417BDA9A64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gray">
                <a:xfrm>
                  <a:off x="2179364" y="6434015"/>
                  <a:ext cx="82800" cy="82799"/>
                </a:xfrm>
                <a:prstGeom prst="ellipse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9525" algn="ctr">
                  <a:solidFill>
                    <a:schemeClr val="bg1"/>
                  </a:solidFill>
                  <a:round/>
                  <a:headEnd/>
                  <a:tailEnd/>
                </a:ln>
                <a:effectLst>
                  <a:outerShdw blurRad="38100" sx="103000" sy="103000" algn="tl" rotWithShape="0">
                    <a:prstClr val="black">
                      <a:alpha val="6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1C36"/>
                    </a:solidFill>
                    <a:effectLst/>
                    <a:uLnTx/>
                    <a:uFillTx/>
                    <a:latin typeface="Poppins"/>
                    <a:ea typeface="+mn-ea"/>
                    <a:cs typeface="+mn-cs"/>
                  </a:endParaRPr>
                </a:p>
              </p:txBody>
            </p:sp>
            <p:pic>
              <p:nvPicPr>
                <p:cNvPr id="241" name="Picture 2" descr="Euro-Sprinters | De ideale koerierdienst">
                  <a:extLst>
                    <a:ext uri="{FF2B5EF4-FFF2-40B4-BE49-F238E27FC236}">
                      <a16:creationId xmlns:a16="http://schemas.microsoft.com/office/drawing/2014/main" id="{4076CB15-4299-1621-DE60-3089E09109B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62706" y="6346600"/>
                  <a:ext cx="258779" cy="25762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30" name="Group 229">
                <a:extLst>
                  <a:ext uri="{FF2B5EF4-FFF2-40B4-BE49-F238E27FC236}">
                    <a16:creationId xmlns:a16="http://schemas.microsoft.com/office/drawing/2014/main" id="{D4DBCE73-6E2E-CBC6-5134-AEA707AEDBBF}"/>
                  </a:ext>
                </a:extLst>
              </p:cNvPr>
              <p:cNvGrpSpPr/>
              <p:nvPr/>
            </p:nvGrpSpPr>
            <p:grpSpPr>
              <a:xfrm>
                <a:off x="9514951" y="2294689"/>
                <a:ext cx="2150259" cy="326395"/>
                <a:chOff x="1843738" y="4948465"/>
                <a:chExt cx="2150259" cy="295900"/>
              </a:xfrm>
            </p:grpSpPr>
            <p:sp>
              <p:nvSpPr>
                <p:cNvPr id="238" name="TextBox 237">
                  <a:extLst>
                    <a:ext uri="{FF2B5EF4-FFF2-40B4-BE49-F238E27FC236}">
                      <a16:creationId xmlns:a16="http://schemas.microsoft.com/office/drawing/2014/main" id="{6C0C1804-8FC6-DA35-03D8-5A4743D13899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2200616" y="5028921"/>
                  <a:ext cx="1793381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 anchorCtr="0">
                  <a:spAutoFit/>
                </a:bodyPr>
                <a:lstStyle>
                  <a:lvl1pPr marL="180000" lvl="0" indent="-180000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2000">
                      <a:solidFill>
                        <a:schemeClr val="tx2"/>
                      </a:solidFill>
                    </a:defRPr>
                  </a:lvl1pPr>
                  <a:lvl2pPr marL="360000" lvl="1" indent="-1800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2"/>
                      </a:solidFill>
                    </a:defRPr>
                  </a:lvl2pPr>
                  <a:lvl3pPr marL="540000" lvl="2" indent="-1800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>
                      <a:solidFill>
                        <a:schemeClr val="tx2"/>
                      </a:solidFill>
                    </a:defRPr>
                  </a:lvl3pPr>
                  <a:lvl4pPr marL="0" lvl="3" indent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2000" b="0">
                      <a:solidFill>
                        <a:schemeClr val="accent1"/>
                      </a:solidFill>
                    </a:defRPr>
                  </a:lvl4pPr>
                  <a:lvl5pPr marL="0" lvl="4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tabLst/>
                    <a:defRPr sz="2000">
                      <a:solidFill>
                        <a:schemeClr val="tx2"/>
                      </a:solidFill>
                    </a:defRPr>
                  </a:lvl5pPr>
                  <a:lvl6pPr marL="172800" lvl="5" indent="-1728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2"/>
                      </a:solidFill>
                    </a:defRPr>
                  </a:lvl6pPr>
                  <a:lvl7pPr marL="0" lvl="6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1200" b="0" baseline="0">
                      <a:solidFill>
                        <a:schemeClr val="accent1"/>
                      </a:solidFill>
                    </a:defRPr>
                  </a:lvl7pPr>
                  <a:lvl8pPr marL="0" lvl="7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1200">
                      <a:solidFill>
                        <a:schemeClr val="tx2"/>
                      </a:solidFill>
                    </a:defRPr>
                  </a:lvl8pPr>
                  <a:lvl9pPr marL="0" lvl="8" inden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6600" spc="-150" baseline="0">
                      <a:solidFill>
                        <a:schemeClr val="accent1"/>
                      </a:solidFill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1C36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Fulfilment &amp; Logistics</a:t>
                  </a:r>
                </a:p>
              </p:txBody>
            </p:sp>
            <p:pic>
              <p:nvPicPr>
                <p:cNvPr id="239" name="Graphic 238" descr="Warehouse outline">
                  <a:extLst>
                    <a:ext uri="{FF2B5EF4-FFF2-40B4-BE49-F238E27FC236}">
                      <a16:creationId xmlns:a16="http://schemas.microsoft.com/office/drawing/2014/main" id="{6FF0CBE6-B162-5DB5-0D55-30A1A7233D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email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rcRect/>
                <a:stretch/>
              </p:blipFill>
              <p:spPr>
                <a:xfrm>
                  <a:off x="1843738" y="4948465"/>
                  <a:ext cx="290641" cy="290641"/>
                </a:xfrm>
                <a:prstGeom prst="rect">
                  <a:avLst/>
                </a:prstGeom>
              </p:spPr>
            </p:pic>
          </p:grpSp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DC59992A-9D17-CD99-C5FF-3FAD127DE097}"/>
                  </a:ext>
                </a:extLst>
              </p:cNvPr>
              <p:cNvGrpSpPr/>
              <p:nvPr/>
            </p:nvGrpSpPr>
            <p:grpSpPr>
              <a:xfrm>
                <a:off x="9474456" y="3891019"/>
                <a:ext cx="1984025" cy="352436"/>
                <a:chOff x="5348637" y="4890898"/>
                <a:chExt cx="1984025" cy="319508"/>
              </a:xfrm>
            </p:grpSpPr>
            <p:sp>
              <p:nvSpPr>
                <p:cNvPr id="236" name="TextBox 235">
                  <a:extLst>
                    <a:ext uri="{FF2B5EF4-FFF2-40B4-BE49-F238E27FC236}">
                      <a16:creationId xmlns:a16="http://schemas.microsoft.com/office/drawing/2014/main" id="{AC888914-486F-9588-3118-3E326CFA250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739304" y="4957991"/>
                  <a:ext cx="1593358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 anchorCtr="0">
                  <a:spAutoFit/>
                </a:bodyPr>
                <a:lstStyle>
                  <a:lvl1pPr marL="180000" lvl="0" indent="-180000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2000">
                      <a:solidFill>
                        <a:schemeClr val="tx2"/>
                      </a:solidFill>
                    </a:defRPr>
                  </a:lvl1pPr>
                  <a:lvl2pPr marL="360000" lvl="1" indent="-1800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2"/>
                      </a:solidFill>
                    </a:defRPr>
                  </a:lvl2pPr>
                  <a:lvl3pPr marL="540000" lvl="2" indent="-1800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>
                      <a:solidFill>
                        <a:schemeClr val="tx2"/>
                      </a:solidFill>
                    </a:defRPr>
                  </a:lvl3pPr>
                  <a:lvl4pPr marL="0" lvl="3" indent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2000" b="0">
                      <a:solidFill>
                        <a:schemeClr val="accent1"/>
                      </a:solidFill>
                    </a:defRPr>
                  </a:lvl4pPr>
                  <a:lvl5pPr marL="0" lvl="4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tabLst/>
                    <a:defRPr sz="2000">
                      <a:solidFill>
                        <a:schemeClr val="tx2"/>
                      </a:solidFill>
                    </a:defRPr>
                  </a:lvl5pPr>
                  <a:lvl6pPr marL="172800" lvl="5" indent="-1728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2"/>
                      </a:solidFill>
                    </a:defRPr>
                  </a:lvl6pPr>
                  <a:lvl7pPr marL="0" lvl="6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1200" b="0" baseline="0">
                      <a:solidFill>
                        <a:schemeClr val="accent1"/>
                      </a:solidFill>
                    </a:defRPr>
                  </a:lvl7pPr>
                  <a:lvl8pPr marL="0" lvl="7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1200">
                      <a:solidFill>
                        <a:schemeClr val="tx2"/>
                      </a:solidFill>
                    </a:defRPr>
                  </a:lvl8pPr>
                  <a:lvl9pPr marL="0" lvl="8" inden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6600" spc="-150" baseline="0">
                      <a:solidFill>
                        <a:schemeClr val="accent1"/>
                      </a:solidFill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1C36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Delivery Solutions</a:t>
                  </a:r>
                </a:p>
              </p:txBody>
            </p:sp>
            <p:pic>
              <p:nvPicPr>
                <p:cNvPr id="237" name="Graphic 236" descr="Delivery outline">
                  <a:extLst>
                    <a:ext uri="{FF2B5EF4-FFF2-40B4-BE49-F238E27FC236}">
                      <a16:creationId xmlns:a16="http://schemas.microsoft.com/office/drawing/2014/main" id="{61E88775-27CB-42F5-EDC1-06DA4BD29B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email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rcRect/>
                <a:stretch/>
              </p:blipFill>
              <p:spPr>
                <a:xfrm>
                  <a:off x="5348637" y="4890898"/>
                  <a:ext cx="331136" cy="319508"/>
                </a:xfrm>
                <a:prstGeom prst="rect">
                  <a:avLst/>
                </a:prstGeom>
              </p:spPr>
            </p:pic>
          </p:grpSp>
          <p:grpSp>
            <p:nvGrpSpPr>
              <p:cNvPr id="232" name="Group 231">
                <a:extLst>
                  <a:ext uri="{FF2B5EF4-FFF2-40B4-BE49-F238E27FC236}">
                    <a16:creationId xmlns:a16="http://schemas.microsoft.com/office/drawing/2014/main" id="{93800014-AE5E-D6C5-A36C-D5D6D7C4E01A}"/>
                  </a:ext>
                </a:extLst>
              </p:cNvPr>
              <p:cNvGrpSpPr/>
              <p:nvPr/>
            </p:nvGrpSpPr>
            <p:grpSpPr>
              <a:xfrm>
                <a:off x="9485386" y="5780312"/>
                <a:ext cx="2087362" cy="352436"/>
                <a:chOff x="9166169" y="5366708"/>
                <a:chExt cx="2087362" cy="319508"/>
              </a:xfrm>
            </p:grpSpPr>
            <p:sp>
              <p:nvSpPr>
                <p:cNvPr id="234" name="TextBox 233">
                  <a:extLst>
                    <a:ext uri="{FF2B5EF4-FFF2-40B4-BE49-F238E27FC236}">
                      <a16:creationId xmlns:a16="http://schemas.microsoft.com/office/drawing/2014/main" id="{9CB9404B-AA9B-D904-4A55-F4FCA2AF5953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9552612" y="5456299"/>
                  <a:ext cx="1700919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 anchor="ctr" anchorCtr="0">
                  <a:spAutoFit/>
                </a:bodyPr>
                <a:lstStyle>
                  <a:lvl1pPr marL="180000" lvl="0" indent="-180000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2000">
                      <a:solidFill>
                        <a:schemeClr val="tx2"/>
                      </a:solidFill>
                    </a:defRPr>
                  </a:lvl1pPr>
                  <a:lvl2pPr marL="360000" lvl="1" indent="-1800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>
                      <a:solidFill>
                        <a:schemeClr val="tx2"/>
                      </a:solidFill>
                    </a:defRPr>
                  </a:lvl2pPr>
                  <a:lvl3pPr marL="540000" lvl="2" indent="-1800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600">
                      <a:solidFill>
                        <a:schemeClr val="tx2"/>
                      </a:solidFill>
                    </a:defRPr>
                  </a:lvl3pPr>
                  <a:lvl4pPr marL="0" lvl="3" indent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2000" b="0">
                      <a:solidFill>
                        <a:schemeClr val="accent1"/>
                      </a:solidFill>
                    </a:defRPr>
                  </a:lvl4pPr>
                  <a:lvl5pPr marL="0" lvl="4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tabLst/>
                    <a:defRPr sz="2000">
                      <a:solidFill>
                        <a:schemeClr val="tx2"/>
                      </a:solidFill>
                    </a:defRPr>
                  </a:lvl5pPr>
                  <a:lvl6pPr marL="172800" lvl="5" indent="-17280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•"/>
                    <a:defRPr sz="1200">
                      <a:solidFill>
                        <a:schemeClr val="tx2"/>
                      </a:solidFill>
                    </a:defRPr>
                  </a:lvl6pPr>
                  <a:lvl7pPr marL="0" lvl="6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1200" b="0" baseline="0">
                      <a:solidFill>
                        <a:schemeClr val="accent1"/>
                      </a:solidFill>
                    </a:defRPr>
                  </a:lvl7pPr>
                  <a:lvl8pPr marL="0" lvl="7" indent="0">
                    <a:lnSpc>
                      <a:spcPct val="100000"/>
                    </a:lnSpc>
                    <a:spcBef>
                      <a:spcPts val="60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1200">
                      <a:solidFill>
                        <a:schemeClr val="tx2"/>
                      </a:solidFill>
                    </a:defRPr>
                  </a:lvl8pPr>
                  <a:lvl9pPr marL="0" lvl="8" inden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Font typeface="Arial" panose="020B0604020202020204" pitchFamily="34" charset="0"/>
                    <a:buChar char="​"/>
                    <a:defRPr sz="6600" spc="-150" baseline="0">
                      <a:solidFill>
                        <a:schemeClr val="accent1"/>
                      </a:solidFill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1C36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rPr>
                    <a:t>Life Cycle Solutions</a:t>
                  </a:r>
                </a:p>
              </p:txBody>
            </p:sp>
            <p:pic>
              <p:nvPicPr>
                <p:cNvPr id="235" name="Graphic 234" descr="Sustainability outline">
                  <a:extLst>
                    <a:ext uri="{FF2B5EF4-FFF2-40B4-BE49-F238E27FC236}">
                      <a16:creationId xmlns:a16="http://schemas.microsoft.com/office/drawing/2014/main" id="{50FADD2F-F928-D35B-F117-3A5426A1932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email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166169" y="5366708"/>
                  <a:ext cx="319508" cy="319508"/>
                </a:xfrm>
                <a:prstGeom prst="rect">
                  <a:avLst/>
                </a:prstGeom>
              </p:spPr>
            </p:pic>
          </p:grpSp>
          <p:pic>
            <p:nvPicPr>
              <p:cNvPr id="233" name="Picture 232" descr="Shape&#10;&#10;Description automatically generated with medium confidence">
                <a:extLst>
                  <a:ext uri="{FF2B5EF4-FFF2-40B4-BE49-F238E27FC236}">
                    <a16:creationId xmlns:a16="http://schemas.microsoft.com/office/drawing/2014/main" id="{F1BF380B-8FAB-33AF-4E1A-633E52A17C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869530" y="4324648"/>
                <a:ext cx="139019" cy="140406"/>
              </a:xfrm>
              <a:prstGeom prst="ellipse">
                <a:avLst/>
              </a:prstGeom>
            </p:spPr>
          </p:pic>
        </p:grpSp>
        <p:pic>
          <p:nvPicPr>
            <p:cNvPr id="218" name="Picture 217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D0660276-1F48-122A-B357-C7F02B604B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32868" y="2694529"/>
              <a:ext cx="933212" cy="370125"/>
            </a:xfrm>
            <a:prstGeom prst="rect">
              <a:avLst/>
            </a:prstGeom>
          </p:spPr>
        </p:pic>
        <p:pic>
          <p:nvPicPr>
            <p:cNvPr id="219" name="Picture 218" descr="Text, logo&#10;&#10;Description automatically generated">
              <a:extLst>
                <a:ext uri="{FF2B5EF4-FFF2-40B4-BE49-F238E27FC236}">
                  <a16:creationId xmlns:a16="http://schemas.microsoft.com/office/drawing/2014/main" id="{AEB08E95-A5B5-8596-42ED-B6BA71E9ED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76751" y="3080561"/>
              <a:ext cx="445558" cy="454456"/>
            </a:xfrm>
            <a:prstGeom prst="rect">
              <a:avLst/>
            </a:prstGeom>
          </p:spPr>
        </p:pic>
        <p:pic>
          <p:nvPicPr>
            <p:cNvPr id="220" name="Picture 219" descr="Logo&#10;&#10;Description automatically generated">
              <a:extLst>
                <a:ext uri="{FF2B5EF4-FFF2-40B4-BE49-F238E27FC236}">
                  <a16:creationId xmlns:a16="http://schemas.microsoft.com/office/drawing/2014/main" id="{5152AAC3-719A-91D1-90B8-529CA03371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63454" y="4222695"/>
              <a:ext cx="718799" cy="378116"/>
            </a:xfrm>
            <a:prstGeom prst="rect">
              <a:avLst/>
            </a:prstGeom>
          </p:spPr>
        </p:pic>
        <p:pic>
          <p:nvPicPr>
            <p:cNvPr id="221" name="Picture 220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7F624500-616F-7A8B-F393-42CB59B288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06121" y="4577602"/>
              <a:ext cx="1002017" cy="4347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215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0D98504-58B0-4411-8F38-03D2CF0C1249}"/>
              </a:ext>
            </a:extLst>
          </p:cNvPr>
          <p:cNvGrpSpPr/>
          <p:nvPr/>
        </p:nvGrpSpPr>
        <p:grpSpPr>
          <a:xfrm>
            <a:off x="1144841" y="1826752"/>
            <a:ext cx="3059361" cy="4169465"/>
            <a:chOff x="2589143" y="402535"/>
            <a:chExt cx="3059361" cy="583924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E735DC29-598E-EB97-C95F-50A858992A4E}"/>
                </a:ext>
              </a:extLst>
            </p:cNvPr>
            <p:cNvSpPr/>
            <p:nvPr/>
          </p:nvSpPr>
          <p:spPr>
            <a:xfrm>
              <a:off x="2589143" y="402535"/>
              <a:ext cx="2992685" cy="5839240"/>
            </a:xfrm>
            <a:prstGeom prst="roundRect">
              <a:avLst>
                <a:gd name="adj" fmla="val 7957"/>
              </a:avLst>
            </a:prstGeom>
            <a:solidFill>
              <a:schemeClr val="bg1"/>
            </a:solidFill>
            <a:ln>
              <a:noFill/>
            </a:ln>
            <a:effectLst>
              <a:outerShdw blurRad="228600" sx="102000" sy="102000" algn="ctr" rotWithShape="0">
                <a:schemeClr val="accent5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0" name="ZoneTexte 13">
              <a:extLst>
                <a:ext uri="{FF2B5EF4-FFF2-40B4-BE49-F238E27FC236}">
                  <a16:creationId xmlns:a16="http://schemas.microsoft.com/office/drawing/2014/main" id="{A0AAD203-8AF6-68E8-6BC3-812FC29F36A7}"/>
                </a:ext>
              </a:extLst>
            </p:cNvPr>
            <p:cNvSpPr txBox="1"/>
            <p:nvPr/>
          </p:nvSpPr>
          <p:spPr>
            <a:xfrm>
              <a:off x="2589143" y="2714316"/>
              <a:ext cx="2650180" cy="272410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EF4347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Belgium</a:t>
              </a:r>
            </a:p>
          </p:txBody>
        </p:sp>
        <p:sp>
          <p:nvSpPr>
            <p:cNvPr id="23" name="Tijdelijke aanduiding voor tekst 4">
              <a:extLst>
                <a:ext uri="{FF2B5EF4-FFF2-40B4-BE49-F238E27FC236}">
                  <a16:creationId xmlns:a16="http://schemas.microsoft.com/office/drawing/2014/main" id="{05A66757-DF63-423A-1A79-D9A58E895AE5}"/>
                </a:ext>
              </a:extLst>
            </p:cNvPr>
            <p:cNvSpPr txBox="1">
              <a:spLocks/>
            </p:cNvSpPr>
            <p:nvPr/>
          </p:nvSpPr>
          <p:spPr>
            <a:xfrm>
              <a:off x="2876122" y="3322154"/>
              <a:ext cx="2772382" cy="1182026"/>
            </a:xfrm>
            <a:prstGeom prst="rect">
              <a:avLst/>
            </a:prstGeom>
          </p:spPr>
          <p:txBody>
            <a:bodyPr lIns="0" tIns="45720" rIns="91440" bIns="45720" anchor="t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tabLst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72800" indent="-1728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b="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 kern="1200" spc="-15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Average 5.74 million letters and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582,000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 parcels/day </a:t>
              </a:r>
            </a:p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5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 industrial sorting centers</a:t>
              </a:r>
            </a:p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+mn-ea"/>
                  <a:cs typeface="Segoe UI Light"/>
                </a:rPr>
                <a:t>2,800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ea typeface="+mn-ea"/>
                  <a:cs typeface="Segoe UI Light"/>
                </a:rPr>
                <a:t>service points in Belgium</a:t>
              </a:r>
            </a:p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C73B12A7-A88D-E4D8-776A-16DFA9712A18}"/>
                </a:ext>
              </a:extLst>
            </p:cNvPr>
            <p:cNvCxnSpPr>
              <a:cxnSpLocks/>
            </p:cNvCxnSpPr>
            <p:nvPr/>
          </p:nvCxnSpPr>
          <p:spPr>
            <a:xfrm>
              <a:off x="2757269" y="3144661"/>
              <a:ext cx="2656431" cy="0"/>
            </a:xfrm>
            <a:prstGeom prst="line">
              <a:avLst/>
            </a:prstGeom>
            <a:ln w="12700" cap="rnd">
              <a:solidFill>
                <a:srgbClr val="C8D4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E8D29BB-E0CB-8E55-6AB8-4FBF133B0B52}"/>
              </a:ext>
            </a:extLst>
          </p:cNvPr>
          <p:cNvGrpSpPr/>
          <p:nvPr/>
        </p:nvGrpSpPr>
        <p:grpSpPr>
          <a:xfrm>
            <a:off x="7720814" y="1826751"/>
            <a:ext cx="3042716" cy="4169465"/>
            <a:chOff x="8802392" y="402535"/>
            <a:chExt cx="3042716" cy="5839240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31B25A16-4564-9761-3C9B-D8A7A05EABC8}"/>
                </a:ext>
              </a:extLst>
            </p:cNvPr>
            <p:cNvSpPr/>
            <p:nvPr/>
          </p:nvSpPr>
          <p:spPr>
            <a:xfrm>
              <a:off x="8852423" y="402535"/>
              <a:ext cx="2992685" cy="5839240"/>
            </a:xfrm>
            <a:prstGeom prst="roundRect">
              <a:avLst>
                <a:gd name="adj" fmla="val 7957"/>
              </a:avLst>
            </a:prstGeom>
            <a:solidFill>
              <a:schemeClr val="bg1"/>
            </a:solidFill>
            <a:ln>
              <a:noFill/>
            </a:ln>
            <a:effectLst>
              <a:outerShdw blurRad="228600" sx="102000" sy="102000" algn="ctr" rotWithShape="0">
                <a:schemeClr val="accent5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22" name="ZoneTexte 13">
              <a:extLst>
                <a:ext uri="{FF2B5EF4-FFF2-40B4-BE49-F238E27FC236}">
                  <a16:creationId xmlns:a16="http://schemas.microsoft.com/office/drawing/2014/main" id="{45295228-9501-55CA-EBE5-D96776ED859E}"/>
                </a:ext>
              </a:extLst>
            </p:cNvPr>
            <p:cNvSpPr txBox="1"/>
            <p:nvPr/>
          </p:nvSpPr>
          <p:spPr>
            <a:xfrm>
              <a:off x="8802392" y="2597702"/>
              <a:ext cx="2840243" cy="431666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EF4347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North America</a:t>
              </a:r>
            </a:p>
          </p:txBody>
        </p:sp>
        <p:sp>
          <p:nvSpPr>
            <p:cNvPr id="31" name="Tijdelijke aanduiding voor tekst 4">
              <a:extLst>
                <a:ext uri="{FF2B5EF4-FFF2-40B4-BE49-F238E27FC236}">
                  <a16:creationId xmlns:a16="http://schemas.microsoft.com/office/drawing/2014/main" id="{77852659-16C7-BDFA-AF10-A0F5C4823E5C}"/>
                </a:ext>
              </a:extLst>
            </p:cNvPr>
            <p:cNvSpPr txBox="1">
              <a:spLocks/>
            </p:cNvSpPr>
            <p:nvPr/>
          </p:nvSpPr>
          <p:spPr>
            <a:xfrm>
              <a:off x="9006825" y="3355612"/>
              <a:ext cx="2771194" cy="1182026"/>
            </a:xfrm>
            <a:prstGeom prst="rect">
              <a:avLst/>
            </a:prstGeom>
          </p:spPr>
          <p:txBody>
            <a:bodyPr lIns="0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tabLst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72800" indent="-1728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b="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 kern="1200" spc="-15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000" marR="0" lvl="0" indent="-18000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46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 e-commerce fulfilment and warehousing locations in the USA, Canada, Australia and New Zealand.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More than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400 million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parcels in 2021</a:t>
              </a:r>
            </a:p>
            <a:p>
              <a:pPr marL="180000" marR="0" lvl="0" indent="-180000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0F1ABA9A-06BB-17FA-5FFA-20440B026411}"/>
                </a:ext>
              </a:extLst>
            </p:cNvPr>
            <p:cNvCxnSpPr>
              <a:cxnSpLocks/>
            </p:cNvCxnSpPr>
            <p:nvPr/>
          </p:nvCxnSpPr>
          <p:spPr>
            <a:xfrm>
              <a:off x="8994221" y="3172298"/>
              <a:ext cx="2656431" cy="0"/>
            </a:xfrm>
            <a:prstGeom prst="line">
              <a:avLst/>
            </a:prstGeom>
            <a:ln w="12700" cap="rnd">
              <a:solidFill>
                <a:srgbClr val="C8D4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2" name="Picture 472">
            <a:extLst>
              <a:ext uri="{FF2B5EF4-FFF2-40B4-BE49-F238E27FC236}">
                <a16:creationId xmlns:a16="http://schemas.microsoft.com/office/drawing/2014/main" id="{E50295CB-310F-4A3E-9688-3553BE4E650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duotone>
              <a:prstClr val="black"/>
              <a:schemeClr val="tx1">
                <a:tint val="45000"/>
                <a:satMod val="400000"/>
              </a:schemeClr>
            </a:duotone>
            <a:alphaModFix/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6012" y="2007815"/>
            <a:ext cx="1209845" cy="1356008"/>
          </a:xfrm>
          <a:prstGeom prst="rect">
            <a:avLst/>
          </a:prstGeom>
        </p:spPr>
      </p:pic>
      <p:grpSp>
        <p:nvGrpSpPr>
          <p:cNvPr id="126" name="Group 4">
            <a:extLst>
              <a:ext uri="{FF2B5EF4-FFF2-40B4-BE49-F238E27FC236}">
                <a16:creationId xmlns:a16="http://schemas.microsoft.com/office/drawing/2014/main" id="{F5BC428C-882C-4EF0-9F65-847AE3542B66}"/>
              </a:ext>
            </a:extLst>
          </p:cNvPr>
          <p:cNvGrpSpPr/>
          <p:nvPr/>
        </p:nvGrpSpPr>
        <p:grpSpPr>
          <a:xfrm>
            <a:off x="4491181" y="1826752"/>
            <a:ext cx="2992685" cy="4169466"/>
            <a:chOff x="8852423" y="402535"/>
            <a:chExt cx="2992685" cy="5839240"/>
          </a:xfrm>
        </p:grpSpPr>
        <p:sp>
          <p:nvSpPr>
            <p:cNvPr id="127" name="Rectangle: Rounded Corners 12">
              <a:extLst>
                <a:ext uri="{FF2B5EF4-FFF2-40B4-BE49-F238E27FC236}">
                  <a16:creationId xmlns:a16="http://schemas.microsoft.com/office/drawing/2014/main" id="{539A4785-D202-449E-8882-78FC4A8B3FB2}"/>
                </a:ext>
              </a:extLst>
            </p:cNvPr>
            <p:cNvSpPr/>
            <p:nvPr/>
          </p:nvSpPr>
          <p:spPr>
            <a:xfrm>
              <a:off x="8852423" y="402535"/>
              <a:ext cx="2992685" cy="5839240"/>
            </a:xfrm>
            <a:prstGeom prst="roundRect">
              <a:avLst>
                <a:gd name="adj" fmla="val 7957"/>
              </a:avLst>
            </a:prstGeom>
            <a:solidFill>
              <a:schemeClr val="bg1"/>
            </a:solidFill>
            <a:ln>
              <a:noFill/>
            </a:ln>
            <a:effectLst>
              <a:outerShdw blurRad="228600" sx="102000" sy="102000" algn="ctr" rotWithShape="0">
                <a:schemeClr val="accent5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endParaRPr>
            </a:p>
          </p:txBody>
        </p:sp>
        <p:sp>
          <p:nvSpPr>
            <p:cNvPr id="129" name="ZoneTexte 13">
              <a:extLst>
                <a:ext uri="{FF2B5EF4-FFF2-40B4-BE49-F238E27FC236}">
                  <a16:creationId xmlns:a16="http://schemas.microsoft.com/office/drawing/2014/main" id="{6C615166-F0CA-4FF5-93BB-DE98624C17D8}"/>
                </a:ext>
              </a:extLst>
            </p:cNvPr>
            <p:cNvSpPr txBox="1"/>
            <p:nvPr/>
          </p:nvSpPr>
          <p:spPr>
            <a:xfrm>
              <a:off x="8854989" y="2646446"/>
              <a:ext cx="2840243" cy="431666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EF4347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Eurasia</a:t>
              </a:r>
            </a:p>
          </p:txBody>
        </p:sp>
        <p:sp>
          <p:nvSpPr>
            <p:cNvPr id="130" name="Tijdelijke aanduiding voor tekst 4">
              <a:extLst>
                <a:ext uri="{FF2B5EF4-FFF2-40B4-BE49-F238E27FC236}">
                  <a16:creationId xmlns:a16="http://schemas.microsoft.com/office/drawing/2014/main" id="{111BC17F-34F6-410F-B73E-0FF3E39A3DF0}"/>
                </a:ext>
              </a:extLst>
            </p:cNvPr>
            <p:cNvSpPr txBox="1">
              <a:spLocks/>
            </p:cNvSpPr>
            <p:nvPr/>
          </p:nvSpPr>
          <p:spPr>
            <a:xfrm>
              <a:off x="9038801" y="3384747"/>
              <a:ext cx="2771194" cy="1182026"/>
            </a:xfrm>
            <a:prstGeom prst="rect">
              <a:avLst/>
            </a:prstGeom>
          </p:spPr>
          <p:txBody>
            <a:bodyPr lIns="0" tIns="45720" rIns="91440" bIns="45720" anchor="t"/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20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tabLst/>
                <a:defRPr sz="2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172800" indent="-1728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b="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12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sz="6600" kern="1200" spc="-15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14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 e-commerce fulfilment centers in Europe</a:t>
              </a:r>
              <a:endParaRPr lang="en-US">
                <a:ea typeface="+mn-ea"/>
              </a:endParaRPr>
            </a:p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3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 panose="020B0502040204020203" pitchFamily="34" charset="0"/>
                  <a:ea typeface="+mn-ea"/>
                  <a:cs typeface="Segoe UI Light" panose="020B0502040204020203" pitchFamily="34" charset="0"/>
                </a:rPr>
                <a:t> international delivery hubs</a:t>
              </a:r>
              <a:endParaRPr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cs typeface="Segoe UI Light"/>
                </a:rPr>
                <a:t>More </a:t>
              </a:r>
              <a:r>
                <a:rPr lang="en-US" sz="1400" dirty="0">
                  <a:solidFill>
                    <a:srgbClr val="000000"/>
                  </a:solidFill>
                  <a:latin typeface="Segoe UI Light"/>
                  <a:cs typeface="Segoe UI Light"/>
                </a:rPr>
                <a:t>than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cs typeface="Segoe UI Light"/>
                </a:rPr>
                <a:t>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cs typeface="Segoe UI Light"/>
                </a:rPr>
                <a:t>220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 Light"/>
                  <a:cs typeface="Segoe UI Light"/>
                </a:rPr>
                <a:t> destinations</a:t>
              </a:r>
              <a:endParaRPr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cs typeface="Segoe UI Light"/>
              </a:endParaRPr>
            </a:p>
            <a:p>
              <a:pPr marL="179705" marR="0" lvl="0" indent="-179705" algn="l" defTabSz="9144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F4347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cxnSp>
          <p:nvCxnSpPr>
            <p:cNvPr id="132" name="Straight Connector 45">
              <a:extLst>
                <a:ext uri="{FF2B5EF4-FFF2-40B4-BE49-F238E27FC236}">
                  <a16:creationId xmlns:a16="http://schemas.microsoft.com/office/drawing/2014/main" id="{5E24FEBE-B743-4E12-AF71-16EA48C901C7}"/>
                </a:ext>
              </a:extLst>
            </p:cNvPr>
            <p:cNvCxnSpPr>
              <a:cxnSpLocks/>
            </p:cNvCxnSpPr>
            <p:nvPr/>
          </p:nvCxnSpPr>
          <p:spPr>
            <a:xfrm>
              <a:off x="9038801" y="3160188"/>
              <a:ext cx="2656431" cy="0"/>
            </a:xfrm>
            <a:prstGeom prst="line">
              <a:avLst/>
            </a:prstGeom>
            <a:ln w="12700" cap="rnd">
              <a:solidFill>
                <a:srgbClr val="C8D4D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5" name="Picture 6">
            <a:extLst>
              <a:ext uri="{FF2B5EF4-FFF2-40B4-BE49-F238E27FC236}">
                <a16:creationId xmlns:a16="http://schemas.microsoft.com/office/drawing/2014/main" id="{27628703-93E8-421D-9A6A-6A3527EB359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0226" y="2076378"/>
            <a:ext cx="2251548" cy="1218883"/>
          </a:xfrm>
          <a:prstGeom prst="rect">
            <a:avLst/>
          </a:prstGeom>
        </p:spPr>
      </p:pic>
      <p:pic>
        <p:nvPicPr>
          <p:cNvPr id="33" name="Picture 12" descr="Map&#10;&#10;Description automatically generated with medium confidence">
            <a:extLst>
              <a:ext uri="{FF2B5EF4-FFF2-40B4-BE49-F238E27FC236}">
                <a16:creationId xmlns:a16="http://schemas.microsoft.com/office/drawing/2014/main" id="{CC24D31A-1FD0-4C6F-8A8D-DDDFA8459F5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8697" y="2177227"/>
            <a:ext cx="1422468" cy="1132467"/>
          </a:xfrm>
          <a:prstGeom prst="rect">
            <a:avLst/>
          </a:prstGeom>
        </p:spPr>
      </p:pic>
      <p:pic>
        <p:nvPicPr>
          <p:cNvPr id="9" name="Afbeelding 2">
            <a:extLst>
              <a:ext uri="{FF2B5EF4-FFF2-40B4-BE49-F238E27FC236}">
                <a16:creationId xmlns:a16="http://schemas.microsoft.com/office/drawing/2014/main" id="{40EB6F8A-2F11-E57F-C609-617C0D94948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68" y="25776"/>
            <a:ext cx="2491998" cy="872442"/>
          </a:xfrm>
          <a:prstGeom prst="rect">
            <a:avLst/>
          </a:prstGeom>
        </p:spPr>
      </p:pic>
      <p:sp>
        <p:nvSpPr>
          <p:cNvPr id="10" name="Title 2099">
            <a:extLst>
              <a:ext uri="{FF2B5EF4-FFF2-40B4-BE49-F238E27FC236}">
                <a16:creationId xmlns:a16="http://schemas.microsoft.com/office/drawing/2014/main" id="{D88FB8E3-52D9-8450-B565-A646FE732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0756" y="898218"/>
            <a:ext cx="9335685" cy="675058"/>
          </a:xfrm>
        </p:spPr>
        <p:txBody>
          <a:bodyPr/>
          <a:lstStyle/>
          <a:p>
            <a:pPr algn="l"/>
            <a:r>
              <a:rPr lang="en-US" sz="2400" dirty="0"/>
              <a:t>We have developed activities and </a:t>
            </a:r>
            <a:r>
              <a:rPr lang="en-US" sz="2400" dirty="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tities around the world </a:t>
            </a:r>
            <a:r>
              <a:rPr lang="en-US" sz="2400" dirty="0"/>
              <a:t>to meet the changing needs of our customers.</a:t>
            </a:r>
            <a:endParaRPr lang="en-US" sz="2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49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13000" b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3AEDE4-A58F-7872-F881-0076BEE92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5B12181-A6F2-9D4B-5504-4E0BF6AFEAA6}"/>
              </a:ext>
            </a:extLst>
          </p:cNvPr>
          <p:cNvSpPr txBox="1">
            <a:spLocks/>
          </p:cNvSpPr>
          <p:nvPr/>
        </p:nvSpPr>
        <p:spPr>
          <a:xfrm>
            <a:off x="8979808" y="1202152"/>
            <a:ext cx="2524620" cy="1036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l-BE" b="1" dirty="0">
                <a:solidFill>
                  <a:schemeClr val="bg1"/>
                </a:solidFill>
              </a:rPr>
              <a:t>348 </a:t>
            </a:r>
            <a:r>
              <a:rPr lang="en-US" b="1" dirty="0">
                <a:solidFill>
                  <a:schemeClr val="bg1"/>
                </a:solidFill>
              </a:rPr>
              <a:t>Billion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9FEA5FE-4F7A-2E21-3484-4EDFD64183A8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ource :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tatista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2023</a:t>
            </a:r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F97F1B55-D7D1-91E7-FFE7-DA8E01F3C09B}"/>
              </a:ext>
            </a:extLst>
          </p:cNvPr>
          <p:cNvSpPr txBox="1">
            <a:spLocks/>
          </p:cNvSpPr>
          <p:nvPr/>
        </p:nvSpPr>
        <p:spPr>
          <a:xfrm>
            <a:off x="2277356" y="3871913"/>
            <a:ext cx="2524620" cy="10368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84000"/>
              </a:lnSpc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l-BE" b="1" dirty="0">
                <a:solidFill>
                  <a:schemeClr val="bg1"/>
                </a:solidFill>
              </a:rPr>
              <a:t>171 </a:t>
            </a:r>
            <a:r>
              <a:rPr lang="en-US" b="1" dirty="0">
                <a:solidFill>
                  <a:schemeClr val="bg1"/>
                </a:solidFill>
              </a:rPr>
              <a:t>Billion</a:t>
            </a:r>
          </a:p>
        </p:txBody>
      </p:sp>
    </p:spTree>
    <p:extLst>
      <p:ext uri="{BB962C8B-B14F-4D97-AF65-F5344CB8AC3E}">
        <p14:creationId xmlns:p14="http://schemas.microsoft.com/office/powerpoint/2010/main" val="3177418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 descr="Une image contenant fournitures de bureau, outil d’écriture, stylos et plumes, Article de bureau&#10;&#10;Description générée automatiquement">
            <a:extLst>
              <a:ext uri="{FF2B5EF4-FFF2-40B4-BE49-F238E27FC236}">
                <a16:creationId xmlns:a16="http://schemas.microsoft.com/office/drawing/2014/main" id="{968DA586-66E3-D3DF-C7E7-8AB8F317CF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919"/>
          <a:stretch/>
        </p:blipFill>
        <p:spPr>
          <a:xfrm>
            <a:off x="8919000" y="1603179"/>
            <a:ext cx="3127800" cy="816013"/>
          </a:xfrm>
          <a:prstGeom prst="rect">
            <a:avLst/>
          </a:prstGeom>
        </p:spPr>
      </p:pic>
      <p:pic>
        <p:nvPicPr>
          <p:cNvPr id="16" name="Image 15" descr="Une image contenant fournitures de bureau, outil d’écriture, stylos et plumes, Article de bureau&#10;&#10;Description générée automatiquement">
            <a:extLst>
              <a:ext uri="{FF2B5EF4-FFF2-40B4-BE49-F238E27FC236}">
                <a16:creationId xmlns:a16="http://schemas.microsoft.com/office/drawing/2014/main" id="{E4702A90-A791-616C-9C1B-449C5F6F36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1" t="-34767" r="361" b="34767"/>
          <a:stretch/>
        </p:blipFill>
        <p:spPr>
          <a:xfrm>
            <a:off x="3238076" y="-938373"/>
            <a:ext cx="3127800" cy="2087973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5BDD1A81-2531-482B-E18E-49D754DFD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>
                <a:solidFill>
                  <a:schemeClr val="accent2"/>
                </a:solidFill>
              </a:rPr>
              <a:t>Return </a:t>
            </a:r>
            <a:r>
              <a:rPr lang="nl-BE" dirty="0" err="1">
                <a:solidFill>
                  <a:schemeClr val="accent2"/>
                </a:solidFill>
              </a:rPr>
              <a:t>rates</a:t>
            </a:r>
            <a:endParaRPr lang="fr-BE" dirty="0">
              <a:solidFill>
                <a:schemeClr val="accent2"/>
              </a:solidFill>
            </a:endParaRP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66A51D2F-C2C9-94B2-9552-41447FCBAD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sz="2200" b="1" dirty="0" err="1"/>
              <a:t>Returned</a:t>
            </a:r>
            <a:r>
              <a:rPr lang="nl-BE" sz="2200" b="1" dirty="0"/>
              <a:t> </a:t>
            </a:r>
            <a:r>
              <a:rPr lang="nl-BE" sz="2200" b="1" dirty="0" err="1"/>
              <a:t>an</a:t>
            </a:r>
            <a:r>
              <a:rPr lang="nl-BE" sz="2200" b="1" dirty="0"/>
              <a:t> item in </a:t>
            </a:r>
            <a:r>
              <a:rPr lang="nl-BE" sz="2200" b="1" dirty="0" err="1"/>
              <a:t>the</a:t>
            </a:r>
            <a:r>
              <a:rPr lang="nl-BE" sz="2200" b="1" dirty="0"/>
              <a:t> past </a:t>
            </a:r>
            <a:r>
              <a:rPr lang="nl-BE" sz="2200" b="1" dirty="0" err="1"/>
              <a:t>year</a:t>
            </a:r>
            <a:r>
              <a:rPr lang="nl-BE" sz="2200" b="1" dirty="0"/>
              <a:t> :</a:t>
            </a:r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endParaRPr lang="nl-BE" b="1" dirty="0"/>
          </a:p>
          <a:p>
            <a:pPr marL="0" indent="0">
              <a:buNone/>
            </a:pPr>
            <a:r>
              <a:rPr lang="nl-BE" sz="2200" dirty="0"/>
              <a:t>A </a:t>
            </a:r>
            <a:r>
              <a:rPr lang="nl-BE" sz="2200" b="1" dirty="0" err="1"/>
              <a:t>growing</a:t>
            </a:r>
            <a:r>
              <a:rPr lang="nl-BE" sz="2200" dirty="0"/>
              <a:t> </a:t>
            </a:r>
            <a:r>
              <a:rPr lang="nl-BE" sz="2200" dirty="0" err="1"/>
              <a:t>number</a:t>
            </a:r>
            <a:r>
              <a:rPr lang="nl-BE" sz="2200" dirty="0"/>
              <a:t>…</a:t>
            </a:r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nl-BE" dirty="0"/>
          </a:p>
          <a:p>
            <a:pPr marL="0" indent="0">
              <a:buNone/>
            </a:pPr>
            <a:endParaRPr lang="nl-BE" dirty="0"/>
          </a:p>
        </p:txBody>
      </p:sp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72533F08-1568-1263-60A5-7B091EBC0BC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nl-BE" sz="2200" b="1" dirty="0" err="1"/>
              <a:t>Proportions</a:t>
            </a:r>
            <a:r>
              <a:rPr lang="nl-BE" sz="2200" b="1" dirty="0"/>
              <a:t> of items </a:t>
            </a:r>
            <a:r>
              <a:rPr lang="nl-BE" sz="2200" b="1" dirty="0" err="1"/>
              <a:t>returned</a:t>
            </a:r>
            <a:r>
              <a:rPr lang="nl-BE" sz="2200" b="1" dirty="0"/>
              <a:t> :</a:t>
            </a:r>
            <a:endParaRPr lang="fr-BE" sz="2200" b="1" dirty="0"/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D111B8BE-DF33-0E08-BB38-F364BC6DAF44}"/>
              </a:ext>
            </a:extLst>
          </p:cNvPr>
          <p:cNvGraphicFramePr>
            <a:graphicFrameLocks/>
          </p:cNvGraphicFramePr>
          <p:nvPr/>
        </p:nvGraphicFramePr>
        <p:xfrm>
          <a:off x="360000" y="2266066"/>
          <a:ext cx="4013978" cy="2178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28">
            <a:extLst>
              <a:ext uri="{FF2B5EF4-FFF2-40B4-BE49-F238E27FC236}">
                <a16:creationId xmlns:a16="http://schemas.microsoft.com/office/drawing/2014/main" id="{46E177BB-91E2-F599-3539-695BDE1FA956}"/>
              </a:ext>
            </a:extLst>
          </p:cNvPr>
          <p:cNvSpPr txBox="1"/>
          <p:nvPr/>
        </p:nvSpPr>
        <p:spPr>
          <a:xfrm>
            <a:off x="1943796" y="3078123"/>
            <a:ext cx="84638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3600" b="1" i="0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45%</a:t>
            </a:r>
            <a:endParaRPr kumimoji="0" lang="en-US" sz="3600" b="1" i="0" u="none" strike="noStrike" kern="1200" cap="none" spc="0" normalizeH="0" baseline="0" noProof="0" dirty="0" err="1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2C40D39-D6CD-E26D-0B3D-7035E7EC0FF9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ource : IPC Cross border e commerce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hopper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urvey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2022</a:t>
            </a:r>
          </a:p>
        </p:txBody>
      </p:sp>
      <p:graphicFrame>
        <p:nvGraphicFramePr>
          <p:cNvPr id="12" name="Graphique 11">
            <a:extLst>
              <a:ext uri="{FF2B5EF4-FFF2-40B4-BE49-F238E27FC236}">
                <a16:creationId xmlns:a16="http://schemas.microsoft.com/office/drawing/2014/main" id="{C244BEFB-11CA-AA58-6616-BB77C1FE4BFD}"/>
              </a:ext>
            </a:extLst>
          </p:cNvPr>
          <p:cNvGraphicFramePr>
            <a:graphicFrameLocks/>
          </p:cNvGraphicFramePr>
          <p:nvPr/>
        </p:nvGraphicFramePr>
        <p:xfrm>
          <a:off x="5870222" y="2565399"/>
          <a:ext cx="5961778" cy="3541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9" name="Image 18">
            <a:extLst>
              <a:ext uri="{FF2B5EF4-FFF2-40B4-BE49-F238E27FC236}">
                <a16:creationId xmlns:a16="http://schemas.microsoft.com/office/drawing/2014/main" id="{1A2EA0E0-8CF6-2DF9-D0C8-4E695C435C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912427" y="1577671"/>
            <a:ext cx="6317979" cy="4524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697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Graphic spid="12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-29000" r="-1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A3AEDE4-A58F-7872-F881-0076BEE929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7CE353-738D-40C0-ACB8-E00BEBE3BC0D}" type="datetime4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egoe UI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 September 202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2" name="Espace réservé du contenu 3">
            <a:extLst>
              <a:ext uri="{FF2B5EF4-FFF2-40B4-BE49-F238E27FC236}">
                <a16:creationId xmlns:a16="http://schemas.microsoft.com/office/drawing/2014/main" id="{45883F9E-38AB-B0DA-10E0-E96FA4586514}"/>
              </a:ext>
            </a:extLst>
          </p:cNvPr>
          <p:cNvSpPr txBox="1">
            <a:spLocks/>
          </p:cNvSpPr>
          <p:nvPr/>
        </p:nvSpPr>
        <p:spPr>
          <a:xfrm>
            <a:off x="3204474" y="1996598"/>
            <a:ext cx="3275207" cy="1603130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2800" indent="-172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spc="-15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BE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10% </a:t>
            </a:r>
            <a:r>
              <a:rPr kumimoji="0" lang="nl-BE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returned</a:t>
            </a:r>
            <a:r>
              <a:rPr kumimoji="0" lang="nl-BE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nl-BE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all</a:t>
            </a:r>
            <a:r>
              <a:rPr kumimoji="0" lang="nl-BE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or part of </a:t>
            </a:r>
            <a:r>
              <a:rPr kumimoji="0" lang="nl-BE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heir</a:t>
            </a:r>
            <a:r>
              <a:rPr kumimoji="0" lang="nl-BE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nl-BE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purchase</a:t>
            </a:r>
            <a:endParaRPr kumimoji="0" lang="nl-BE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srgbClr val="5A5A5F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pic>
        <p:nvPicPr>
          <p:cNvPr id="4" name="Afbeelding 4">
            <a:extLst>
              <a:ext uri="{FF2B5EF4-FFF2-40B4-BE49-F238E27FC236}">
                <a16:creationId xmlns:a16="http://schemas.microsoft.com/office/drawing/2014/main" id="{3EC5BB22-086C-DC74-1B15-DBD5ED5C81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89186" y="311064"/>
            <a:ext cx="4933244" cy="3721934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932B4658-4746-5E48-6C4A-79C2B27DA9DA}"/>
              </a:ext>
            </a:extLst>
          </p:cNvPr>
          <p:cNvSpPr txBox="1"/>
          <p:nvPr/>
        </p:nvSpPr>
        <p:spPr>
          <a:xfrm>
            <a:off x="7349923" y="3218230"/>
            <a:ext cx="3692325" cy="23490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BE" sz="2200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Returns </a:t>
            </a:r>
            <a:r>
              <a:rPr kumimoji="0" lang="nl-BE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were</a:t>
            </a:r>
            <a:r>
              <a:rPr kumimoji="0" lang="nl-BE" sz="2200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nl-BE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highest</a:t>
            </a:r>
            <a:r>
              <a:rPr kumimoji="0" lang="nl-BE" sz="2200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in 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l-BE" sz="2000" b="0" i="0" u="none" strike="noStrike" kern="1200" cap="none" spc="0" normalizeH="0" baseline="0" noProof="0" dirty="0">
              <a:ln>
                <a:noFill/>
              </a:ln>
              <a:solidFill>
                <a:srgbClr val="EF2637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BE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China (25%)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BE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New </a:t>
            </a:r>
            <a:r>
              <a:rPr kumimoji="0" lang="nl-BE" b="0" i="0" u="none" strike="noStrike" kern="1200" cap="none" spc="0" normalizeH="0" baseline="0" noProof="0" dirty="0" err="1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Zealand</a:t>
            </a:r>
            <a:r>
              <a:rPr kumimoji="0" lang="nl-BE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(22%)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BE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witzerland (22%) 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l-BE" b="0" i="0" u="none" strike="noStrike" kern="1200" cap="none" spc="0" normalizeH="0" baseline="0" noProof="0" dirty="0" err="1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and</a:t>
            </a:r>
            <a:r>
              <a:rPr kumimoji="0" lang="nl-BE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nl-BE" b="0" i="0" u="none" strike="noStrike" kern="1200" cap="none" spc="0" normalizeH="0" baseline="0" noProof="0" dirty="0" err="1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the</a:t>
            </a:r>
            <a:r>
              <a:rPr kumimoji="0" lang="nl-BE" b="0" i="0" u="none" strike="noStrike" kern="1200" cap="none" spc="0" normalizeH="0" baseline="0" noProof="0" dirty="0">
                <a:ln>
                  <a:noFill/>
                </a:ln>
                <a:solidFill>
                  <a:srgbClr val="EF2637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US (21%)</a:t>
            </a:r>
            <a:endParaRPr kumimoji="0" lang="fr-BE" b="0" i="0" u="none" strike="noStrike" kern="1200" cap="none" spc="0" normalizeH="0" baseline="0" noProof="0" dirty="0">
              <a:ln>
                <a:noFill/>
              </a:ln>
              <a:solidFill>
                <a:srgbClr val="EF2637"/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59155D7-A01A-DA0E-85D7-CC8C5074DE05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ource : IPC Cross border e commerce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hopper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urvey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1249343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EE5D4D6-7AB2-7A41-1209-0453F285E5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Returns </a:t>
            </a:r>
            <a:r>
              <a:rPr lang="nl-BE" dirty="0" err="1"/>
              <a:t>location</a:t>
            </a:r>
            <a:r>
              <a:rPr lang="nl-BE" dirty="0"/>
              <a:t> </a:t>
            </a:r>
            <a:r>
              <a:rPr lang="nl-BE" dirty="0" err="1"/>
              <a:t>preference</a:t>
            </a:r>
            <a:endParaRPr lang="fr-BE" dirty="0"/>
          </a:p>
        </p:txBody>
      </p:sp>
      <p:pic>
        <p:nvPicPr>
          <p:cNvPr id="14" name="Espace réservé du contenu 13" descr="Une image contenant croquis, dessin, conception, art&#10;&#10;Description générée automatiquement">
            <a:extLst>
              <a:ext uri="{FF2B5EF4-FFF2-40B4-BE49-F238E27FC236}">
                <a16:creationId xmlns:a16="http://schemas.microsoft.com/office/drawing/2014/main" id="{B846D3B1-6229-C10D-B0B6-C3A61ED2C0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751" y="2377543"/>
            <a:ext cx="3015211" cy="1855428"/>
          </a:xfrm>
        </p:spPr>
      </p:pic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id="{6528C006-72AF-9806-64B6-6B84A2638C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0750426"/>
              </p:ext>
            </p:extLst>
          </p:nvPr>
        </p:nvGraphicFramePr>
        <p:xfrm>
          <a:off x="4141115" y="651845"/>
          <a:ext cx="7960688" cy="5306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id="{90912B07-1089-9164-91F3-1260D6B9AC0A}"/>
              </a:ext>
            </a:extLst>
          </p:cNvPr>
          <p:cNvSpPr txBox="1"/>
          <p:nvPr/>
        </p:nvSpPr>
        <p:spPr>
          <a:xfrm>
            <a:off x="415885" y="6541674"/>
            <a:ext cx="877218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ource : IPC Cross border e commerce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hopper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</a:t>
            </a:r>
            <a:r>
              <a:rPr kumimoji="0" lang="fr-B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survey</a:t>
            </a:r>
            <a:r>
              <a:rPr kumimoji="0" lang="fr-BE" sz="1200" b="0" i="1" u="none" strike="noStrike" kern="1200" cap="none" spc="0" normalizeH="0" baseline="0" noProof="0" dirty="0">
                <a:ln>
                  <a:noFill/>
                </a:ln>
                <a:solidFill>
                  <a:srgbClr val="5A5A5F"/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 202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14214C-F534-565E-D7D1-612FDA587CCE}"/>
              </a:ext>
            </a:extLst>
          </p:cNvPr>
          <p:cNvSpPr txBox="1"/>
          <p:nvPr/>
        </p:nvSpPr>
        <p:spPr>
          <a:xfrm>
            <a:off x="10582603" y="906517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GB" sz="2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54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FuXMGuxd5bm1CTr8Qke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uLT6ga64VuzIfciS.5d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WysHC3croBvy72ijUGR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FuXMGuxd5bm1CTr8Qke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5TgQjN6DHyL8mdtZH7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uLT6ga64VuzIfciS.5d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WysHC3croBvy72ijUGR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Bc1Z2aozX3FGn1wVvo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5TgQjN6DHyL8mdtZH7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5TgQjN6DHyL8mdtZH7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5TgQjN6DHyL8mdtZH7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FuXMGuxd5bm1CTr8Qke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uLT6ga64VuzIfciS.5d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uLT6ga64VuzIfciS.5d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WysHC3croBvy72ijUGR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_KDpYZJrPv2Mq9SZyEs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5TgQjN6DHyL8mdtZH7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2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10.xml><?xml version="1.0" encoding="utf-8"?>
<a:theme xmlns:a="http://schemas.openxmlformats.org/drawingml/2006/main" name="5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11.xml><?xml version="1.0" encoding="utf-8"?>
<a:theme xmlns:a="http://schemas.openxmlformats.org/drawingml/2006/main" name="6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12.xml><?xml version="1.0" encoding="utf-8"?>
<a:theme xmlns:a="http://schemas.openxmlformats.org/drawingml/2006/main" name="7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13.xml><?xml version="1.0" encoding="utf-8"?>
<a:theme xmlns:a="http://schemas.openxmlformats.org/drawingml/2006/main" name="8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14.xml><?xml version="1.0" encoding="utf-8"?>
<a:theme xmlns:a="http://schemas.openxmlformats.org/drawingml/2006/main" name="Master bpost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1"/>
          </a:solidFill>
        </a:ln>
      </a:spPr>
      <a:bodyPr lIns="72000" tIns="36000" rIns="72000" bIns="36000" rtlCol="0" anchor="ctr"/>
      <a:lstStyle>
        <a:defPPr algn="l">
          <a:defRPr sz="100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 algn="l"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15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9_Blank">
  <a:themeElements>
    <a:clrScheme name="LG">
      <a:dk1>
        <a:srgbClr val="2E5D74"/>
      </a:dk1>
      <a:lt1>
        <a:sysClr val="window" lastClr="FFFFFF"/>
      </a:lt1>
      <a:dk2>
        <a:srgbClr val="174359"/>
      </a:dk2>
      <a:lt2>
        <a:srgbClr val="E6EAEC"/>
      </a:lt2>
      <a:accent1>
        <a:srgbClr val="174359"/>
      </a:accent1>
      <a:accent2>
        <a:srgbClr val="EF2637"/>
      </a:accent2>
      <a:accent3>
        <a:srgbClr val="BED2E0"/>
      </a:accent3>
      <a:accent4>
        <a:srgbClr val="2E5D74"/>
      </a:accent4>
      <a:accent5>
        <a:srgbClr val="91A7D1"/>
      </a:accent5>
      <a:accent6>
        <a:srgbClr val="F7D2B9"/>
      </a:accent6>
      <a:hlink>
        <a:srgbClr val="2E5D74"/>
      </a:hlink>
      <a:folHlink>
        <a:srgbClr val="91A7D1"/>
      </a:folHlink>
    </a:clrScheme>
    <a:fontScheme name="LG">
      <a:majorFont>
        <a:latin typeface="Overpass SemiBold"/>
        <a:ea typeface=""/>
        <a:cs typeface=""/>
      </a:majorFont>
      <a:minorFont>
        <a:latin typeface="Overpas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G PPT Template 2022.pptx" id="{340ACF1D-AEEB-4DC7-A797-E2494AE37220}" vid="{C1C30D24-BB21-4CC3-8F4F-9D8C1F662B4F}"/>
    </a:ext>
  </a:extLst>
</a:theme>
</file>

<file path=ppt/theme/theme17.xml><?xml version="1.0" encoding="utf-8"?>
<a:theme xmlns:a="http://schemas.openxmlformats.org/drawingml/2006/main" name="10_Blank">
  <a:themeElements>
    <a:clrScheme name="LG">
      <a:dk1>
        <a:srgbClr val="2E5D74"/>
      </a:dk1>
      <a:lt1>
        <a:sysClr val="window" lastClr="FFFFFF"/>
      </a:lt1>
      <a:dk2>
        <a:srgbClr val="174359"/>
      </a:dk2>
      <a:lt2>
        <a:srgbClr val="E6EAEC"/>
      </a:lt2>
      <a:accent1>
        <a:srgbClr val="174359"/>
      </a:accent1>
      <a:accent2>
        <a:srgbClr val="EF2637"/>
      </a:accent2>
      <a:accent3>
        <a:srgbClr val="BED2E0"/>
      </a:accent3>
      <a:accent4>
        <a:srgbClr val="2E5D74"/>
      </a:accent4>
      <a:accent5>
        <a:srgbClr val="91A7D1"/>
      </a:accent5>
      <a:accent6>
        <a:srgbClr val="F7D2B9"/>
      </a:accent6>
      <a:hlink>
        <a:srgbClr val="2E5D74"/>
      </a:hlink>
      <a:folHlink>
        <a:srgbClr val="91A7D1"/>
      </a:folHlink>
    </a:clrScheme>
    <a:fontScheme name="LG">
      <a:majorFont>
        <a:latin typeface="Overpass SemiBold"/>
        <a:ea typeface=""/>
        <a:cs typeface=""/>
      </a:majorFont>
      <a:minorFont>
        <a:latin typeface="Overpas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LG PPT Template 2022.pptx" id="{340ACF1D-AEEB-4DC7-A797-E2494AE37220}" vid="{C1C30D24-BB21-4CC3-8F4F-9D8C1F662B4F}"/>
    </a:ext>
  </a:extLst>
</a:theme>
</file>

<file path=ppt/theme/theme18.xml><?xml version="1.0" encoding="utf-8"?>
<a:theme xmlns:a="http://schemas.openxmlformats.org/drawingml/2006/main" name="11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_presentation_template_001A" id="{3D1591FB-8576-F54F-A35C-1427D6282D42}" vid="{25EA60D8-8DB2-9A4B-8BD6-F3EB20DF828A}"/>
    </a:ext>
  </a:extLst>
</a:theme>
</file>

<file path=ppt/theme/theme19.xml><?xml version="1.0" encoding="utf-8"?>
<a:theme xmlns:a="http://schemas.openxmlformats.org/drawingml/2006/main" name="12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_presentation_template_001A" id="{3D1591FB-8576-F54F-A35C-1427D6282D42}" vid="{25EA60D8-8DB2-9A4B-8BD6-F3EB20DF828A}"/>
    </a:ext>
  </a:extLst>
</a:theme>
</file>

<file path=ppt/theme/theme2.xml><?xml version="1.0" encoding="utf-8"?>
<a:theme xmlns:a="http://schemas.openxmlformats.org/drawingml/2006/main" name="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_presentation_template_001A" id="{3D1591FB-8576-F54F-A35C-1427D6282D42}" vid="{25EA60D8-8DB2-9A4B-8BD6-F3EB20DF828A}"/>
    </a:ext>
  </a:extLst>
</a:theme>
</file>

<file path=ppt/theme/theme20.xml><?xml version="1.0" encoding="utf-8"?>
<a:theme xmlns:a="http://schemas.openxmlformats.org/drawingml/2006/main" name="8_Main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Template bpost" id="{1F92E20A-C5A5-498C-BA42-4277244739D5}" vid="{F4FD2778-904C-4B77-A451-ACE7CAE9B9FE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4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_presentation_template_001A" id="{3D1591FB-8576-F54F-A35C-1427D6282D42}" vid="{25EA60D8-8DB2-9A4B-8BD6-F3EB20DF828A}"/>
    </a:ext>
  </a:extLst>
</a:theme>
</file>

<file path=ppt/theme/theme4.xml><?xml version="1.0" encoding="utf-8"?>
<a:theme xmlns:a="http://schemas.openxmlformats.org/drawingml/2006/main" name="1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_presentation_template (2)  -  Read-Only" id="{D53BB3DD-8CD6-4266-90CD-BB37764AE84B}" vid="{C7D1095F-6228-4E01-81A2-6EAB2483A7B8}"/>
    </a:ext>
  </a:extLst>
</a:theme>
</file>

<file path=ppt/theme/theme5.xml><?xml version="1.0" encoding="utf-8"?>
<a:theme xmlns:a="http://schemas.openxmlformats.org/drawingml/2006/main" name="3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660E9255-82E7-4EEF-A83B-2CE74A3AFCFB}" vid="{12018D68-17CD-492B-B284-28E501150B51}"/>
    </a:ext>
  </a:extLst>
</a:theme>
</file>

<file path=ppt/theme/theme6.xml><?xml version="1.0" encoding="utf-8"?>
<a:theme xmlns:a="http://schemas.openxmlformats.org/drawingml/2006/main" name="Main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aterial Wave 1" id="{A2CB9120-587E-4062-B623-CBCB8DCBB7B9}" vid="{F276067F-D50F-4EA2-ADDF-2C1E21E6C6A9}"/>
    </a:ext>
  </a:extLst>
</a:theme>
</file>

<file path=ppt/theme/theme7.xml><?xml version="1.0" encoding="utf-8"?>
<a:theme xmlns:a="http://schemas.openxmlformats.org/drawingml/2006/main" name="7_Main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Template bpost" id="{1F92E20A-C5A5-498C-BA42-4277244739D5}" vid="{F4FD2778-904C-4B77-A451-ACE7CAE9B9FE}"/>
    </a:ext>
  </a:extLst>
</a:theme>
</file>

<file path=ppt/theme/theme8.xml><?xml version="1.0" encoding="utf-8"?>
<a:theme xmlns:a="http://schemas.openxmlformats.org/drawingml/2006/main" name="4_Blank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9.xml><?xml version="1.0" encoding="utf-8"?>
<a:theme xmlns:a="http://schemas.openxmlformats.org/drawingml/2006/main" name="NEWWWWWWWWWWWWWW">
  <a:themeElements>
    <a:clrScheme name="bPost">
      <a:dk1>
        <a:srgbClr val="000000"/>
      </a:dk1>
      <a:lt1>
        <a:sysClr val="window" lastClr="FFFFFF"/>
      </a:lt1>
      <a:dk2>
        <a:srgbClr val="5A5A5F"/>
      </a:dk2>
      <a:lt2>
        <a:srgbClr val="EEEEEF"/>
      </a:lt2>
      <a:accent1>
        <a:srgbClr val="EF2637"/>
      </a:accent1>
      <a:accent2>
        <a:srgbClr val="5A5A5F"/>
      </a:accent2>
      <a:accent3>
        <a:srgbClr val="9CC1BA"/>
      </a:accent3>
      <a:accent4>
        <a:srgbClr val="83A0A8"/>
      </a:accent4>
      <a:accent5>
        <a:srgbClr val="84BCD3"/>
      </a:accent5>
      <a:accent6>
        <a:srgbClr val="EEC228"/>
      </a:accent6>
      <a:hlink>
        <a:srgbClr val="84BCD3"/>
      </a:hlink>
      <a:folHlink>
        <a:srgbClr val="CAD55A"/>
      </a:folHlink>
    </a:clrScheme>
    <a:fontScheme name="bPost">
      <a:majorFont>
        <a:latin typeface="Segoe UI Light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Post 16-9.potx" id="{F861949A-79D9-4D7F-B3C8-91BC15E439C2}" vid="{5DF061AB-6FA0-4AF2-8B64-21FF9D0C18EA}"/>
    </a:ext>
  </a:extLst>
</a:theme>
</file>

<file path=ppt/theme/themeOverride1.xml><?xml version="1.0" encoding="utf-8"?>
<a:themeOverride xmlns:a="http://schemas.openxmlformats.org/drawingml/2006/main">
  <a:clrScheme name="Default">
    <a:dk1>
      <a:srgbClr val="FFFFFF"/>
    </a:dk1>
    <a:lt1>
      <a:srgbClr val="FFFFFF"/>
    </a:lt1>
    <a:dk2>
      <a:srgbClr val="A7A7A7"/>
    </a:dk2>
    <a:lt2>
      <a:srgbClr val="535353"/>
    </a:lt2>
    <a:accent1>
      <a:srgbClr val="EF2637"/>
    </a:accent1>
    <a:accent2>
      <a:srgbClr val="5A5A5F"/>
    </a:accent2>
    <a:accent3>
      <a:srgbClr val="9A9AA0"/>
    </a:accent3>
    <a:accent4>
      <a:srgbClr val="BCBCBF"/>
    </a:accent4>
    <a:accent5>
      <a:srgbClr val="DDDDDF"/>
    </a:accent5>
    <a:accent6>
      <a:srgbClr val="8F8F8F"/>
    </a:accent6>
    <a:hlink>
      <a:srgbClr val="0000FF"/>
    </a:hlink>
    <a:folHlink>
      <a:srgbClr val="FF00FF"/>
    </a:folHlink>
  </a:clrScheme>
  <a:fontScheme name="Default">
    <a:majorFont>
      <a:latin typeface="Helvetica"/>
      <a:ea typeface="Helvetica"/>
      <a:cs typeface="Helvetica"/>
    </a:majorFont>
    <a:minorFont>
      <a:latin typeface="Helvetica Neue"/>
      <a:ea typeface="Helvetica Neue"/>
      <a:cs typeface="Helvetica Neue"/>
    </a:minorFont>
  </a:fontScheme>
  <a:fmtScheme name="Default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29999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4999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Default">
    <a:dk1>
      <a:srgbClr val="FFFFFF"/>
    </a:dk1>
    <a:lt1>
      <a:srgbClr val="FFFFFF"/>
    </a:lt1>
    <a:dk2>
      <a:srgbClr val="A7A7A7"/>
    </a:dk2>
    <a:lt2>
      <a:srgbClr val="535353"/>
    </a:lt2>
    <a:accent1>
      <a:srgbClr val="EF2637"/>
    </a:accent1>
    <a:accent2>
      <a:srgbClr val="5A5A5F"/>
    </a:accent2>
    <a:accent3>
      <a:srgbClr val="9A9AA0"/>
    </a:accent3>
    <a:accent4>
      <a:srgbClr val="BCBCBF"/>
    </a:accent4>
    <a:accent5>
      <a:srgbClr val="DDDDDF"/>
    </a:accent5>
    <a:accent6>
      <a:srgbClr val="8F8F8F"/>
    </a:accent6>
    <a:hlink>
      <a:srgbClr val="0000FF"/>
    </a:hlink>
    <a:folHlink>
      <a:srgbClr val="FF00FF"/>
    </a:folHlink>
  </a:clrScheme>
  <a:fontScheme name="Default">
    <a:majorFont>
      <a:latin typeface="Helvetica"/>
      <a:ea typeface="Helvetica"/>
      <a:cs typeface="Helvetica"/>
    </a:majorFont>
    <a:minorFont>
      <a:latin typeface="Helvetica Neue"/>
      <a:ea typeface="Helvetica Neue"/>
      <a:cs typeface="Helvetica Neue"/>
    </a:minorFont>
  </a:fontScheme>
  <a:fmtScheme name="Default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29999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4999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Default">
    <a:dk1>
      <a:srgbClr val="FFFFFF"/>
    </a:dk1>
    <a:lt1>
      <a:srgbClr val="FFFFFF"/>
    </a:lt1>
    <a:dk2>
      <a:srgbClr val="A7A7A7"/>
    </a:dk2>
    <a:lt2>
      <a:srgbClr val="535353"/>
    </a:lt2>
    <a:accent1>
      <a:srgbClr val="EF2637"/>
    </a:accent1>
    <a:accent2>
      <a:srgbClr val="5A5A5F"/>
    </a:accent2>
    <a:accent3>
      <a:srgbClr val="9A9AA0"/>
    </a:accent3>
    <a:accent4>
      <a:srgbClr val="BCBCBF"/>
    </a:accent4>
    <a:accent5>
      <a:srgbClr val="DDDDDF"/>
    </a:accent5>
    <a:accent6>
      <a:srgbClr val="8F8F8F"/>
    </a:accent6>
    <a:hlink>
      <a:srgbClr val="0000FF"/>
    </a:hlink>
    <a:folHlink>
      <a:srgbClr val="FF00FF"/>
    </a:folHlink>
  </a:clrScheme>
  <a:fontScheme name="Default">
    <a:majorFont>
      <a:latin typeface="Helvetica"/>
      <a:ea typeface="Helvetica"/>
      <a:cs typeface="Helvetica"/>
    </a:majorFont>
    <a:minorFont>
      <a:latin typeface="Helvetica Neue"/>
      <a:ea typeface="Helvetica Neue"/>
      <a:cs typeface="Helvetica Neue"/>
    </a:minorFont>
  </a:fontScheme>
  <a:fmtScheme name="Default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29999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4999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Default">
    <a:dk1>
      <a:srgbClr val="FFFFFF"/>
    </a:dk1>
    <a:lt1>
      <a:srgbClr val="FFFFFF"/>
    </a:lt1>
    <a:dk2>
      <a:srgbClr val="A7A7A7"/>
    </a:dk2>
    <a:lt2>
      <a:srgbClr val="535353"/>
    </a:lt2>
    <a:accent1>
      <a:srgbClr val="EF2637"/>
    </a:accent1>
    <a:accent2>
      <a:srgbClr val="5A5A5F"/>
    </a:accent2>
    <a:accent3>
      <a:srgbClr val="9A9AA0"/>
    </a:accent3>
    <a:accent4>
      <a:srgbClr val="BCBCBF"/>
    </a:accent4>
    <a:accent5>
      <a:srgbClr val="DDDDDF"/>
    </a:accent5>
    <a:accent6>
      <a:srgbClr val="8F8F8F"/>
    </a:accent6>
    <a:hlink>
      <a:srgbClr val="0000FF"/>
    </a:hlink>
    <a:folHlink>
      <a:srgbClr val="FF00FF"/>
    </a:folHlink>
  </a:clrScheme>
  <a:fontScheme name="Default">
    <a:majorFont>
      <a:latin typeface="Helvetica"/>
      <a:ea typeface="Helvetica"/>
      <a:cs typeface="Helvetica"/>
    </a:majorFont>
    <a:minorFont>
      <a:latin typeface="Helvetica Neue"/>
      <a:ea typeface="Helvetica Neue"/>
      <a:cs typeface="Helvetica Neue"/>
    </a:minorFont>
  </a:fontScheme>
  <a:fmtScheme name="Default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29999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4999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/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6EA55C3892F143AEFA858E54ACFEEF" ma:contentTypeVersion="17" ma:contentTypeDescription="Een nieuw document maken." ma:contentTypeScope="" ma:versionID="e7cac05dee38bfd2bb38bfbb55890c88">
  <xsd:schema xmlns:xsd="http://www.w3.org/2001/XMLSchema" xmlns:xs="http://www.w3.org/2001/XMLSchema" xmlns:p="http://schemas.microsoft.com/office/2006/metadata/properties" xmlns:ns2="563e1a70-4f74-463d-9a79-947261ce536c" xmlns:ns3="50c201a5-b106-440c-bf6d-8ae7c441506c" targetNamespace="http://schemas.microsoft.com/office/2006/metadata/properties" ma:root="true" ma:fieldsID="b3efb44d109eae97f0933a515387dbd4" ns2:_="" ns3:_="">
    <xsd:import namespace="563e1a70-4f74-463d-9a79-947261ce536c"/>
    <xsd:import namespace="50c201a5-b106-440c-bf6d-8ae7c44150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3e1a70-4f74-463d-9a79-947261ce53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5d36b1f6-7823-45c5-ac37-477563c5ca2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201a5-b106-440c-bf6d-8ae7c441506c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5a4d4fd-3fa3-4672-8646-ca6ef76f1681}" ma:internalName="TaxCatchAll" ma:showField="CatchAllData" ma:web="50c201a5-b106-440c-bf6d-8ae7c44150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63e1a70-4f74-463d-9a79-947261ce536c">
      <Terms xmlns="http://schemas.microsoft.com/office/infopath/2007/PartnerControls"/>
    </lcf76f155ced4ddcb4097134ff3c332f>
    <TaxCatchAll xmlns="50c201a5-b106-440c-bf6d-8ae7c441506c" xsi:nil="true"/>
    <SharedWithUsers xmlns="50c201a5-b106-440c-bf6d-8ae7c441506c">
      <UserInfo>
        <DisplayName>DION Elodie</DisplayName>
        <AccountId>62</AccountId>
        <AccountType/>
      </UserInfo>
      <UserInfo>
        <DisplayName>LOPOPOLO Lisa</DisplayName>
        <AccountId>231</AccountId>
        <AccountType/>
      </UserInfo>
      <UserInfo>
        <DisplayName>VERSTRAETE Muriel</DisplayName>
        <AccountId>30</AccountId>
        <AccountType/>
      </UserInfo>
      <UserInfo>
        <DisplayName>RAMAN Tatjana</DisplayName>
        <AccountId>10</AccountId>
        <AccountType/>
      </UserInfo>
      <UserInfo>
        <DisplayName>JAMSIN Isabelle</DisplayName>
        <AccountId>142</AccountId>
        <AccountType/>
      </UserInfo>
      <UserInfo>
        <DisplayName>SPILLIAERT Katrien</DisplayName>
        <AccountId>52</AccountId>
        <AccountType/>
      </UserInfo>
      <UserInfo>
        <DisplayName>VERBELEN Magali</DisplayName>
        <AccountId>72</AccountId>
        <AccountType/>
      </UserInfo>
      <UserInfo>
        <DisplayName>DEMARETS Pierre</DisplayName>
        <AccountId>187</AccountId>
        <AccountType/>
      </UserInfo>
      <UserInfo>
        <DisplayName>DAUTRICOURT Olivier</DisplayName>
        <AccountId>295</AccountId>
        <AccountType/>
      </UserInfo>
      <UserInfo>
        <DisplayName>LUO Yue</DisplayName>
        <AccountId>266</AccountId>
        <AccountType/>
      </UserInfo>
      <UserInfo>
        <DisplayName>VERCAMMEN Rudy</DisplayName>
        <AccountId>298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1CF4112-4890-4ACB-B10B-4ABCFFDEF2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3e1a70-4f74-463d-9a79-947261ce536c"/>
    <ds:schemaRef ds:uri="50c201a5-b106-440c-bf6d-8ae7c44150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7496F4E-5996-4892-A643-9658E853DBC8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purl.org/dc/elements/1.1/"/>
    <ds:schemaRef ds:uri="50c201a5-b106-440c-bf6d-8ae7c441506c"/>
    <ds:schemaRef ds:uri="563e1a70-4f74-463d-9a79-947261ce536c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0D844DF-8C12-4057-98AF-22E4DF8668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21</Words>
  <Application>Microsoft Office PowerPoint</Application>
  <PresentationFormat>Widescreen</PresentationFormat>
  <Paragraphs>334</Paragraphs>
  <Slides>39</Slides>
  <Notes>39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2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78" baseType="lpstr">
      <vt:lpstr>Overpass</vt:lpstr>
      <vt:lpstr>Overpass ExtraLight</vt:lpstr>
      <vt:lpstr>Overpass Light</vt:lpstr>
      <vt:lpstr>Overpass SemiBold</vt:lpstr>
      <vt:lpstr>Segoe UI Light (Body)</vt:lpstr>
      <vt:lpstr>arial</vt:lpstr>
      <vt:lpstr>arial</vt:lpstr>
      <vt:lpstr>Calibri</vt:lpstr>
      <vt:lpstr>Calibri Light</vt:lpstr>
      <vt:lpstr>Courier New</vt:lpstr>
      <vt:lpstr>Poppins</vt:lpstr>
      <vt:lpstr>Roboto</vt:lpstr>
      <vt:lpstr>Segoe UI</vt:lpstr>
      <vt:lpstr>Segoe UI Light</vt:lpstr>
      <vt:lpstr>Source Sans Pro</vt:lpstr>
      <vt:lpstr>Times New Roman</vt:lpstr>
      <vt:lpstr>Verdana</vt:lpstr>
      <vt:lpstr>Wingdings</vt:lpstr>
      <vt:lpstr>2_Blank</vt:lpstr>
      <vt:lpstr>Blank</vt:lpstr>
      <vt:lpstr>14_Blank</vt:lpstr>
      <vt:lpstr>1_Blank</vt:lpstr>
      <vt:lpstr>3_Blank</vt:lpstr>
      <vt:lpstr>Main</vt:lpstr>
      <vt:lpstr>7_Main</vt:lpstr>
      <vt:lpstr>4_Blank</vt:lpstr>
      <vt:lpstr>NEWWWWWWWWWWWWWW</vt:lpstr>
      <vt:lpstr>5_Blank</vt:lpstr>
      <vt:lpstr>6_Blank</vt:lpstr>
      <vt:lpstr>7_Blank</vt:lpstr>
      <vt:lpstr>8_Blank</vt:lpstr>
      <vt:lpstr>Master bpost</vt:lpstr>
      <vt:lpstr>Kantoorthema</vt:lpstr>
      <vt:lpstr>9_Blank</vt:lpstr>
      <vt:lpstr>10_Blank</vt:lpstr>
      <vt:lpstr>11_Blank</vt:lpstr>
      <vt:lpstr>12_Blank</vt:lpstr>
      <vt:lpstr>8_Main</vt:lpstr>
      <vt:lpstr>think-cell Slide</vt:lpstr>
      <vt:lpstr>PowerPoint Presentation</vt:lpstr>
      <vt:lpstr>PowerPoint Presentation</vt:lpstr>
      <vt:lpstr>PowerPoint Presentation</vt:lpstr>
      <vt:lpstr>PowerPoint Presentation</vt:lpstr>
      <vt:lpstr>We have developed activities and entities around the world to meet the changing needs of our customers.</vt:lpstr>
      <vt:lpstr>PowerPoint Presentation</vt:lpstr>
      <vt:lpstr>Return rates</vt:lpstr>
      <vt:lpstr>PowerPoint Presentation</vt:lpstr>
      <vt:lpstr>Returns location preference</vt:lpstr>
      <vt:lpstr>Challenge: impact</vt:lpstr>
      <vt:lpstr>Challenge: Complications &amp; cost</vt:lpstr>
      <vt:lpstr>PowerPoint Presentation</vt:lpstr>
      <vt:lpstr>Challenge: serial returners</vt:lpstr>
      <vt:lpstr>PowerPoint Presentation</vt:lpstr>
      <vt:lpstr>Challenge: conclusion</vt:lpstr>
      <vt:lpstr>How can we better manage returns?</vt:lpstr>
      <vt:lpstr>Our returns management </vt:lpstr>
      <vt:lpstr>PowerPoint Presentation</vt:lpstr>
      <vt:lpstr>PowerPoint Presentation</vt:lpstr>
      <vt:lpstr>PowerPoint Presentation</vt:lpstr>
      <vt:lpstr>Return rates in Belgium</vt:lpstr>
      <vt:lpstr>Return rates in Belgium by product category</vt:lpstr>
      <vt:lpstr>What are the reasons for returns?</vt:lpstr>
      <vt:lpstr>What is the profile of people who make returns?</vt:lpstr>
      <vt:lpstr>What is the profile of people who make returns?</vt:lpstr>
      <vt:lpstr>PowerPoint Presentation</vt:lpstr>
      <vt:lpstr>Free returns ?</vt:lpstr>
      <vt:lpstr>Free returns</vt:lpstr>
      <vt:lpstr>PowerPoint Presentation</vt:lpstr>
      <vt:lpstr>Yes or no ?</vt:lpstr>
      <vt:lpstr>Be a superhero</vt:lpstr>
      <vt:lpstr>Be a superhero</vt:lpstr>
      <vt:lpstr>Be a superhero</vt:lpstr>
      <vt:lpstr>Do busines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anation</dc:title>
  <dc:creator/>
  <cp:lastModifiedBy/>
  <cp:revision>428</cp:revision>
  <dcterms:created xsi:type="dcterms:W3CDTF">2022-09-16T16:25:32Z</dcterms:created>
  <dcterms:modified xsi:type="dcterms:W3CDTF">2023-09-12T22:4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6EA55C3892F143AEFA858E54ACFEEF</vt:lpwstr>
  </property>
  <property fmtid="{D5CDD505-2E9C-101B-9397-08002B2CF9AE}" pid="3" name="MediaServiceImageTags">
    <vt:lpwstr/>
  </property>
</Properties>
</file>